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comments/comment1.xml" ContentType="application/vnd.openxmlformats-officedocument.presentationml.comments+xml"/>
  <Override PartName="/ppt/tags/tag22.xml" ContentType="application/vnd.openxmlformats-officedocument.presentationml.tags+xml"/>
  <Override PartName="/ppt/notesSlides/notesSlide1.xml" ContentType="application/vnd.openxmlformats-officedocument.presentationml.notesSlide+xml"/>
  <Override PartName="/ppt/comments/comment2.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1"/>
  </p:notesMasterIdLst>
  <p:sldIdLst>
    <p:sldId id="257" r:id="rId2"/>
    <p:sldId id="316" r:id="rId3"/>
    <p:sldId id="320" r:id="rId4"/>
    <p:sldId id="322" r:id="rId5"/>
    <p:sldId id="321" r:id="rId6"/>
    <p:sldId id="323" r:id="rId7"/>
    <p:sldId id="324" r:id="rId8"/>
    <p:sldId id="325" r:id="rId9"/>
    <p:sldId id="337" r:id="rId10"/>
    <p:sldId id="326" r:id="rId11"/>
    <p:sldId id="327" r:id="rId12"/>
    <p:sldId id="335" r:id="rId13"/>
    <p:sldId id="336" r:id="rId14"/>
    <p:sldId id="338" r:id="rId15"/>
    <p:sldId id="328" r:id="rId16"/>
    <p:sldId id="329" r:id="rId17"/>
    <p:sldId id="331" r:id="rId18"/>
    <p:sldId id="339" r:id="rId19"/>
    <p:sldId id="332" r:id="rId20"/>
    <p:sldId id="333" r:id="rId21"/>
    <p:sldId id="340" r:id="rId22"/>
    <p:sldId id="315" r:id="rId23"/>
    <p:sldId id="319" r:id="rId24"/>
    <p:sldId id="317" r:id="rId25"/>
    <p:sldId id="334" r:id="rId26"/>
    <p:sldId id="272" r:id="rId27"/>
    <p:sldId id="310" r:id="rId28"/>
    <p:sldId id="318" r:id="rId29"/>
    <p:sldId id="293" r:id="rId30"/>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OEM" initials="O" lastIdx="2" clrIdx="0">
    <p:extLst>
      <p:ext uri="{19B8F6BF-5375-455C-9EA6-DF929625EA0E}">
        <p15:presenceInfo xmlns:p15="http://schemas.microsoft.com/office/powerpoint/2012/main" userId="OEM" providerId="None"/>
      </p:ext>
    </p:extLst>
  </p:cmAuthor>
  <p:cmAuthor id="2" name="4B Sanhita Jain" initials="SJ" lastIdx="2" clrIdx="1">
    <p:extLst>
      <p:ext uri="{19B8F6BF-5375-455C-9EA6-DF929625EA0E}">
        <p15:presenceInfo xmlns:p15="http://schemas.microsoft.com/office/powerpoint/2012/main" userId="S::Sanhita.Jain@studyhall2020.onmicrosoft.com::d8082638-4fce-4427-b0a0-53be336b329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0000"/>
    <a:srgbClr val="FFFF00"/>
    <a:srgbClr val="006600"/>
    <a:srgbClr val="009999"/>
    <a:srgbClr val="FFFF66"/>
    <a:srgbClr val="FFCC00"/>
    <a:srgbClr val="00CC99"/>
    <a:srgbClr val="00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897" autoAdjust="0"/>
    <p:restoredTop sz="94660"/>
  </p:normalViewPr>
  <p:slideViewPr>
    <p:cSldViewPr>
      <p:cViewPr>
        <p:scale>
          <a:sx n="75" d="100"/>
          <a:sy n="75" d="100"/>
        </p:scale>
        <p:origin x="1302" y="54"/>
      </p:cViewPr>
      <p:guideLst>
        <p:guide orient="horz" pos="2160"/>
        <p:guide pos="2880"/>
      </p:guideLst>
    </p:cSldViewPr>
  </p:slideViewPr>
  <p:notesTextViewPr>
    <p:cViewPr>
      <p:scale>
        <a:sx n="1" d="1"/>
        <a:sy n="1" d="1"/>
      </p:scale>
      <p:origin x="0" y="0"/>
    </p:cViewPr>
  </p:notesTextViewPr>
  <p:sorterViewPr>
    <p:cViewPr>
      <p:scale>
        <a:sx n="90" d="100"/>
        <a:sy n="9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s>
</file>

<file path=ppt/comments/comment1.xml><?xml version="1.0" encoding="utf-8"?>
<p:cmLst xmlns:a="http://schemas.openxmlformats.org/drawingml/2006/main" xmlns:r="http://schemas.openxmlformats.org/officeDocument/2006/relationships" xmlns:p="http://schemas.openxmlformats.org/presentationml/2006/main">
  <p:cm authorId="2" dt="2024-03-30T13:04:41.098" idx="2">
    <p:pos x="10" y="10"/>
    <p:text/>
    <p:extLst>
      <p:ext uri="{C676402C-5697-4E1C-873F-D02D1690AC5C}">
        <p15:threadingInfo xmlns:p15="http://schemas.microsoft.com/office/powerpoint/2012/main" timeZoneBias="-33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4-03-27T18:28:20.692" idx="1">
    <p:pos x="10" y="10"/>
    <p:text/>
    <p:extLst>
      <p:ext uri="{C676402C-5697-4E1C-873F-D02D1690AC5C}">
        <p15:threadingInfo xmlns:p15="http://schemas.microsoft.com/office/powerpoint/2012/main" timeZoneBias="-330"/>
      </p:ext>
    </p:extLst>
  </p:cm>
  <p:cm authorId="1" dt="2024-03-27T18:28:53.338" idx="2">
    <p:pos x="10" y="106"/>
    <p:text>New greenfield ports
Vadhavan (Maharashtra,Enayam (Tamil Nadu), Tajpur (West Bengal), Paradip Outer Harbour (Odisha), Sirkazhi (Tamil Nadu), Belekeri (Karnataka</p:text>
    <p:extLst>
      <p:ext uri="{C676402C-5697-4E1C-873F-D02D1690AC5C}">
        <p15:threadingInfo xmlns:p15="http://schemas.microsoft.com/office/powerpoint/2012/main" timeZoneBias="-330">
          <p15:parentCm authorId="1" idx="1"/>
        </p15:threadingInfo>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6889F89D-C3AC-4C08-AC6F-3F22D55331B5}" type="datetimeFigureOut">
              <a:rPr lang="en-IN" smtClean="0"/>
              <a:pPr/>
              <a:t>04-04-2024</a:t>
            </a:fld>
            <a:endParaRPr lang="en-IN"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IN"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3C959A4-ED23-4A24-8A03-44928865E1F0}" type="slidenum">
              <a:rPr lang="en-IN" smtClean="0"/>
              <a:pPr/>
              <a:t>‹#›</a:t>
            </a:fld>
            <a:endParaRPr lang="en-IN" dirty="0"/>
          </a:p>
        </p:txBody>
      </p:sp>
    </p:spTree>
    <p:extLst>
      <p:ext uri="{BB962C8B-B14F-4D97-AF65-F5344CB8AC3E}">
        <p14:creationId xmlns:p14="http://schemas.microsoft.com/office/powerpoint/2010/main" val="20755941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3C959A4-ED23-4A24-8A03-44928865E1F0}" type="slidenum">
              <a:rPr lang="en-IN" smtClean="0"/>
              <a:pPr/>
              <a:t>28</a:t>
            </a:fld>
            <a:endParaRPr lang="en-IN" dirty="0"/>
          </a:p>
        </p:txBody>
      </p:sp>
    </p:spTree>
    <p:extLst>
      <p:ext uri="{BB962C8B-B14F-4D97-AF65-F5344CB8AC3E}">
        <p14:creationId xmlns:p14="http://schemas.microsoft.com/office/powerpoint/2010/main" val="1978992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IN"/>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IN"/>
          </a:p>
        </p:txBody>
      </p:sp>
      <p:sp>
        <p:nvSpPr>
          <p:cNvPr id="4" name="Date Placeholder 3"/>
          <p:cNvSpPr>
            <a:spLocks noGrp="1"/>
          </p:cNvSpPr>
          <p:nvPr>
            <p:ph type="dt" sz="half" idx="10"/>
          </p:nvPr>
        </p:nvSpPr>
        <p:spPr/>
        <p:txBody>
          <a:bodyPr/>
          <a:lstStyle/>
          <a:p>
            <a:fld id="{832A5836-0D0F-4CCD-84EF-9B57D90AF9E3}" type="datetimeFigureOut">
              <a:rPr lang="en-IN" smtClean="0"/>
              <a:pPr/>
              <a:t>04-04-2024</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DE509BC7-3F6E-4802-9EEB-E7F0535FDCCA}" type="slidenum">
              <a:rPr lang="en-IN" smtClean="0"/>
              <a:pPr/>
              <a:t>‹#›</a:t>
            </a:fld>
            <a:endParaRPr lang="en-IN" dirty="0"/>
          </a:p>
        </p:txBody>
      </p:sp>
    </p:spTree>
    <p:extLst>
      <p:ext uri="{BB962C8B-B14F-4D97-AF65-F5344CB8AC3E}">
        <p14:creationId xmlns:p14="http://schemas.microsoft.com/office/powerpoint/2010/main" val="424153201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832A5836-0D0F-4CCD-84EF-9B57D90AF9E3}" type="datetimeFigureOut">
              <a:rPr lang="en-IN" smtClean="0"/>
              <a:pPr/>
              <a:t>04-04-2024</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DE509BC7-3F6E-4802-9EEB-E7F0535FDCCA}" type="slidenum">
              <a:rPr lang="en-IN" smtClean="0"/>
              <a:pPr/>
              <a:t>‹#›</a:t>
            </a:fld>
            <a:endParaRPr lang="en-IN" dirty="0"/>
          </a:p>
        </p:txBody>
      </p:sp>
    </p:spTree>
    <p:extLst>
      <p:ext uri="{BB962C8B-B14F-4D97-AF65-F5344CB8AC3E}">
        <p14:creationId xmlns:p14="http://schemas.microsoft.com/office/powerpoint/2010/main" val="42420279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IN"/>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832A5836-0D0F-4CCD-84EF-9B57D90AF9E3}" type="datetimeFigureOut">
              <a:rPr lang="en-IN" smtClean="0"/>
              <a:pPr/>
              <a:t>04-04-2024</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DE509BC7-3F6E-4802-9EEB-E7F0535FDCCA}" type="slidenum">
              <a:rPr lang="en-IN" smtClean="0"/>
              <a:pPr/>
              <a:t>‹#›</a:t>
            </a:fld>
            <a:endParaRPr lang="en-IN" dirty="0"/>
          </a:p>
        </p:txBody>
      </p:sp>
    </p:spTree>
    <p:extLst>
      <p:ext uri="{BB962C8B-B14F-4D97-AF65-F5344CB8AC3E}">
        <p14:creationId xmlns:p14="http://schemas.microsoft.com/office/powerpoint/2010/main" val="24351223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10"/>
          </p:nvPr>
        </p:nvSpPr>
        <p:spPr/>
        <p:txBody>
          <a:bodyPr/>
          <a:lstStyle/>
          <a:p>
            <a:fld id="{832A5836-0D0F-4CCD-84EF-9B57D90AF9E3}" type="datetimeFigureOut">
              <a:rPr lang="en-IN" smtClean="0"/>
              <a:pPr/>
              <a:t>04-04-2024</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DE509BC7-3F6E-4802-9EEB-E7F0535FDCCA}" type="slidenum">
              <a:rPr lang="en-IN" smtClean="0"/>
              <a:pPr/>
              <a:t>‹#›</a:t>
            </a:fld>
            <a:endParaRPr lang="en-IN" dirty="0"/>
          </a:p>
        </p:txBody>
      </p:sp>
    </p:spTree>
    <p:extLst>
      <p:ext uri="{BB962C8B-B14F-4D97-AF65-F5344CB8AC3E}">
        <p14:creationId xmlns:p14="http://schemas.microsoft.com/office/powerpoint/2010/main" val="38603615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IN"/>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32A5836-0D0F-4CCD-84EF-9B57D90AF9E3}" type="datetimeFigureOut">
              <a:rPr lang="en-IN" smtClean="0"/>
              <a:pPr/>
              <a:t>04-04-2024</a:t>
            </a:fld>
            <a:endParaRPr lang="en-IN" dirty="0"/>
          </a:p>
        </p:txBody>
      </p:sp>
      <p:sp>
        <p:nvSpPr>
          <p:cNvPr id="5" name="Footer Placeholder 4"/>
          <p:cNvSpPr>
            <a:spLocks noGrp="1"/>
          </p:cNvSpPr>
          <p:nvPr>
            <p:ph type="ftr" sz="quarter" idx="11"/>
          </p:nvPr>
        </p:nvSpPr>
        <p:spPr/>
        <p:txBody>
          <a:bodyPr/>
          <a:lstStyle/>
          <a:p>
            <a:endParaRPr lang="en-IN" dirty="0"/>
          </a:p>
        </p:txBody>
      </p:sp>
      <p:sp>
        <p:nvSpPr>
          <p:cNvPr id="6" name="Slide Number Placeholder 5"/>
          <p:cNvSpPr>
            <a:spLocks noGrp="1"/>
          </p:cNvSpPr>
          <p:nvPr>
            <p:ph type="sldNum" sz="quarter" idx="12"/>
          </p:nvPr>
        </p:nvSpPr>
        <p:spPr/>
        <p:txBody>
          <a:bodyPr/>
          <a:lstStyle/>
          <a:p>
            <a:fld id="{DE509BC7-3F6E-4802-9EEB-E7F0535FDCCA}" type="slidenum">
              <a:rPr lang="en-IN" smtClean="0"/>
              <a:pPr/>
              <a:t>‹#›</a:t>
            </a:fld>
            <a:endParaRPr lang="en-IN" dirty="0"/>
          </a:p>
        </p:txBody>
      </p:sp>
    </p:spTree>
    <p:extLst>
      <p:ext uri="{BB962C8B-B14F-4D97-AF65-F5344CB8AC3E}">
        <p14:creationId xmlns:p14="http://schemas.microsoft.com/office/powerpoint/2010/main" val="21884775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p:cNvSpPr>
            <a:spLocks noGrp="1"/>
          </p:cNvSpPr>
          <p:nvPr>
            <p:ph type="dt" sz="half" idx="10"/>
          </p:nvPr>
        </p:nvSpPr>
        <p:spPr/>
        <p:txBody>
          <a:bodyPr/>
          <a:lstStyle/>
          <a:p>
            <a:fld id="{832A5836-0D0F-4CCD-84EF-9B57D90AF9E3}" type="datetimeFigureOut">
              <a:rPr lang="en-IN" smtClean="0"/>
              <a:pPr/>
              <a:t>04-04-2024</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DE509BC7-3F6E-4802-9EEB-E7F0535FDCCA}" type="slidenum">
              <a:rPr lang="en-IN" smtClean="0"/>
              <a:pPr/>
              <a:t>‹#›</a:t>
            </a:fld>
            <a:endParaRPr lang="en-IN" dirty="0"/>
          </a:p>
        </p:txBody>
      </p:sp>
    </p:spTree>
    <p:extLst>
      <p:ext uri="{BB962C8B-B14F-4D97-AF65-F5344CB8AC3E}">
        <p14:creationId xmlns:p14="http://schemas.microsoft.com/office/powerpoint/2010/main" val="14822650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IN"/>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p:cNvSpPr>
            <a:spLocks noGrp="1"/>
          </p:cNvSpPr>
          <p:nvPr>
            <p:ph type="dt" sz="half" idx="10"/>
          </p:nvPr>
        </p:nvSpPr>
        <p:spPr/>
        <p:txBody>
          <a:bodyPr/>
          <a:lstStyle/>
          <a:p>
            <a:fld id="{832A5836-0D0F-4CCD-84EF-9B57D90AF9E3}" type="datetimeFigureOut">
              <a:rPr lang="en-IN" smtClean="0"/>
              <a:pPr/>
              <a:t>04-04-2024</a:t>
            </a:fld>
            <a:endParaRPr lang="en-IN" dirty="0"/>
          </a:p>
        </p:txBody>
      </p:sp>
      <p:sp>
        <p:nvSpPr>
          <p:cNvPr id="8" name="Footer Placeholder 7"/>
          <p:cNvSpPr>
            <a:spLocks noGrp="1"/>
          </p:cNvSpPr>
          <p:nvPr>
            <p:ph type="ftr" sz="quarter" idx="11"/>
          </p:nvPr>
        </p:nvSpPr>
        <p:spPr/>
        <p:txBody>
          <a:bodyPr/>
          <a:lstStyle/>
          <a:p>
            <a:endParaRPr lang="en-IN" dirty="0"/>
          </a:p>
        </p:txBody>
      </p:sp>
      <p:sp>
        <p:nvSpPr>
          <p:cNvPr id="9" name="Slide Number Placeholder 8"/>
          <p:cNvSpPr>
            <a:spLocks noGrp="1"/>
          </p:cNvSpPr>
          <p:nvPr>
            <p:ph type="sldNum" sz="quarter" idx="12"/>
          </p:nvPr>
        </p:nvSpPr>
        <p:spPr/>
        <p:txBody>
          <a:bodyPr/>
          <a:lstStyle/>
          <a:p>
            <a:fld id="{DE509BC7-3F6E-4802-9EEB-E7F0535FDCCA}" type="slidenum">
              <a:rPr lang="en-IN" smtClean="0"/>
              <a:pPr/>
              <a:t>‹#›</a:t>
            </a:fld>
            <a:endParaRPr lang="en-IN" dirty="0"/>
          </a:p>
        </p:txBody>
      </p:sp>
    </p:spTree>
    <p:extLst>
      <p:ext uri="{BB962C8B-B14F-4D97-AF65-F5344CB8AC3E}">
        <p14:creationId xmlns:p14="http://schemas.microsoft.com/office/powerpoint/2010/main" val="10977374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IN"/>
          </a:p>
        </p:txBody>
      </p:sp>
      <p:sp>
        <p:nvSpPr>
          <p:cNvPr id="3" name="Date Placeholder 2"/>
          <p:cNvSpPr>
            <a:spLocks noGrp="1"/>
          </p:cNvSpPr>
          <p:nvPr>
            <p:ph type="dt" sz="half" idx="10"/>
          </p:nvPr>
        </p:nvSpPr>
        <p:spPr/>
        <p:txBody>
          <a:bodyPr/>
          <a:lstStyle/>
          <a:p>
            <a:fld id="{832A5836-0D0F-4CCD-84EF-9B57D90AF9E3}" type="datetimeFigureOut">
              <a:rPr lang="en-IN" smtClean="0"/>
              <a:pPr/>
              <a:t>04-04-2024</a:t>
            </a:fld>
            <a:endParaRPr lang="en-IN" dirty="0"/>
          </a:p>
        </p:txBody>
      </p:sp>
      <p:sp>
        <p:nvSpPr>
          <p:cNvPr id="4" name="Footer Placeholder 3"/>
          <p:cNvSpPr>
            <a:spLocks noGrp="1"/>
          </p:cNvSpPr>
          <p:nvPr>
            <p:ph type="ftr" sz="quarter" idx="11"/>
          </p:nvPr>
        </p:nvSpPr>
        <p:spPr/>
        <p:txBody>
          <a:bodyPr/>
          <a:lstStyle/>
          <a:p>
            <a:endParaRPr lang="en-IN" dirty="0"/>
          </a:p>
        </p:txBody>
      </p:sp>
      <p:sp>
        <p:nvSpPr>
          <p:cNvPr id="5" name="Slide Number Placeholder 4"/>
          <p:cNvSpPr>
            <a:spLocks noGrp="1"/>
          </p:cNvSpPr>
          <p:nvPr>
            <p:ph type="sldNum" sz="quarter" idx="12"/>
          </p:nvPr>
        </p:nvSpPr>
        <p:spPr/>
        <p:txBody>
          <a:bodyPr/>
          <a:lstStyle/>
          <a:p>
            <a:fld id="{DE509BC7-3F6E-4802-9EEB-E7F0535FDCCA}" type="slidenum">
              <a:rPr lang="en-IN" smtClean="0"/>
              <a:pPr/>
              <a:t>‹#›</a:t>
            </a:fld>
            <a:endParaRPr lang="en-IN" dirty="0"/>
          </a:p>
        </p:txBody>
      </p:sp>
    </p:spTree>
    <p:extLst>
      <p:ext uri="{BB962C8B-B14F-4D97-AF65-F5344CB8AC3E}">
        <p14:creationId xmlns:p14="http://schemas.microsoft.com/office/powerpoint/2010/main" val="356167016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32A5836-0D0F-4CCD-84EF-9B57D90AF9E3}" type="datetimeFigureOut">
              <a:rPr lang="en-IN" smtClean="0"/>
              <a:pPr/>
              <a:t>04-04-2024</a:t>
            </a:fld>
            <a:endParaRPr lang="en-IN" dirty="0"/>
          </a:p>
        </p:txBody>
      </p:sp>
      <p:sp>
        <p:nvSpPr>
          <p:cNvPr id="3" name="Footer Placeholder 2"/>
          <p:cNvSpPr>
            <a:spLocks noGrp="1"/>
          </p:cNvSpPr>
          <p:nvPr>
            <p:ph type="ftr" sz="quarter" idx="11"/>
          </p:nvPr>
        </p:nvSpPr>
        <p:spPr/>
        <p:txBody>
          <a:bodyPr/>
          <a:lstStyle/>
          <a:p>
            <a:endParaRPr lang="en-IN" dirty="0"/>
          </a:p>
        </p:txBody>
      </p:sp>
      <p:sp>
        <p:nvSpPr>
          <p:cNvPr id="4" name="Slide Number Placeholder 3"/>
          <p:cNvSpPr>
            <a:spLocks noGrp="1"/>
          </p:cNvSpPr>
          <p:nvPr>
            <p:ph type="sldNum" sz="quarter" idx="12"/>
          </p:nvPr>
        </p:nvSpPr>
        <p:spPr/>
        <p:txBody>
          <a:bodyPr/>
          <a:lstStyle/>
          <a:p>
            <a:fld id="{DE509BC7-3F6E-4802-9EEB-E7F0535FDCCA}" type="slidenum">
              <a:rPr lang="en-IN" smtClean="0"/>
              <a:pPr/>
              <a:t>‹#›</a:t>
            </a:fld>
            <a:endParaRPr lang="en-IN" dirty="0"/>
          </a:p>
        </p:txBody>
      </p:sp>
    </p:spTree>
    <p:extLst>
      <p:ext uri="{BB962C8B-B14F-4D97-AF65-F5344CB8AC3E}">
        <p14:creationId xmlns:p14="http://schemas.microsoft.com/office/powerpoint/2010/main" val="7197943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IN"/>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32A5836-0D0F-4CCD-84EF-9B57D90AF9E3}" type="datetimeFigureOut">
              <a:rPr lang="en-IN" smtClean="0"/>
              <a:pPr/>
              <a:t>04-04-2024</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DE509BC7-3F6E-4802-9EEB-E7F0535FDCCA}" type="slidenum">
              <a:rPr lang="en-IN" smtClean="0"/>
              <a:pPr/>
              <a:t>‹#›</a:t>
            </a:fld>
            <a:endParaRPr lang="en-IN" dirty="0"/>
          </a:p>
        </p:txBody>
      </p:sp>
    </p:spTree>
    <p:extLst>
      <p:ext uri="{BB962C8B-B14F-4D97-AF65-F5344CB8AC3E}">
        <p14:creationId xmlns:p14="http://schemas.microsoft.com/office/powerpoint/2010/main" val="301612770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IN"/>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32A5836-0D0F-4CCD-84EF-9B57D90AF9E3}" type="datetimeFigureOut">
              <a:rPr lang="en-IN" smtClean="0"/>
              <a:pPr/>
              <a:t>04-04-2024</a:t>
            </a:fld>
            <a:endParaRPr lang="en-IN" dirty="0"/>
          </a:p>
        </p:txBody>
      </p:sp>
      <p:sp>
        <p:nvSpPr>
          <p:cNvPr id="6" name="Footer Placeholder 5"/>
          <p:cNvSpPr>
            <a:spLocks noGrp="1"/>
          </p:cNvSpPr>
          <p:nvPr>
            <p:ph type="ftr" sz="quarter" idx="11"/>
          </p:nvPr>
        </p:nvSpPr>
        <p:spPr/>
        <p:txBody>
          <a:bodyPr/>
          <a:lstStyle/>
          <a:p>
            <a:endParaRPr lang="en-IN" dirty="0"/>
          </a:p>
        </p:txBody>
      </p:sp>
      <p:sp>
        <p:nvSpPr>
          <p:cNvPr id="7" name="Slide Number Placeholder 6"/>
          <p:cNvSpPr>
            <a:spLocks noGrp="1"/>
          </p:cNvSpPr>
          <p:nvPr>
            <p:ph type="sldNum" sz="quarter" idx="12"/>
          </p:nvPr>
        </p:nvSpPr>
        <p:spPr/>
        <p:txBody>
          <a:bodyPr/>
          <a:lstStyle/>
          <a:p>
            <a:fld id="{DE509BC7-3F6E-4802-9EEB-E7F0535FDCCA}" type="slidenum">
              <a:rPr lang="en-IN" smtClean="0"/>
              <a:pPr/>
              <a:t>‹#›</a:t>
            </a:fld>
            <a:endParaRPr lang="en-IN" dirty="0"/>
          </a:p>
        </p:txBody>
      </p:sp>
    </p:spTree>
    <p:extLst>
      <p:ext uri="{BB962C8B-B14F-4D97-AF65-F5344CB8AC3E}">
        <p14:creationId xmlns:p14="http://schemas.microsoft.com/office/powerpoint/2010/main" val="26211594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32A5836-0D0F-4CCD-84EF-9B57D90AF9E3}" type="datetimeFigureOut">
              <a:rPr lang="en-IN" smtClean="0"/>
              <a:pPr/>
              <a:t>04-04-2024</a:t>
            </a:fld>
            <a:endParaRPr lang="en-IN"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E509BC7-3F6E-4802-9EEB-E7F0535FDCCA}" type="slidenum">
              <a:rPr lang="en-IN" smtClean="0"/>
              <a:pPr/>
              <a:t>‹#›</a:t>
            </a:fld>
            <a:endParaRPr lang="en-IN" dirty="0"/>
          </a:p>
        </p:txBody>
      </p:sp>
    </p:spTree>
    <p:extLst>
      <p:ext uri="{BB962C8B-B14F-4D97-AF65-F5344CB8AC3E}">
        <p14:creationId xmlns:p14="http://schemas.microsoft.com/office/powerpoint/2010/main" val="201769715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xml"/><Relationship Id="rId1" Type="http://schemas.openxmlformats.org/officeDocument/2006/relationships/tags" Target="../tags/tag9.xml"/><Relationship Id="rId4" Type="http://schemas.openxmlformats.org/officeDocument/2006/relationships/image" Target="../media/image3.emf"/></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xml"/><Relationship Id="rId1" Type="http://schemas.openxmlformats.org/officeDocument/2006/relationships/tags" Target="../tags/tag10.xml"/><Relationship Id="rId5" Type="http://schemas.openxmlformats.org/officeDocument/2006/relationships/hyperlink" Target="https://sinay.ai/en/alternative-fuels-in-the-shipping-industry-and-why-we-need-them/" TargetMode="External"/><Relationship Id="rId4" Type="http://schemas.openxmlformats.org/officeDocument/2006/relationships/image" Target="../media/image3.emf"/></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2.xml"/><Relationship Id="rId1" Type="http://schemas.openxmlformats.org/officeDocument/2006/relationships/tags" Target="../tags/tag11.xml"/><Relationship Id="rId5" Type="http://schemas.openxmlformats.org/officeDocument/2006/relationships/image" Target="../media/image6.jpeg"/><Relationship Id="rId4" Type="http://schemas.openxmlformats.org/officeDocument/2006/relationships/image" Target="../media/image3.emf"/></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Layout" Target="../slideLayouts/slideLayout2.xml"/><Relationship Id="rId1" Type="http://schemas.openxmlformats.org/officeDocument/2006/relationships/tags" Target="../tags/tag12.xml"/><Relationship Id="rId5" Type="http://schemas.openxmlformats.org/officeDocument/2006/relationships/image" Target="../media/image7.jpg"/><Relationship Id="rId4" Type="http://schemas.openxmlformats.org/officeDocument/2006/relationships/image" Target="../media/image3.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Layout" Target="../slideLayouts/slideLayout2.xml"/><Relationship Id="rId1" Type="http://schemas.openxmlformats.org/officeDocument/2006/relationships/tags" Target="../tags/tag13.xml"/><Relationship Id="rId5" Type="http://schemas.openxmlformats.org/officeDocument/2006/relationships/image" Target="../media/image8.png"/><Relationship Id="rId4" Type="http://schemas.openxmlformats.org/officeDocument/2006/relationships/image" Target="../media/image3.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14.xml"/><Relationship Id="rId4" Type="http://schemas.openxmlformats.org/officeDocument/2006/relationships/image" Target="../media/image3.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Layout" Target="../slideLayouts/slideLayout2.xml"/><Relationship Id="rId1" Type="http://schemas.openxmlformats.org/officeDocument/2006/relationships/tags" Target="../tags/tag15.xml"/><Relationship Id="rId4" Type="http://schemas.openxmlformats.org/officeDocument/2006/relationships/image" Target="../media/image3.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3.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Layout" Target="../slideLayouts/slideLayout2.xml"/><Relationship Id="rId1" Type="http://schemas.openxmlformats.org/officeDocument/2006/relationships/tags" Target="../tags/tag17.xml"/><Relationship Id="rId5" Type="http://schemas.openxmlformats.org/officeDocument/2006/relationships/image" Target="../media/image9.png"/><Relationship Id="rId4" Type="http://schemas.openxmlformats.org/officeDocument/2006/relationships/image" Target="../media/image3.emf"/></Relationships>
</file>

<file path=ppt/slides/_rels/slide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Layout" Target="../slideLayouts/slideLayout2.xml"/><Relationship Id="rId1" Type="http://schemas.openxmlformats.org/officeDocument/2006/relationships/tags" Target="../tags/tag18.xml"/><Relationship Id="rId4" Type="http://schemas.openxmlformats.org/officeDocument/2006/relationships/image" Target="../media/image3.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4.jpg"/><Relationship Id="rId4" Type="http://schemas.openxmlformats.org/officeDocument/2006/relationships/image" Target="../media/image3.em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Layout" Target="../slideLayouts/slideLayout2.xml"/><Relationship Id="rId1" Type="http://schemas.openxmlformats.org/officeDocument/2006/relationships/tags" Target="../tags/tag19.xml"/><Relationship Id="rId4" Type="http://schemas.openxmlformats.org/officeDocument/2006/relationships/image" Target="../media/image3.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Layout" Target="../slideLayouts/slideLayout2.xml"/><Relationship Id="rId1" Type="http://schemas.openxmlformats.org/officeDocument/2006/relationships/tags" Target="../tags/tag20.xml"/><Relationship Id="rId4" Type="http://schemas.openxmlformats.org/officeDocument/2006/relationships/image" Target="../media/image3.emf"/></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2.xml"/><Relationship Id="rId1" Type="http://schemas.openxmlformats.org/officeDocument/2006/relationships/tags" Target="../tags/tag21.xml"/><Relationship Id="rId4" Type="http://schemas.openxmlformats.org/officeDocument/2006/relationships/image" Target="../media/image3.emf"/></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comments" Target="../comments/comment1.xml"/><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22.xml"/><Relationship Id="rId6" Type="http://schemas.openxmlformats.org/officeDocument/2006/relationships/comments" Target="../comments/comment2.xml"/><Relationship Id="rId5" Type="http://schemas.openxmlformats.org/officeDocument/2006/relationships/image" Target="../media/image3.emf"/><Relationship Id="rId4" Type="http://schemas.openxmlformats.org/officeDocument/2006/relationships/oleObject" Target="../embeddings/oleObject22.bin"/></Relationships>
</file>

<file path=ppt/slides/_rels/slide2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3.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3.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3.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5.xml"/><Relationship Id="rId4" Type="http://schemas.openxmlformats.org/officeDocument/2006/relationships/image" Target="../media/image3.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hyperlink" Target="https://sinay.ai/en/maritime-glossary/imo/" TargetMode="External"/><Relationship Id="rId4" Type="http://schemas.openxmlformats.org/officeDocument/2006/relationships/image" Target="../media/image3.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hyperlink" Target="https://sinay.ai/en/what-are-eexi-and-cii-regulations/" TargetMode="External"/><Relationship Id="rId5" Type="http://schemas.openxmlformats.org/officeDocument/2006/relationships/hyperlink" Target="https://sinay.ai/en/maritime-glossary/imo/" TargetMode="External"/><Relationship Id="rId4" Type="http://schemas.openxmlformats.org/officeDocument/2006/relationships/image" Target="../media/image3.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2.xml"/><Relationship Id="rId1" Type="http://schemas.openxmlformats.org/officeDocument/2006/relationships/tags" Target="../tags/tag8.xml"/><Relationship Id="rId5" Type="http://schemas.openxmlformats.org/officeDocument/2006/relationships/image" Target="../media/image5.png"/><Relationship Id="rId4" Type="http://schemas.openxmlformats.org/officeDocument/2006/relationships/image" Target="../media/image3.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3761656"/>
            <a:ext cx="9144000" cy="3096344"/>
          </a:xfrm>
          <a:prstGeom prst="rect">
            <a:avLst/>
          </a:prstGeom>
          <a:solidFill>
            <a:schemeClr val="tx2">
              <a:lumMod val="5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sp>
        <p:nvSpPr>
          <p:cNvPr id="6" name="TextBox 5"/>
          <p:cNvSpPr txBox="1"/>
          <p:nvPr/>
        </p:nvSpPr>
        <p:spPr>
          <a:xfrm>
            <a:off x="6156176" y="764704"/>
            <a:ext cx="2232248" cy="2554545"/>
          </a:xfrm>
          <a:prstGeom prst="rect">
            <a:avLst/>
          </a:prstGeom>
          <a:noFill/>
        </p:spPr>
        <p:txBody>
          <a:bodyPr wrap="square" rtlCol="0">
            <a:spAutoFit/>
          </a:bodyPr>
          <a:lstStyle/>
          <a:p>
            <a:pPr algn="ctr"/>
            <a:r>
              <a:rPr lang="en-US" sz="3200" b="1" dirty="0">
                <a:solidFill>
                  <a:prstClr val="white"/>
                </a:solidFill>
              </a:rPr>
              <a:t>MARITIME INDIA SUMMIT 2016 </a:t>
            </a:r>
            <a:endParaRPr lang="en-IN" sz="3200" b="1" dirty="0">
              <a:solidFill>
                <a:prstClr val="white"/>
              </a:solidFill>
            </a:endParaRPr>
          </a:p>
          <a:p>
            <a:pPr algn="ctr"/>
            <a:endParaRPr lang="en-IN" sz="3200" b="1" dirty="0">
              <a:solidFill>
                <a:prstClr val="white"/>
              </a:solidFill>
            </a:endParaRPr>
          </a:p>
        </p:txBody>
      </p:sp>
      <p:sp>
        <p:nvSpPr>
          <p:cNvPr id="7" name="TextBox 6"/>
          <p:cNvSpPr txBox="1"/>
          <p:nvPr/>
        </p:nvSpPr>
        <p:spPr>
          <a:xfrm>
            <a:off x="209664" y="5156082"/>
            <a:ext cx="8816280" cy="1692771"/>
          </a:xfrm>
          <a:prstGeom prst="rect">
            <a:avLst/>
          </a:prstGeom>
          <a:noFill/>
        </p:spPr>
        <p:txBody>
          <a:bodyPr wrap="square" rtlCol="0">
            <a:spAutoFit/>
          </a:bodyPr>
          <a:lstStyle/>
          <a:p>
            <a:pPr>
              <a:spcAft>
                <a:spcPts val="1200"/>
              </a:spcAft>
            </a:pPr>
            <a:r>
              <a:rPr lang="en-US" sz="2800" dirty="0">
                <a:solidFill>
                  <a:srgbClr val="FFFF00"/>
                </a:solidFill>
              </a:rPr>
              <a:t>Institution of Engineers (India), </a:t>
            </a:r>
          </a:p>
          <a:p>
            <a:pPr>
              <a:spcAft>
                <a:spcPts val="1200"/>
              </a:spcAft>
            </a:pPr>
            <a:r>
              <a:rPr lang="en-US" sz="2800" dirty="0">
                <a:solidFill>
                  <a:srgbClr val="FFFF00"/>
                </a:solidFill>
              </a:rPr>
              <a:t>UP State Centre, Lucknow		Presented by</a:t>
            </a:r>
          </a:p>
          <a:p>
            <a:pPr>
              <a:spcAft>
                <a:spcPts val="1200"/>
              </a:spcAft>
            </a:pPr>
            <a:r>
              <a:rPr lang="en-US" sz="2800" dirty="0">
                <a:solidFill>
                  <a:schemeClr val="bg1"/>
                </a:solidFill>
              </a:rPr>
              <a:t>05</a:t>
            </a:r>
            <a:r>
              <a:rPr lang="en-US" sz="2800" baseline="30000" dirty="0">
                <a:solidFill>
                  <a:schemeClr val="bg1"/>
                </a:solidFill>
              </a:rPr>
              <a:t>th</a:t>
            </a:r>
            <a:r>
              <a:rPr lang="en-US" sz="2800" dirty="0">
                <a:solidFill>
                  <a:schemeClr val="bg1"/>
                </a:solidFill>
              </a:rPr>
              <a:t> April 2024				Er. Samir K Jain</a:t>
            </a:r>
            <a:endParaRPr lang="en-IN" sz="2400" dirty="0">
              <a:solidFill>
                <a:schemeClr val="bg1"/>
              </a:solidFill>
            </a:endParaRPr>
          </a:p>
        </p:txBody>
      </p:sp>
      <p:pic>
        <p:nvPicPr>
          <p:cNvPr id="9218" name="Picture 2" descr="C:\ANUSHIRY DWIVEDI_BAS\Ministry of Shipping\Road Show\Pic\IMG_2766.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27384"/>
            <a:ext cx="9144000" cy="468052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175320" y="4653136"/>
            <a:ext cx="7560840" cy="646331"/>
          </a:xfrm>
          <a:prstGeom prst="rect">
            <a:avLst/>
          </a:prstGeom>
          <a:noFill/>
        </p:spPr>
        <p:txBody>
          <a:bodyPr wrap="square" rtlCol="0">
            <a:spAutoFit/>
          </a:bodyPr>
          <a:lstStyle/>
          <a:p>
            <a:r>
              <a:rPr lang="en-US" sz="3600" dirty="0">
                <a:solidFill>
                  <a:prstClr val="white"/>
                </a:solidFill>
              </a:rPr>
              <a:t>NATIONAL MARITIME DAY 2024 </a:t>
            </a:r>
            <a:endParaRPr lang="en-IN" sz="3600" dirty="0">
              <a:solidFill>
                <a:prstClr val="white"/>
              </a:solidFill>
            </a:endParaRP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6633" y="152400"/>
            <a:ext cx="4257675" cy="733425"/>
          </a:xfrm>
          <a:prstGeom prst="rect">
            <a:avLst/>
          </a:prstGeom>
        </p:spPr>
      </p:pic>
    </p:spTree>
    <p:extLst>
      <p:ext uri="{BB962C8B-B14F-4D97-AF65-F5344CB8AC3E}">
        <p14:creationId xmlns:p14="http://schemas.microsoft.com/office/powerpoint/2010/main" val="27346172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0" y="524087"/>
            <a:ext cx="9144000" cy="523220"/>
          </a:xfrm>
          <a:prstGeom prst="rect">
            <a:avLst/>
          </a:prstGeom>
          <a:solidFill>
            <a:schemeClr val="accent5">
              <a:lumMod val="75000"/>
              <a:alpha val="55000"/>
            </a:schemeClr>
          </a:solidFill>
        </p:spPr>
        <p:txBody>
          <a:bodyPr wrap="square" rtlCol="0">
            <a:spAutoFit/>
          </a:bodyPr>
          <a:lstStyle/>
          <a:p>
            <a:r>
              <a:rPr lang="en-US" sz="2800" b="1" dirty="0">
                <a:solidFill>
                  <a:srgbClr val="FFFFFF"/>
                </a:solidFill>
              </a:rPr>
              <a:t>Sustainable Shipping - Challenges</a:t>
            </a:r>
            <a:endParaRPr lang="en-IN" sz="2800" b="1" dirty="0">
              <a:solidFill>
                <a:srgbClr val="FFFFFF"/>
              </a:solidFill>
            </a:endParaRPr>
          </a:p>
        </p:txBody>
      </p:sp>
      <p:sp>
        <p:nvSpPr>
          <p:cNvPr id="14" name="AutoShape 2" descr="Image result for solar power projects in port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15" name="AutoShape 4" descr="Image result for solar power projects in port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8" name="TextBox 7"/>
          <p:cNvSpPr txBox="1"/>
          <p:nvPr/>
        </p:nvSpPr>
        <p:spPr>
          <a:xfrm>
            <a:off x="8784032" y="6597352"/>
            <a:ext cx="359968" cy="276999"/>
          </a:xfrm>
          <a:prstGeom prst="rect">
            <a:avLst/>
          </a:prstGeom>
          <a:noFill/>
        </p:spPr>
        <p:txBody>
          <a:bodyPr wrap="square" rtlCol="0">
            <a:spAutoFit/>
          </a:bodyPr>
          <a:lstStyle/>
          <a:p>
            <a:pPr algn="ctr"/>
            <a:r>
              <a:rPr lang="en-US" sz="1200" dirty="0"/>
              <a:t>12</a:t>
            </a:r>
            <a:endParaRPr lang="en-IN" sz="1200" dirty="0"/>
          </a:p>
        </p:txBody>
      </p:sp>
      <p:sp>
        <p:nvSpPr>
          <p:cNvPr id="2" name="Rectangle 1"/>
          <p:cNvSpPr/>
          <p:nvPr/>
        </p:nvSpPr>
        <p:spPr>
          <a:xfrm>
            <a:off x="236589" y="1772020"/>
            <a:ext cx="8715945" cy="4524315"/>
          </a:xfrm>
          <a:prstGeom prst="rect">
            <a:avLst/>
          </a:prstGeom>
        </p:spPr>
        <p:txBody>
          <a:bodyPr wrap="square">
            <a:spAutoFit/>
          </a:bodyPr>
          <a:lstStyle/>
          <a:p>
            <a:pPr marL="571500" indent="-571500">
              <a:buFont typeface="Arial" panose="020B0604020202020204" pitchFamily="34" charset="0"/>
              <a:buChar char="•"/>
            </a:pPr>
            <a:r>
              <a:rPr lang="en-US" sz="2400" dirty="0"/>
              <a:t>Vessels in the A to C grade will be granted a certificate  (International Energy Efficiency Compliance Certificate) which is required for any ship to trade. </a:t>
            </a:r>
          </a:p>
          <a:p>
            <a:pPr marL="571500" indent="-571500">
              <a:buFont typeface="Arial" panose="020B0604020202020204" pitchFamily="34" charset="0"/>
              <a:buChar char="•"/>
            </a:pPr>
            <a:r>
              <a:rPr lang="en-US" sz="2400" dirty="0"/>
              <a:t>Those ships, falling into the D and E grade need to declare a set of actions by which they will achieve A to C grades on energy efficiency. </a:t>
            </a:r>
          </a:p>
          <a:p>
            <a:pPr marL="571500" indent="-571500">
              <a:buFont typeface="Arial" panose="020B0604020202020204" pitchFamily="34" charset="0"/>
              <a:buChar char="•"/>
            </a:pPr>
            <a:r>
              <a:rPr lang="en-US" sz="2400" dirty="0"/>
              <a:t>European Union (EU) has specified recently that for all ships calling EU ports or plying within its waters, a </a:t>
            </a:r>
            <a:r>
              <a:rPr lang="en-US" sz="2400" b="1" dirty="0"/>
              <a:t>55% reduction</a:t>
            </a:r>
            <a:r>
              <a:rPr lang="en-US" sz="2400" dirty="0"/>
              <a:t> in </a:t>
            </a:r>
            <a:r>
              <a:rPr lang="en-US" sz="2400" u="sng" dirty="0"/>
              <a:t>carbon emissions</a:t>
            </a:r>
            <a:r>
              <a:rPr lang="en-US" sz="2400" dirty="0"/>
              <a:t>, compared to 1990 levels, will be mandatory by 2030.</a:t>
            </a:r>
          </a:p>
          <a:p>
            <a:pPr marL="571500" indent="-571500">
              <a:buFont typeface="Arial" panose="020B0604020202020204" pitchFamily="34" charset="0"/>
              <a:buChar char="•"/>
            </a:pPr>
            <a:r>
              <a:rPr lang="en-US" sz="2400" dirty="0"/>
              <a:t>In April 2022, the United States agreed to seek a </a:t>
            </a:r>
            <a:r>
              <a:rPr lang="en-US" sz="2400" b="1" dirty="0"/>
              <a:t>zero-emission shipping industry</a:t>
            </a:r>
            <a:r>
              <a:rPr lang="en-US" sz="2400" dirty="0"/>
              <a:t> by 2050</a:t>
            </a:r>
          </a:p>
        </p:txBody>
      </p:sp>
    </p:spTree>
    <p:extLst>
      <p:ext uri="{BB962C8B-B14F-4D97-AF65-F5344CB8AC3E}">
        <p14:creationId xmlns:p14="http://schemas.microsoft.com/office/powerpoint/2010/main" val="26745015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0" y="524087"/>
            <a:ext cx="9144000" cy="1015663"/>
          </a:xfrm>
          <a:prstGeom prst="rect">
            <a:avLst/>
          </a:prstGeom>
          <a:solidFill>
            <a:schemeClr val="accent5">
              <a:lumMod val="75000"/>
              <a:alpha val="55000"/>
            </a:schemeClr>
          </a:solidFill>
        </p:spPr>
        <p:txBody>
          <a:bodyPr wrap="square" rtlCol="0">
            <a:spAutoFit/>
          </a:bodyPr>
          <a:lstStyle/>
          <a:p>
            <a:r>
              <a:rPr lang="en-US" sz="2800" b="1" dirty="0">
                <a:solidFill>
                  <a:srgbClr val="FFFFFF"/>
                </a:solidFill>
              </a:rPr>
              <a:t>Sustainable Shipping – Challenges</a:t>
            </a:r>
          </a:p>
          <a:p>
            <a:r>
              <a:rPr lang="en-IN" sz="3200" b="1" dirty="0"/>
              <a:t>***Use of alternative fuels***</a:t>
            </a:r>
          </a:p>
        </p:txBody>
      </p:sp>
      <p:sp>
        <p:nvSpPr>
          <p:cNvPr id="14" name="AutoShape 2" descr="Image result for solar power projects in port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15" name="AutoShape 4" descr="Image result for solar power projects in port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8" name="TextBox 7"/>
          <p:cNvSpPr txBox="1"/>
          <p:nvPr/>
        </p:nvSpPr>
        <p:spPr>
          <a:xfrm>
            <a:off x="8784032" y="6597352"/>
            <a:ext cx="359968" cy="276999"/>
          </a:xfrm>
          <a:prstGeom prst="rect">
            <a:avLst/>
          </a:prstGeom>
          <a:noFill/>
        </p:spPr>
        <p:txBody>
          <a:bodyPr wrap="square" rtlCol="0">
            <a:spAutoFit/>
          </a:bodyPr>
          <a:lstStyle/>
          <a:p>
            <a:pPr algn="ctr"/>
            <a:r>
              <a:rPr lang="en-US" sz="1200" dirty="0"/>
              <a:t>12</a:t>
            </a:r>
            <a:endParaRPr lang="en-IN" sz="1200" dirty="0"/>
          </a:p>
        </p:txBody>
      </p:sp>
      <p:sp>
        <p:nvSpPr>
          <p:cNvPr id="2" name="Rectangle 1"/>
          <p:cNvSpPr/>
          <p:nvPr/>
        </p:nvSpPr>
        <p:spPr>
          <a:xfrm>
            <a:off x="91971" y="1702968"/>
            <a:ext cx="8518629" cy="4893647"/>
          </a:xfrm>
          <a:prstGeom prst="rect">
            <a:avLst/>
          </a:prstGeom>
        </p:spPr>
        <p:txBody>
          <a:bodyPr wrap="square">
            <a:spAutoFit/>
          </a:bodyPr>
          <a:lstStyle/>
          <a:p>
            <a:pPr marL="571500" indent="-571500">
              <a:buFont typeface="Arial" panose="020B0604020202020204" pitchFamily="34" charset="0"/>
              <a:buChar char="•"/>
            </a:pPr>
            <a:r>
              <a:rPr lang="en-US" sz="2600" dirty="0"/>
              <a:t>Aware of growing environmental alarms, vessel builders and owners are considering </a:t>
            </a:r>
            <a:r>
              <a:rPr lang="en-US" sz="2600" b="1" dirty="0">
                <a:hlinkClick r:id="rId5"/>
              </a:rPr>
              <a:t>alternative</a:t>
            </a:r>
            <a:r>
              <a:rPr lang="en-US" sz="2600" b="1" dirty="0"/>
              <a:t> energy</a:t>
            </a:r>
            <a:r>
              <a:rPr lang="en-US" sz="2600" dirty="0"/>
              <a:t> sources for their fleets.</a:t>
            </a:r>
          </a:p>
          <a:p>
            <a:pPr marL="571500" indent="-571500">
              <a:buFont typeface="Arial" panose="020B0604020202020204" pitchFamily="34" charset="0"/>
              <a:buChar char="•"/>
            </a:pPr>
            <a:r>
              <a:rPr lang="en-US" sz="2600" dirty="0"/>
              <a:t>International shipping business research and developments are focusing on liquid natural gas (LNG), liquefied petroleum gas (LPG), hydrogen, ammonia, methanol, or even solar energy and wind power to decrease their environmental impacts. </a:t>
            </a:r>
          </a:p>
          <a:p>
            <a:pPr marL="571500" indent="-571500">
              <a:buFont typeface="Arial" panose="020B0604020202020204" pitchFamily="34" charset="0"/>
              <a:buChar char="•"/>
            </a:pPr>
            <a:r>
              <a:rPr lang="en-US" sz="2600" dirty="0"/>
              <a:t>Such transformation comes with a number of issues related to quality, safety, and reliability for use on commercial vessels, scaling and broad deployment, costs, and availability.</a:t>
            </a:r>
          </a:p>
        </p:txBody>
      </p:sp>
    </p:spTree>
    <p:extLst>
      <p:ext uri="{BB962C8B-B14F-4D97-AF65-F5344CB8AC3E}">
        <p14:creationId xmlns:p14="http://schemas.microsoft.com/office/powerpoint/2010/main" val="62793486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90" name="Object 8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0" y="524087"/>
            <a:ext cx="9144000" cy="1015663"/>
          </a:xfrm>
          <a:prstGeom prst="rect">
            <a:avLst/>
          </a:prstGeom>
          <a:solidFill>
            <a:schemeClr val="accent5">
              <a:lumMod val="75000"/>
              <a:alpha val="55000"/>
            </a:schemeClr>
          </a:solidFill>
        </p:spPr>
        <p:txBody>
          <a:bodyPr wrap="square" rtlCol="0">
            <a:spAutoFit/>
          </a:bodyPr>
          <a:lstStyle/>
          <a:p>
            <a:r>
              <a:rPr lang="en-US" sz="2800" b="1" dirty="0">
                <a:solidFill>
                  <a:srgbClr val="FFFFFF"/>
                </a:solidFill>
              </a:rPr>
              <a:t>Sustainable Shipping – Challenges</a:t>
            </a:r>
          </a:p>
          <a:p>
            <a:r>
              <a:rPr lang="en-IN" sz="3200" b="1" dirty="0"/>
              <a:t>***Use of alternative fuels***</a:t>
            </a:r>
          </a:p>
        </p:txBody>
      </p:sp>
      <p:sp>
        <p:nvSpPr>
          <p:cNvPr id="14" name="AutoShape 2" descr="Image result for solar power projects in port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15" name="AutoShape 4" descr="Image result for solar power projects in port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8" name="TextBox 7"/>
          <p:cNvSpPr txBox="1"/>
          <p:nvPr/>
        </p:nvSpPr>
        <p:spPr>
          <a:xfrm>
            <a:off x="8784032" y="6597352"/>
            <a:ext cx="359968" cy="276999"/>
          </a:xfrm>
          <a:prstGeom prst="rect">
            <a:avLst/>
          </a:prstGeom>
          <a:noFill/>
        </p:spPr>
        <p:txBody>
          <a:bodyPr wrap="square" rtlCol="0">
            <a:spAutoFit/>
          </a:bodyPr>
          <a:lstStyle/>
          <a:p>
            <a:pPr algn="ctr"/>
            <a:r>
              <a:rPr lang="en-US" sz="1200" dirty="0"/>
              <a:t>12</a:t>
            </a:r>
            <a:endParaRPr lang="en-IN" sz="1200" dirty="0"/>
          </a:p>
        </p:txBody>
      </p:sp>
      <p:pic>
        <p:nvPicPr>
          <p:cNvPr id="4" name="Picture 3">
            <a:extLst>
              <a:ext uri="{FF2B5EF4-FFF2-40B4-BE49-F238E27FC236}">
                <a16:creationId xmlns:a16="http://schemas.microsoft.com/office/drawing/2014/main" id="{83FC45BD-AF99-8FB9-A088-8C6DD1A5699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14400" y="1751099"/>
            <a:ext cx="7239000" cy="4846253"/>
          </a:xfrm>
          <a:prstGeom prst="rect">
            <a:avLst/>
          </a:prstGeom>
        </p:spPr>
      </p:pic>
    </p:spTree>
    <p:extLst>
      <p:ext uri="{BB962C8B-B14F-4D97-AF65-F5344CB8AC3E}">
        <p14:creationId xmlns:p14="http://schemas.microsoft.com/office/powerpoint/2010/main" val="9288907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90" name="Object 8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0" y="524087"/>
            <a:ext cx="9144000" cy="1015663"/>
          </a:xfrm>
          <a:prstGeom prst="rect">
            <a:avLst/>
          </a:prstGeom>
          <a:solidFill>
            <a:schemeClr val="accent5">
              <a:lumMod val="75000"/>
              <a:alpha val="55000"/>
            </a:schemeClr>
          </a:solidFill>
        </p:spPr>
        <p:txBody>
          <a:bodyPr wrap="square" rtlCol="0">
            <a:spAutoFit/>
          </a:bodyPr>
          <a:lstStyle/>
          <a:p>
            <a:r>
              <a:rPr lang="en-US" sz="2800" b="1" dirty="0">
                <a:solidFill>
                  <a:srgbClr val="FFFFFF"/>
                </a:solidFill>
              </a:rPr>
              <a:t>Sustainable Shipping – Challenges</a:t>
            </a:r>
          </a:p>
          <a:p>
            <a:r>
              <a:rPr lang="en-IN" sz="3200" b="1" dirty="0"/>
              <a:t>***Use of alternative fuels***</a:t>
            </a:r>
          </a:p>
        </p:txBody>
      </p:sp>
      <p:sp>
        <p:nvSpPr>
          <p:cNvPr id="14" name="AutoShape 2" descr="Image result for solar power projects in port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15" name="AutoShape 4" descr="Image result for solar power projects in port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8" name="TextBox 7"/>
          <p:cNvSpPr txBox="1"/>
          <p:nvPr/>
        </p:nvSpPr>
        <p:spPr>
          <a:xfrm>
            <a:off x="8784032" y="6597352"/>
            <a:ext cx="359968" cy="276999"/>
          </a:xfrm>
          <a:prstGeom prst="rect">
            <a:avLst/>
          </a:prstGeom>
          <a:noFill/>
        </p:spPr>
        <p:txBody>
          <a:bodyPr wrap="square" rtlCol="0">
            <a:spAutoFit/>
          </a:bodyPr>
          <a:lstStyle/>
          <a:p>
            <a:pPr algn="ctr"/>
            <a:r>
              <a:rPr lang="en-US" sz="1200" dirty="0"/>
              <a:t>12</a:t>
            </a:r>
            <a:endParaRPr lang="en-IN" sz="1200" dirty="0"/>
          </a:p>
        </p:txBody>
      </p:sp>
      <p:pic>
        <p:nvPicPr>
          <p:cNvPr id="4" name="Picture 3">
            <a:extLst>
              <a:ext uri="{FF2B5EF4-FFF2-40B4-BE49-F238E27FC236}">
                <a16:creationId xmlns:a16="http://schemas.microsoft.com/office/drawing/2014/main" id="{F6C6386B-E50A-9BBB-6FC0-F15B47FB9E7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0600" y="1553239"/>
            <a:ext cx="7467600" cy="5044113"/>
          </a:xfrm>
          <a:prstGeom prst="rect">
            <a:avLst/>
          </a:prstGeom>
        </p:spPr>
      </p:pic>
    </p:spTree>
    <p:extLst>
      <p:ext uri="{BB962C8B-B14F-4D97-AF65-F5344CB8AC3E}">
        <p14:creationId xmlns:p14="http://schemas.microsoft.com/office/powerpoint/2010/main" val="33315127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90" name="Object 8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0" y="524087"/>
            <a:ext cx="9144000" cy="1015663"/>
          </a:xfrm>
          <a:prstGeom prst="rect">
            <a:avLst/>
          </a:prstGeom>
          <a:solidFill>
            <a:schemeClr val="accent5">
              <a:lumMod val="75000"/>
              <a:alpha val="55000"/>
            </a:schemeClr>
          </a:solidFill>
        </p:spPr>
        <p:txBody>
          <a:bodyPr wrap="square" rtlCol="0">
            <a:spAutoFit/>
          </a:bodyPr>
          <a:lstStyle/>
          <a:p>
            <a:r>
              <a:rPr lang="en-US" sz="2800" b="1" dirty="0">
                <a:solidFill>
                  <a:srgbClr val="FFFFFF"/>
                </a:solidFill>
              </a:rPr>
              <a:t>Sustainable Shipping – Challenges</a:t>
            </a:r>
          </a:p>
          <a:p>
            <a:r>
              <a:rPr lang="en-IN" sz="3200" b="1" dirty="0"/>
              <a:t>***Use of alternative fuels***</a:t>
            </a:r>
          </a:p>
        </p:txBody>
      </p:sp>
      <p:sp>
        <p:nvSpPr>
          <p:cNvPr id="14" name="AutoShape 2" descr="Image result for solar power projects in port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15" name="AutoShape 4" descr="Image result for solar power projects in port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8" name="TextBox 7"/>
          <p:cNvSpPr txBox="1"/>
          <p:nvPr/>
        </p:nvSpPr>
        <p:spPr>
          <a:xfrm>
            <a:off x="8784032" y="6597352"/>
            <a:ext cx="359968" cy="276999"/>
          </a:xfrm>
          <a:prstGeom prst="rect">
            <a:avLst/>
          </a:prstGeom>
          <a:noFill/>
        </p:spPr>
        <p:txBody>
          <a:bodyPr wrap="square" rtlCol="0">
            <a:spAutoFit/>
          </a:bodyPr>
          <a:lstStyle/>
          <a:p>
            <a:pPr algn="ctr"/>
            <a:r>
              <a:rPr lang="en-US" sz="1200" dirty="0"/>
              <a:t>12</a:t>
            </a:r>
            <a:endParaRPr lang="en-IN" sz="1200" dirty="0"/>
          </a:p>
        </p:txBody>
      </p:sp>
      <p:pic>
        <p:nvPicPr>
          <p:cNvPr id="6" name="Picture 5">
            <a:extLst>
              <a:ext uri="{FF2B5EF4-FFF2-40B4-BE49-F238E27FC236}">
                <a16:creationId xmlns:a16="http://schemas.microsoft.com/office/drawing/2014/main" id="{ABB42462-A190-750E-6709-A28356741F62}"/>
              </a:ext>
            </a:extLst>
          </p:cNvPr>
          <p:cNvPicPr>
            <a:picLocks noChangeAspect="1"/>
          </p:cNvPicPr>
          <p:nvPr/>
        </p:nvPicPr>
        <p:blipFill>
          <a:blip r:embed="rId5"/>
          <a:stretch>
            <a:fillRect/>
          </a:stretch>
        </p:blipFill>
        <p:spPr>
          <a:xfrm>
            <a:off x="409575" y="1649534"/>
            <a:ext cx="8277225" cy="4947818"/>
          </a:xfrm>
          <a:prstGeom prst="rect">
            <a:avLst/>
          </a:prstGeom>
        </p:spPr>
      </p:pic>
    </p:spTree>
    <p:extLst>
      <p:ext uri="{BB962C8B-B14F-4D97-AF65-F5344CB8AC3E}">
        <p14:creationId xmlns:p14="http://schemas.microsoft.com/office/powerpoint/2010/main" val="19420512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0" y="524087"/>
            <a:ext cx="9144000" cy="1015663"/>
          </a:xfrm>
          <a:prstGeom prst="rect">
            <a:avLst/>
          </a:prstGeom>
          <a:solidFill>
            <a:schemeClr val="accent5">
              <a:lumMod val="75000"/>
              <a:alpha val="55000"/>
            </a:schemeClr>
          </a:solidFill>
        </p:spPr>
        <p:txBody>
          <a:bodyPr wrap="square" rtlCol="0">
            <a:spAutoFit/>
          </a:bodyPr>
          <a:lstStyle/>
          <a:p>
            <a:r>
              <a:rPr lang="en-US" sz="2800" b="1" dirty="0">
                <a:solidFill>
                  <a:srgbClr val="FFFFFF"/>
                </a:solidFill>
              </a:rPr>
              <a:t>Sustainable Shipping – Challenges</a:t>
            </a:r>
          </a:p>
          <a:p>
            <a:r>
              <a:rPr lang="en-IN" sz="3200" b="1" dirty="0"/>
              <a:t>***Use of alternative fuels***</a:t>
            </a:r>
          </a:p>
        </p:txBody>
      </p:sp>
      <p:sp>
        <p:nvSpPr>
          <p:cNvPr id="14" name="AutoShape 2" descr="Image result for solar power projects in port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15" name="AutoShape 4" descr="Image result for solar power projects in port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8" name="TextBox 7"/>
          <p:cNvSpPr txBox="1"/>
          <p:nvPr/>
        </p:nvSpPr>
        <p:spPr>
          <a:xfrm>
            <a:off x="8784032" y="6597352"/>
            <a:ext cx="359968" cy="276999"/>
          </a:xfrm>
          <a:prstGeom prst="rect">
            <a:avLst/>
          </a:prstGeom>
          <a:noFill/>
        </p:spPr>
        <p:txBody>
          <a:bodyPr wrap="square" rtlCol="0">
            <a:spAutoFit/>
          </a:bodyPr>
          <a:lstStyle/>
          <a:p>
            <a:pPr algn="ctr"/>
            <a:r>
              <a:rPr lang="en-US" sz="1200" dirty="0"/>
              <a:t>12</a:t>
            </a:r>
            <a:endParaRPr lang="en-IN" sz="1200" dirty="0"/>
          </a:p>
        </p:txBody>
      </p:sp>
      <p:sp>
        <p:nvSpPr>
          <p:cNvPr id="2" name="Rectangle 1"/>
          <p:cNvSpPr/>
          <p:nvPr/>
        </p:nvSpPr>
        <p:spPr>
          <a:xfrm>
            <a:off x="84085" y="1621727"/>
            <a:ext cx="8975829" cy="4893647"/>
          </a:xfrm>
          <a:prstGeom prst="rect">
            <a:avLst/>
          </a:prstGeom>
        </p:spPr>
        <p:txBody>
          <a:bodyPr wrap="square">
            <a:spAutoFit/>
          </a:bodyPr>
          <a:lstStyle/>
          <a:p>
            <a:pPr marL="342900" indent="-342900" fontAlgn="base">
              <a:buFont typeface="Arial" panose="020B0604020202020204" pitchFamily="34" charset="0"/>
              <a:buChar char="•"/>
            </a:pPr>
            <a:r>
              <a:rPr lang="en-US" sz="2600" dirty="0"/>
              <a:t>The zero-carbon fuels have to be widely available with the needed infrastructure so that vessel operators can easily use them.</a:t>
            </a:r>
          </a:p>
          <a:p>
            <a:pPr marL="342900" indent="-342900" fontAlgn="base">
              <a:buFont typeface="Arial" panose="020B0604020202020204" pitchFamily="34" charset="0"/>
              <a:buChar char="•"/>
            </a:pPr>
            <a:r>
              <a:rPr lang="en-US" sz="2600" dirty="0"/>
              <a:t>Hydrogen, in particular, has a very low energy density as opposed to oil, meaning that any ship using it, has to carry much higher volumes of fuel or be replenished more often.</a:t>
            </a:r>
          </a:p>
          <a:p>
            <a:pPr marL="342900" indent="-342900" fontAlgn="base">
              <a:buFont typeface="Arial" panose="020B0604020202020204" pitchFamily="34" charset="0"/>
              <a:buChar char="•"/>
            </a:pPr>
            <a:r>
              <a:rPr lang="en-US" sz="2600" dirty="0"/>
              <a:t>Ammonia is toxic to humans and marine life, thus raising safety and environmental alarms.</a:t>
            </a:r>
          </a:p>
          <a:p>
            <a:pPr marL="342900" indent="-342900" fontAlgn="base">
              <a:buFont typeface="Arial" panose="020B0604020202020204" pitchFamily="34" charset="0"/>
              <a:buChar char="•"/>
            </a:pPr>
            <a:r>
              <a:rPr lang="en-US" sz="2600" dirty="0"/>
              <a:t>While green methanol can be retrofit into existing ships, it  will need more modifications even for those who use dual fuels.</a:t>
            </a:r>
          </a:p>
          <a:p>
            <a:pPr marL="342900" indent="-342900" fontAlgn="base">
              <a:buFont typeface="Arial" panose="020B0604020202020204" pitchFamily="34" charset="0"/>
              <a:buChar char="•"/>
            </a:pPr>
            <a:r>
              <a:rPr lang="en-US" sz="2600" dirty="0"/>
              <a:t>Vessel crews need to be proficient in handling these new sources of energy.</a:t>
            </a:r>
          </a:p>
        </p:txBody>
      </p:sp>
    </p:spTree>
    <p:extLst>
      <p:ext uri="{BB962C8B-B14F-4D97-AF65-F5344CB8AC3E}">
        <p14:creationId xmlns:p14="http://schemas.microsoft.com/office/powerpoint/2010/main" val="41802568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0" y="524087"/>
            <a:ext cx="9144000" cy="1015663"/>
          </a:xfrm>
          <a:prstGeom prst="rect">
            <a:avLst/>
          </a:prstGeom>
          <a:solidFill>
            <a:schemeClr val="accent5">
              <a:lumMod val="75000"/>
              <a:alpha val="55000"/>
            </a:schemeClr>
          </a:solidFill>
        </p:spPr>
        <p:txBody>
          <a:bodyPr wrap="square" rtlCol="0">
            <a:spAutoFit/>
          </a:bodyPr>
          <a:lstStyle/>
          <a:p>
            <a:r>
              <a:rPr lang="en-US" sz="2800" b="1" dirty="0">
                <a:solidFill>
                  <a:srgbClr val="FFFFFF"/>
                </a:solidFill>
              </a:rPr>
              <a:t>Sustainable Shipping – Challenges</a:t>
            </a:r>
          </a:p>
          <a:p>
            <a:r>
              <a:rPr lang="en-IN" sz="3200" b="1" dirty="0"/>
              <a:t>***Optimization of fuel consumption***</a:t>
            </a:r>
          </a:p>
        </p:txBody>
      </p:sp>
      <p:sp>
        <p:nvSpPr>
          <p:cNvPr id="14" name="AutoShape 2" descr="Image result for solar power projects in port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15" name="AutoShape 4" descr="Image result for solar power projects in port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8" name="TextBox 7"/>
          <p:cNvSpPr txBox="1"/>
          <p:nvPr/>
        </p:nvSpPr>
        <p:spPr>
          <a:xfrm>
            <a:off x="8784032" y="6597352"/>
            <a:ext cx="359968" cy="276999"/>
          </a:xfrm>
          <a:prstGeom prst="rect">
            <a:avLst/>
          </a:prstGeom>
          <a:noFill/>
        </p:spPr>
        <p:txBody>
          <a:bodyPr wrap="square" rtlCol="0">
            <a:spAutoFit/>
          </a:bodyPr>
          <a:lstStyle/>
          <a:p>
            <a:pPr algn="ctr"/>
            <a:r>
              <a:rPr lang="en-US" sz="1200" dirty="0"/>
              <a:t>12</a:t>
            </a:r>
            <a:endParaRPr lang="en-IN" sz="1200" dirty="0"/>
          </a:p>
        </p:txBody>
      </p:sp>
      <p:sp>
        <p:nvSpPr>
          <p:cNvPr id="2" name="Rectangle 1"/>
          <p:cNvSpPr/>
          <p:nvPr/>
        </p:nvSpPr>
        <p:spPr>
          <a:xfrm>
            <a:off x="84085" y="1903499"/>
            <a:ext cx="8975829" cy="4093428"/>
          </a:xfrm>
          <a:prstGeom prst="rect">
            <a:avLst/>
          </a:prstGeom>
        </p:spPr>
        <p:txBody>
          <a:bodyPr wrap="square">
            <a:spAutoFit/>
          </a:bodyPr>
          <a:lstStyle/>
          <a:p>
            <a:pPr marL="800100" lvl="1" indent="-342900">
              <a:buFont typeface="Wingdings" panose="05000000000000000000" pitchFamily="2" charset="2"/>
              <a:buChar char="Ø"/>
            </a:pPr>
            <a:r>
              <a:rPr lang="en-US" sz="2600" dirty="0"/>
              <a:t>Historical and real-time data gathered from vessels, information from satellite observation and other sources are analyzed to determine the best routes and speed. </a:t>
            </a:r>
          </a:p>
          <a:p>
            <a:pPr marL="800100" lvl="1" indent="-342900">
              <a:buFont typeface="Wingdings" panose="05000000000000000000" pitchFamily="2" charset="2"/>
              <a:buChar char="Ø"/>
            </a:pPr>
            <a:r>
              <a:rPr lang="en-US" sz="2600" dirty="0"/>
              <a:t>This process reduces fuel consumption and lessens greenhouse gas emissions into the atmosphere. </a:t>
            </a:r>
          </a:p>
          <a:p>
            <a:pPr marL="800100" lvl="1" indent="-342900">
              <a:buFont typeface="Wingdings" panose="05000000000000000000" pitchFamily="2" charset="2"/>
              <a:buChar char="Ø"/>
            </a:pPr>
            <a:r>
              <a:rPr lang="en-US" sz="2600" dirty="0"/>
              <a:t>Slow steaming is another cost-effective approach to consume less fuel.</a:t>
            </a:r>
          </a:p>
          <a:p>
            <a:pPr marL="800100" lvl="1" indent="-342900">
              <a:buFont typeface="Wingdings" panose="05000000000000000000" pitchFamily="2" charset="2"/>
              <a:buChar char="Ø"/>
            </a:pPr>
            <a:r>
              <a:rPr lang="en-US" sz="2600" dirty="0"/>
              <a:t>By speed reduction of 25% decreases fuel consumption by 58% and lessens the emissions of carbon dioxide, SOx, and </a:t>
            </a:r>
            <a:r>
              <a:rPr lang="en-US" sz="2600" dirty="0" err="1"/>
              <a:t>Nox</a:t>
            </a:r>
            <a:r>
              <a:rPr lang="en-US" sz="2600" dirty="0"/>
              <a:t>.</a:t>
            </a:r>
          </a:p>
        </p:txBody>
      </p:sp>
    </p:spTree>
    <p:extLst>
      <p:ext uri="{BB962C8B-B14F-4D97-AF65-F5344CB8AC3E}">
        <p14:creationId xmlns:p14="http://schemas.microsoft.com/office/powerpoint/2010/main" val="40982275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0" y="524087"/>
            <a:ext cx="9144000" cy="523220"/>
          </a:xfrm>
          <a:prstGeom prst="rect">
            <a:avLst/>
          </a:prstGeom>
          <a:solidFill>
            <a:schemeClr val="accent5">
              <a:lumMod val="75000"/>
              <a:alpha val="55000"/>
            </a:schemeClr>
          </a:solidFill>
        </p:spPr>
        <p:txBody>
          <a:bodyPr wrap="square" rtlCol="0">
            <a:spAutoFit/>
          </a:bodyPr>
          <a:lstStyle/>
          <a:p>
            <a:r>
              <a:rPr lang="en-US" sz="2800" b="1" dirty="0">
                <a:solidFill>
                  <a:srgbClr val="FFFFFF"/>
                </a:solidFill>
              </a:rPr>
              <a:t>Sustainable Shipping – Challenges</a:t>
            </a:r>
          </a:p>
        </p:txBody>
      </p:sp>
      <p:sp>
        <p:nvSpPr>
          <p:cNvPr id="14" name="AutoShape 2" descr="Image result for solar power projects in port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15" name="AutoShape 4" descr="Image result for solar power projects in port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8" name="TextBox 7"/>
          <p:cNvSpPr txBox="1"/>
          <p:nvPr/>
        </p:nvSpPr>
        <p:spPr>
          <a:xfrm>
            <a:off x="8784032" y="6597352"/>
            <a:ext cx="359968" cy="276999"/>
          </a:xfrm>
          <a:prstGeom prst="rect">
            <a:avLst/>
          </a:prstGeom>
          <a:noFill/>
        </p:spPr>
        <p:txBody>
          <a:bodyPr wrap="square" rtlCol="0">
            <a:spAutoFit/>
          </a:bodyPr>
          <a:lstStyle/>
          <a:p>
            <a:pPr algn="ctr"/>
            <a:r>
              <a:rPr lang="en-US" sz="1200" dirty="0"/>
              <a:t>12</a:t>
            </a:r>
            <a:endParaRPr lang="en-IN" sz="1200" dirty="0"/>
          </a:p>
        </p:txBody>
      </p:sp>
      <p:sp>
        <p:nvSpPr>
          <p:cNvPr id="2" name="TextBox 1">
            <a:extLst>
              <a:ext uri="{FF2B5EF4-FFF2-40B4-BE49-F238E27FC236}">
                <a16:creationId xmlns:a16="http://schemas.microsoft.com/office/drawing/2014/main" id="{D1513E0B-7931-D9C2-238C-F89CF52DA5E9}"/>
              </a:ext>
            </a:extLst>
          </p:cNvPr>
          <p:cNvSpPr txBox="1"/>
          <p:nvPr/>
        </p:nvSpPr>
        <p:spPr>
          <a:xfrm>
            <a:off x="1219200" y="2971800"/>
            <a:ext cx="6252033" cy="830997"/>
          </a:xfrm>
          <a:prstGeom prst="rect">
            <a:avLst/>
          </a:prstGeom>
          <a:noFill/>
        </p:spPr>
        <p:txBody>
          <a:bodyPr wrap="none" rtlCol="0">
            <a:spAutoFit/>
          </a:bodyPr>
          <a:lstStyle/>
          <a:p>
            <a:pPr algn="ctr"/>
            <a:r>
              <a:rPr lang="en-US" sz="4800" dirty="0"/>
              <a:t>Maritime Cyber Security</a:t>
            </a:r>
            <a:endParaRPr lang="en-IN" sz="4800" dirty="0"/>
          </a:p>
        </p:txBody>
      </p:sp>
    </p:spTree>
    <p:extLst>
      <p:ext uri="{BB962C8B-B14F-4D97-AF65-F5344CB8AC3E}">
        <p14:creationId xmlns:p14="http://schemas.microsoft.com/office/powerpoint/2010/main" val="3053075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90" name="Object 8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0" y="524087"/>
            <a:ext cx="9144000" cy="954107"/>
          </a:xfrm>
          <a:prstGeom prst="rect">
            <a:avLst/>
          </a:prstGeom>
          <a:solidFill>
            <a:schemeClr val="accent5">
              <a:lumMod val="75000"/>
              <a:alpha val="55000"/>
            </a:schemeClr>
          </a:solidFill>
        </p:spPr>
        <p:txBody>
          <a:bodyPr wrap="square" rtlCol="0">
            <a:spAutoFit/>
          </a:bodyPr>
          <a:lstStyle/>
          <a:p>
            <a:r>
              <a:rPr lang="en-US" sz="2800" b="1" dirty="0">
                <a:solidFill>
                  <a:srgbClr val="FFFFFF"/>
                </a:solidFill>
              </a:rPr>
              <a:t>Sustainable Shipping – Challenges</a:t>
            </a:r>
          </a:p>
          <a:p>
            <a:r>
              <a:rPr lang="en-US" sz="2800" dirty="0"/>
              <a:t>Maritime security (Equipment on Vessels)</a:t>
            </a:r>
          </a:p>
        </p:txBody>
      </p:sp>
      <p:sp>
        <p:nvSpPr>
          <p:cNvPr id="14" name="AutoShape 2" descr="Image result for solar power projects in port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15" name="AutoShape 4" descr="Image result for solar power projects in port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8" name="TextBox 7"/>
          <p:cNvSpPr txBox="1"/>
          <p:nvPr/>
        </p:nvSpPr>
        <p:spPr>
          <a:xfrm>
            <a:off x="8784032" y="6597352"/>
            <a:ext cx="359968" cy="276999"/>
          </a:xfrm>
          <a:prstGeom prst="rect">
            <a:avLst/>
          </a:prstGeom>
          <a:noFill/>
        </p:spPr>
        <p:txBody>
          <a:bodyPr wrap="square" rtlCol="0">
            <a:spAutoFit/>
          </a:bodyPr>
          <a:lstStyle/>
          <a:p>
            <a:pPr algn="ctr"/>
            <a:r>
              <a:rPr lang="en-US" sz="1200" dirty="0"/>
              <a:t>12</a:t>
            </a:r>
            <a:endParaRPr lang="en-IN" sz="1200" dirty="0"/>
          </a:p>
        </p:txBody>
      </p:sp>
      <p:pic>
        <p:nvPicPr>
          <p:cNvPr id="16388" name="Picture 4" descr="Network 02 00009 g00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6200" y="1550934"/>
            <a:ext cx="8906301" cy="50469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7599844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0" y="524087"/>
            <a:ext cx="9144000" cy="954107"/>
          </a:xfrm>
          <a:prstGeom prst="rect">
            <a:avLst/>
          </a:prstGeom>
          <a:solidFill>
            <a:schemeClr val="accent5">
              <a:lumMod val="75000"/>
              <a:alpha val="55000"/>
            </a:schemeClr>
          </a:solidFill>
        </p:spPr>
        <p:txBody>
          <a:bodyPr wrap="square" rtlCol="0">
            <a:spAutoFit/>
          </a:bodyPr>
          <a:lstStyle/>
          <a:p>
            <a:r>
              <a:rPr lang="en-US" sz="2800" b="1" dirty="0">
                <a:solidFill>
                  <a:srgbClr val="FFFFFF"/>
                </a:solidFill>
              </a:rPr>
              <a:t>Sustainable Shipping – Challenges</a:t>
            </a:r>
          </a:p>
          <a:p>
            <a:r>
              <a:rPr lang="en-US" sz="2800" dirty="0"/>
              <a:t>Maritime Cyber security</a:t>
            </a:r>
          </a:p>
        </p:txBody>
      </p:sp>
      <p:sp>
        <p:nvSpPr>
          <p:cNvPr id="14" name="AutoShape 2" descr="Image result for solar power projects in port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15" name="AutoShape 4" descr="Image result for solar power projects in port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8" name="TextBox 7"/>
          <p:cNvSpPr txBox="1"/>
          <p:nvPr/>
        </p:nvSpPr>
        <p:spPr>
          <a:xfrm>
            <a:off x="8784032" y="6597352"/>
            <a:ext cx="359968" cy="276999"/>
          </a:xfrm>
          <a:prstGeom prst="rect">
            <a:avLst/>
          </a:prstGeom>
          <a:noFill/>
        </p:spPr>
        <p:txBody>
          <a:bodyPr wrap="square" rtlCol="0">
            <a:spAutoFit/>
          </a:bodyPr>
          <a:lstStyle/>
          <a:p>
            <a:pPr algn="ctr"/>
            <a:r>
              <a:rPr lang="en-US" sz="1200" dirty="0"/>
              <a:t>12</a:t>
            </a:r>
            <a:endParaRPr lang="en-IN" sz="1200" dirty="0"/>
          </a:p>
        </p:txBody>
      </p:sp>
      <p:sp>
        <p:nvSpPr>
          <p:cNvPr id="2" name="Rectangle 1"/>
          <p:cNvSpPr/>
          <p:nvPr/>
        </p:nvSpPr>
        <p:spPr>
          <a:xfrm>
            <a:off x="84085" y="1539921"/>
            <a:ext cx="8975829" cy="4832092"/>
          </a:xfrm>
          <a:prstGeom prst="rect">
            <a:avLst/>
          </a:prstGeom>
        </p:spPr>
        <p:txBody>
          <a:bodyPr wrap="square">
            <a:spAutoFit/>
          </a:bodyPr>
          <a:lstStyle/>
          <a:p>
            <a:pPr fontAlgn="auto"/>
            <a:r>
              <a:rPr lang="en-US" sz="2800" dirty="0"/>
              <a:t>Cyber attacks have been rapidly increasing over the years, resulting to:</a:t>
            </a:r>
          </a:p>
          <a:p>
            <a:pPr marL="457200" indent="-457200" fontAlgn="auto">
              <a:buFont typeface="Arial" panose="020B0604020202020204" pitchFamily="34" charset="0"/>
              <a:buChar char="•"/>
            </a:pPr>
            <a:r>
              <a:rPr lang="en-US" sz="2800" dirty="0"/>
              <a:t>big financial losses</a:t>
            </a:r>
          </a:p>
          <a:p>
            <a:pPr marL="457200" indent="-457200" fontAlgn="auto">
              <a:buFont typeface="Arial" panose="020B0604020202020204" pitchFamily="34" charset="0"/>
              <a:buChar char="•"/>
            </a:pPr>
            <a:r>
              <a:rPr lang="en-US" sz="2800" dirty="0"/>
              <a:t>regulatory sanctions</a:t>
            </a:r>
          </a:p>
          <a:p>
            <a:pPr marL="457200" indent="-457200" fontAlgn="auto">
              <a:buFont typeface="Arial" panose="020B0604020202020204" pitchFamily="34" charset="0"/>
              <a:buChar char="•"/>
            </a:pPr>
            <a:r>
              <a:rPr lang="en-US" sz="2800" dirty="0"/>
              <a:t>reputation and trust.</a:t>
            </a:r>
          </a:p>
          <a:p>
            <a:pPr fontAlgn="auto"/>
            <a:endParaRPr lang="en-US" sz="2800" dirty="0"/>
          </a:p>
          <a:p>
            <a:pPr fontAlgn="auto"/>
            <a:r>
              <a:rPr lang="en-US" sz="2800" dirty="0"/>
              <a:t>The maritime sector, which until now was considered safe due to the lack of Internet connectivity and the isolated nature of ships out at sea, is showing a big increase in cyber security breaches on operational technology as it enters the digital era.</a:t>
            </a:r>
          </a:p>
        </p:txBody>
      </p:sp>
    </p:spTree>
    <p:extLst>
      <p:ext uri="{BB962C8B-B14F-4D97-AF65-F5344CB8AC3E}">
        <p14:creationId xmlns:p14="http://schemas.microsoft.com/office/powerpoint/2010/main" val="21869324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0" y="524087"/>
            <a:ext cx="9144000" cy="523220"/>
          </a:xfrm>
          <a:prstGeom prst="rect">
            <a:avLst/>
          </a:prstGeom>
          <a:solidFill>
            <a:schemeClr val="accent5">
              <a:lumMod val="75000"/>
              <a:alpha val="55000"/>
            </a:schemeClr>
          </a:solidFill>
        </p:spPr>
        <p:txBody>
          <a:bodyPr wrap="square" rtlCol="0">
            <a:spAutoFit/>
          </a:bodyPr>
          <a:lstStyle/>
          <a:p>
            <a:r>
              <a:rPr lang="en-US" sz="2800" b="1" dirty="0">
                <a:solidFill>
                  <a:srgbClr val="FFFFFF"/>
                </a:solidFill>
              </a:rPr>
              <a:t>History of National Maritime Day</a:t>
            </a:r>
            <a:endParaRPr lang="en-IN" sz="2800" b="1" dirty="0">
              <a:solidFill>
                <a:srgbClr val="FFFFFF"/>
              </a:solidFill>
            </a:endParaRPr>
          </a:p>
        </p:txBody>
      </p:sp>
      <p:sp>
        <p:nvSpPr>
          <p:cNvPr id="14" name="AutoShape 2" descr="Image result for solar power projects in port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15" name="AutoShape 4" descr="Image result for solar power projects in port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8" name="TextBox 7"/>
          <p:cNvSpPr txBox="1"/>
          <p:nvPr/>
        </p:nvSpPr>
        <p:spPr>
          <a:xfrm>
            <a:off x="8784032" y="6597352"/>
            <a:ext cx="359968" cy="276999"/>
          </a:xfrm>
          <a:prstGeom prst="rect">
            <a:avLst/>
          </a:prstGeom>
          <a:noFill/>
        </p:spPr>
        <p:txBody>
          <a:bodyPr wrap="square" rtlCol="0">
            <a:spAutoFit/>
          </a:bodyPr>
          <a:lstStyle/>
          <a:p>
            <a:pPr algn="ctr"/>
            <a:r>
              <a:rPr lang="en-US" sz="1200" dirty="0"/>
              <a:t>12</a:t>
            </a:r>
            <a:endParaRPr lang="en-IN" sz="1200" dirty="0"/>
          </a:p>
        </p:txBody>
      </p:sp>
      <p:sp>
        <p:nvSpPr>
          <p:cNvPr id="2" name="Rectangle 1"/>
          <p:cNvSpPr/>
          <p:nvPr/>
        </p:nvSpPr>
        <p:spPr>
          <a:xfrm>
            <a:off x="68087" y="4343400"/>
            <a:ext cx="8715945" cy="2013756"/>
          </a:xfrm>
          <a:prstGeom prst="rect">
            <a:avLst/>
          </a:prstGeom>
        </p:spPr>
        <p:txBody>
          <a:bodyPr wrap="square">
            <a:spAutoFit/>
          </a:bodyPr>
          <a:lstStyle/>
          <a:p>
            <a:pPr algn="ctr">
              <a:lnSpc>
                <a:spcPct val="150000"/>
              </a:lnSpc>
            </a:pPr>
            <a:r>
              <a:rPr lang="en-US" sz="1700" dirty="0">
                <a:latin typeface="Arial Black" panose="020B0A04020102020204" pitchFamily="34" charset="0"/>
                <a:cs typeface="Arial" panose="020B0604020202020204" pitchFamily="34" charset="0"/>
              </a:rPr>
              <a:t>Indian National Maritime Day is observed on </a:t>
            </a:r>
            <a:r>
              <a:rPr lang="en-US" sz="1700" b="1" dirty="0">
                <a:latin typeface="Arial Black" panose="020B0A04020102020204" pitchFamily="34" charset="0"/>
                <a:cs typeface="Arial" panose="020B0604020202020204" pitchFamily="34" charset="0"/>
              </a:rPr>
              <a:t>5th April </a:t>
            </a:r>
            <a:r>
              <a:rPr lang="en-US" sz="1700" dirty="0">
                <a:latin typeface="Arial Black" panose="020B0A04020102020204" pitchFamily="34" charset="0"/>
                <a:cs typeface="Arial" panose="020B0604020202020204" pitchFamily="34" charset="0"/>
              </a:rPr>
              <a:t>every year to commemorate the maiden voyage of MV Loyalty, India's first merchant ship, on that day in 1919. The day is celebrated to highlight the importance of the maritime sector to the country's economy and to recognize the contributions of the Indian seafarers. </a:t>
            </a:r>
          </a:p>
        </p:txBody>
      </p:sp>
      <p:pic>
        <p:nvPicPr>
          <p:cNvPr id="3" name="Picture 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93775" y="1069591"/>
            <a:ext cx="7159625" cy="3273809"/>
          </a:xfrm>
          <a:prstGeom prst="rect">
            <a:avLst/>
          </a:prstGeom>
        </p:spPr>
      </p:pic>
    </p:spTree>
    <p:extLst>
      <p:ext uri="{BB962C8B-B14F-4D97-AF65-F5344CB8AC3E}">
        <p14:creationId xmlns:p14="http://schemas.microsoft.com/office/powerpoint/2010/main" val="5565532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0" y="524087"/>
            <a:ext cx="9144000" cy="954107"/>
          </a:xfrm>
          <a:prstGeom prst="rect">
            <a:avLst/>
          </a:prstGeom>
          <a:solidFill>
            <a:schemeClr val="accent5">
              <a:lumMod val="75000"/>
              <a:alpha val="55000"/>
            </a:schemeClr>
          </a:solidFill>
        </p:spPr>
        <p:txBody>
          <a:bodyPr wrap="square" rtlCol="0">
            <a:spAutoFit/>
          </a:bodyPr>
          <a:lstStyle/>
          <a:p>
            <a:r>
              <a:rPr lang="en-US" sz="2800" b="1" dirty="0">
                <a:solidFill>
                  <a:srgbClr val="FFFFFF"/>
                </a:solidFill>
              </a:rPr>
              <a:t>Sustainable Shipping – Challenges</a:t>
            </a:r>
          </a:p>
          <a:p>
            <a:r>
              <a:rPr lang="en-US" sz="2800" dirty="0"/>
              <a:t>Maritime Cyber security</a:t>
            </a:r>
          </a:p>
        </p:txBody>
      </p:sp>
      <p:sp>
        <p:nvSpPr>
          <p:cNvPr id="14" name="AutoShape 2" descr="Image result for solar power projects in port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15" name="AutoShape 4" descr="Image result for solar power projects in port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8" name="TextBox 7"/>
          <p:cNvSpPr txBox="1"/>
          <p:nvPr/>
        </p:nvSpPr>
        <p:spPr>
          <a:xfrm>
            <a:off x="8784032" y="6597352"/>
            <a:ext cx="359968" cy="276999"/>
          </a:xfrm>
          <a:prstGeom prst="rect">
            <a:avLst/>
          </a:prstGeom>
          <a:noFill/>
        </p:spPr>
        <p:txBody>
          <a:bodyPr wrap="square" rtlCol="0">
            <a:spAutoFit/>
          </a:bodyPr>
          <a:lstStyle/>
          <a:p>
            <a:pPr algn="ctr"/>
            <a:r>
              <a:rPr lang="en-US" sz="1200" dirty="0"/>
              <a:t>12</a:t>
            </a:r>
            <a:endParaRPr lang="en-IN" sz="1200" dirty="0"/>
          </a:p>
        </p:txBody>
      </p:sp>
      <p:sp>
        <p:nvSpPr>
          <p:cNvPr id="2" name="Rectangle 1"/>
          <p:cNvSpPr/>
          <p:nvPr/>
        </p:nvSpPr>
        <p:spPr>
          <a:xfrm>
            <a:off x="168171" y="1689543"/>
            <a:ext cx="8975829" cy="3970318"/>
          </a:xfrm>
          <a:prstGeom prst="rect">
            <a:avLst/>
          </a:prstGeom>
        </p:spPr>
        <p:txBody>
          <a:bodyPr wrap="square">
            <a:spAutoFit/>
          </a:bodyPr>
          <a:lstStyle/>
          <a:p>
            <a:pPr marL="457200" indent="-457200" fontAlgn="auto">
              <a:buFont typeface="Arial" panose="020B0604020202020204" pitchFamily="34" charset="0"/>
              <a:buChar char="•"/>
            </a:pPr>
            <a:r>
              <a:rPr lang="en-US" sz="2800" dirty="0"/>
              <a:t>There are some possible countermeasures that can mitigate potential cyber attacks and make the shipping industry a hard target, such as the implementation of a new security standard that reduces the number and scope of cyber attacks. </a:t>
            </a:r>
          </a:p>
          <a:p>
            <a:pPr fontAlgn="auto"/>
            <a:endParaRPr lang="en-US" sz="2800" dirty="0"/>
          </a:p>
          <a:p>
            <a:pPr marL="457200" indent="-457200" fontAlgn="auto">
              <a:buFont typeface="Arial" panose="020B0604020202020204" pitchFamily="34" charset="0"/>
              <a:buChar char="•"/>
            </a:pPr>
            <a:r>
              <a:rPr lang="en-US" sz="2800" dirty="0"/>
              <a:t>However, many security challenges remain unresolved, especially with the increased use of automation and devices directly connected to web.</a:t>
            </a:r>
          </a:p>
        </p:txBody>
      </p:sp>
    </p:spTree>
    <p:extLst>
      <p:ext uri="{BB962C8B-B14F-4D97-AF65-F5344CB8AC3E}">
        <p14:creationId xmlns:p14="http://schemas.microsoft.com/office/powerpoint/2010/main" val="395643564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90" name="Object 8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0" y="524087"/>
            <a:ext cx="9144000" cy="523220"/>
          </a:xfrm>
          <a:prstGeom prst="rect">
            <a:avLst/>
          </a:prstGeom>
          <a:solidFill>
            <a:schemeClr val="accent5">
              <a:lumMod val="75000"/>
              <a:alpha val="55000"/>
            </a:schemeClr>
          </a:solidFill>
        </p:spPr>
        <p:txBody>
          <a:bodyPr wrap="square" rtlCol="0">
            <a:spAutoFit/>
          </a:bodyPr>
          <a:lstStyle/>
          <a:p>
            <a:r>
              <a:rPr lang="en-US" sz="2800" b="1" dirty="0">
                <a:solidFill>
                  <a:srgbClr val="FFFFFF"/>
                </a:solidFill>
              </a:rPr>
              <a:t>Sustainable Shipping</a:t>
            </a:r>
          </a:p>
        </p:txBody>
      </p:sp>
      <p:sp>
        <p:nvSpPr>
          <p:cNvPr id="14" name="AutoShape 2" descr="Image result for solar power projects in port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15" name="AutoShape 4" descr="Image result for solar power projects in port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8" name="TextBox 7"/>
          <p:cNvSpPr txBox="1"/>
          <p:nvPr/>
        </p:nvSpPr>
        <p:spPr>
          <a:xfrm>
            <a:off x="8784032" y="6597352"/>
            <a:ext cx="359968" cy="276999"/>
          </a:xfrm>
          <a:prstGeom prst="rect">
            <a:avLst/>
          </a:prstGeom>
          <a:noFill/>
        </p:spPr>
        <p:txBody>
          <a:bodyPr wrap="square" rtlCol="0">
            <a:spAutoFit/>
          </a:bodyPr>
          <a:lstStyle/>
          <a:p>
            <a:pPr algn="ctr"/>
            <a:r>
              <a:rPr lang="en-US" sz="1200" dirty="0"/>
              <a:t>12</a:t>
            </a:r>
            <a:endParaRPr lang="en-IN" sz="1200" dirty="0"/>
          </a:p>
        </p:txBody>
      </p:sp>
      <p:sp>
        <p:nvSpPr>
          <p:cNvPr id="2" name="Rectangle 1"/>
          <p:cNvSpPr/>
          <p:nvPr/>
        </p:nvSpPr>
        <p:spPr>
          <a:xfrm>
            <a:off x="2255785" y="2590800"/>
            <a:ext cx="4632429" cy="1015663"/>
          </a:xfrm>
          <a:prstGeom prst="rect">
            <a:avLst/>
          </a:prstGeom>
        </p:spPr>
        <p:txBody>
          <a:bodyPr wrap="square">
            <a:spAutoFit/>
          </a:bodyPr>
          <a:lstStyle/>
          <a:p>
            <a:pPr fontAlgn="auto"/>
            <a:r>
              <a:rPr lang="en-US" sz="6000" dirty="0"/>
              <a:t>Opportunities</a:t>
            </a:r>
          </a:p>
        </p:txBody>
      </p:sp>
    </p:spTree>
    <p:extLst>
      <p:ext uri="{BB962C8B-B14F-4D97-AF65-F5344CB8AC3E}">
        <p14:creationId xmlns:p14="http://schemas.microsoft.com/office/powerpoint/2010/main" val="6862417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8119" y="260648"/>
            <a:ext cx="9144000" cy="461665"/>
          </a:xfrm>
          <a:prstGeom prst="rect">
            <a:avLst/>
          </a:prstGeom>
          <a:solidFill>
            <a:schemeClr val="accent5">
              <a:lumMod val="75000"/>
              <a:alpha val="55000"/>
            </a:schemeClr>
          </a:solidFill>
        </p:spPr>
        <p:txBody>
          <a:bodyPr wrap="square" rtlCol="0">
            <a:spAutoFit/>
          </a:bodyPr>
          <a:lstStyle/>
          <a:p>
            <a:pPr>
              <a:buClr>
                <a:srgbClr val="FFD200"/>
              </a:buClr>
              <a:buSzPct val="70000"/>
              <a:defRPr/>
            </a:pPr>
            <a:r>
              <a:rPr lang="en-US" sz="2400" b="1" dirty="0">
                <a:solidFill>
                  <a:prstClr val="white"/>
                </a:solidFill>
              </a:rPr>
              <a:t>Development of coastal and inland waterways</a:t>
            </a:r>
          </a:p>
        </p:txBody>
      </p:sp>
      <p:sp>
        <p:nvSpPr>
          <p:cNvPr id="6" name="TextBox 5"/>
          <p:cNvSpPr txBox="1"/>
          <p:nvPr/>
        </p:nvSpPr>
        <p:spPr>
          <a:xfrm>
            <a:off x="179512" y="1196752"/>
            <a:ext cx="4248472" cy="400110"/>
          </a:xfrm>
          <a:prstGeom prst="rect">
            <a:avLst/>
          </a:prstGeom>
          <a:solidFill>
            <a:schemeClr val="accent5">
              <a:lumMod val="75000"/>
              <a:alpha val="55000"/>
            </a:schemeClr>
          </a:solidFill>
        </p:spPr>
        <p:txBody>
          <a:bodyPr wrap="square" rtlCol="0">
            <a:spAutoFit/>
          </a:bodyPr>
          <a:lstStyle/>
          <a:p>
            <a:r>
              <a:rPr lang="en-US" sz="2000" b="1" dirty="0">
                <a:solidFill>
                  <a:prstClr val="white"/>
                </a:solidFill>
              </a:rPr>
              <a:t>Why now ?</a:t>
            </a:r>
            <a:endParaRPr lang="en-IN" sz="2000" b="1" dirty="0">
              <a:solidFill>
                <a:prstClr val="white"/>
              </a:solidFill>
            </a:endParaRPr>
          </a:p>
        </p:txBody>
      </p:sp>
      <p:sp>
        <p:nvSpPr>
          <p:cNvPr id="7" name="Rectangle 6"/>
          <p:cNvSpPr/>
          <p:nvPr/>
        </p:nvSpPr>
        <p:spPr>
          <a:xfrm>
            <a:off x="179512" y="1196752"/>
            <a:ext cx="4248472" cy="5299854"/>
          </a:xfrm>
          <a:prstGeom prst="rect">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00" dirty="0"/>
          </a:p>
        </p:txBody>
      </p:sp>
      <p:sp>
        <p:nvSpPr>
          <p:cNvPr id="9" name="TextBox 8"/>
          <p:cNvSpPr txBox="1"/>
          <p:nvPr/>
        </p:nvSpPr>
        <p:spPr>
          <a:xfrm>
            <a:off x="251520" y="1556792"/>
            <a:ext cx="4104456" cy="4970591"/>
          </a:xfrm>
          <a:prstGeom prst="rect">
            <a:avLst/>
          </a:prstGeom>
          <a:noFill/>
        </p:spPr>
        <p:txBody>
          <a:bodyPr wrap="square" rtlCol="0">
            <a:spAutoFit/>
          </a:bodyPr>
          <a:lstStyle/>
          <a:p>
            <a:pPr marL="266700" lvl="1" indent="-266700">
              <a:spcAft>
                <a:spcPts val="900"/>
              </a:spcAft>
              <a:buFont typeface="Wingdings" panose="05000000000000000000" pitchFamily="2" charset="2"/>
              <a:buChar char="§"/>
            </a:pPr>
            <a:r>
              <a:rPr lang="en-US" sz="1700" dirty="0">
                <a:latin typeface="Arial" panose="020B0604020202020204" pitchFamily="34" charset="0"/>
                <a:cs typeface="Arial" panose="020B0604020202020204" pitchFamily="34" charset="0"/>
              </a:rPr>
              <a:t>Rich heritage of maritime trade </a:t>
            </a:r>
          </a:p>
          <a:p>
            <a:pPr marL="531813" lvl="2" indent="-258763">
              <a:spcAft>
                <a:spcPts val="900"/>
              </a:spcAft>
              <a:buFont typeface="Courier New" panose="02070309020205020404" pitchFamily="49" charset="0"/>
              <a:buChar char="o"/>
            </a:pPr>
            <a:r>
              <a:rPr lang="en-US" sz="1700" dirty="0">
                <a:latin typeface="Arial" panose="020B0604020202020204" pitchFamily="34" charset="0"/>
                <a:cs typeface="Arial" panose="020B0604020202020204" pitchFamily="34" charset="0"/>
              </a:rPr>
              <a:t>Rivers were lifeline of Indian economy, ports were gateways</a:t>
            </a:r>
          </a:p>
          <a:p>
            <a:pPr marL="531813" lvl="2" indent="-258763">
              <a:spcAft>
                <a:spcPts val="900"/>
              </a:spcAft>
              <a:buFont typeface="Courier New" panose="02070309020205020404" pitchFamily="49" charset="0"/>
              <a:buChar char="o"/>
            </a:pPr>
            <a:r>
              <a:rPr lang="en-US" sz="1700" dirty="0">
                <a:latin typeface="Arial" panose="020B0604020202020204" pitchFamily="34" charset="0"/>
                <a:cs typeface="Arial" panose="020B0604020202020204" pitchFamily="34" charset="0"/>
              </a:rPr>
              <a:t>Trade and cultural ties with Asia and Africa by maritime route</a:t>
            </a:r>
          </a:p>
          <a:p>
            <a:pPr marL="531813" lvl="2" indent="-258763">
              <a:spcAft>
                <a:spcPts val="900"/>
              </a:spcAft>
              <a:buFont typeface="Courier New" panose="02070309020205020404" pitchFamily="49" charset="0"/>
              <a:buChar char="o"/>
            </a:pPr>
            <a:r>
              <a:rPr lang="en-US" sz="1700" dirty="0">
                <a:latin typeface="Arial" panose="020B0604020202020204" pitchFamily="34" charset="0"/>
                <a:cs typeface="Arial" panose="020B0604020202020204" pitchFamily="34" charset="0"/>
              </a:rPr>
              <a:t>Ports such as Tamralipta, Poompuhar, Muziris, Calicut and Dwarka</a:t>
            </a:r>
          </a:p>
          <a:p>
            <a:pPr marL="266700" lvl="1" indent="-266700">
              <a:spcAft>
                <a:spcPts val="900"/>
              </a:spcAft>
              <a:buFont typeface="Wingdings" panose="05000000000000000000" pitchFamily="2" charset="2"/>
              <a:buChar char="§"/>
            </a:pPr>
            <a:r>
              <a:rPr lang="en-US" sz="1700" dirty="0">
                <a:latin typeface="Arial" panose="020B0604020202020204" pitchFamily="34" charset="0"/>
                <a:cs typeface="Arial" panose="020B0604020202020204" pitchFamily="34" charset="0"/>
              </a:rPr>
              <a:t>Increasing role of India in modern global trade – exports to grow through Make in India</a:t>
            </a:r>
          </a:p>
          <a:p>
            <a:pPr marL="266700" lvl="1" indent="-266700">
              <a:spcAft>
                <a:spcPts val="900"/>
              </a:spcAft>
              <a:buFont typeface="Wingdings" panose="05000000000000000000" pitchFamily="2" charset="2"/>
              <a:buChar char="§"/>
            </a:pPr>
            <a:r>
              <a:rPr lang="en-US" sz="1700" dirty="0">
                <a:latin typeface="Arial" panose="020B0604020202020204" pitchFamily="34" charset="0"/>
                <a:cs typeface="Arial" panose="020B0604020202020204" pitchFamily="34" charset="0"/>
              </a:rPr>
              <a:t>Robust growth in economy, poised to take full advantage of lower logistics costs by water routes</a:t>
            </a:r>
          </a:p>
          <a:p>
            <a:pPr marL="266700" lvl="1" indent="-266700">
              <a:spcAft>
                <a:spcPts val="900"/>
              </a:spcAft>
              <a:buFont typeface="Wingdings" panose="05000000000000000000" pitchFamily="2" charset="2"/>
              <a:buChar char="§"/>
            </a:pPr>
            <a:r>
              <a:rPr lang="en-US" sz="1700" dirty="0">
                <a:latin typeface="Arial" panose="020B0604020202020204" pitchFamily="34" charset="0"/>
                <a:cs typeface="Arial" panose="020B0604020202020204" pitchFamily="34" charset="0"/>
              </a:rPr>
              <a:t>Successful model for private sector participation</a:t>
            </a:r>
          </a:p>
        </p:txBody>
      </p:sp>
      <p:sp>
        <p:nvSpPr>
          <p:cNvPr id="10" name="TextBox 9"/>
          <p:cNvSpPr txBox="1"/>
          <p:nvPr/>
        </p:nvSpPr>
        <p:spPr>
          <a:xfrm>
            <a:off x="4644008" y="1196752"/>
            <a:ext cx="4248472" cy="400110"/>
          </a:xfrm>
          <a:prstGeom prst="rect">
            <a:avLst/>
          </a:prstGeom>
          <a:solidFill>
            <a:schemeClr val="accent5">
              <a:lumMod val="75000"/>
              <a:alpha val="55000"/>
            </a:schemeClr>
          </a:solidFill>
        </p:spPr>
        <p:txBody>
          <a:bodyPr wrap="square" rtlCol="0">
            <a:spAutoFit/>
          </a:bodyPr>
          <a:lstStyle/>
          <a:p>
            <a:r>
              <a:rPr lang="en-US" sz="2000" b="1" dirty="0">
                <a:solidFill>
                  <a:prstClr val="white"/>
                </a:solidFill>
              </a:rPr>
              <a:t>Objective </a:t>
            </a:r>
            <a:endParaRPr lang="en-IN" sz="2000" b="1" dirty="0">
              <a:solidFill>
                <a:prstClr val="white"/>
              </a:solidFill>
            </a:endParaRPr>
          </a:p>
        </p:txBody>
      </p:sp>
      <p:sp>
        <p:nvSpPr>
          <p:cNvPr id="11" name="Rectangle 10"/>
          <p:cNvSpPr/>
          <p:nvPr/>
        </p:nvSpPr>
        <p:spPr>
          <a:xfrm>
            <a:off x="4644008" y="1196752"/>
            <a:ext cx="4248472" cy="5299854"/>
          </a:xfrm>
          <a:prstGeom prst="rect">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700" dirty="0"/>
          </a:p>
        </p:txBody>
      </p:sp>
      <p:sp>
        <p:nvSpPr>
          <p:cNvPr id="12" name="TextBox 11"/>
          <p:cNvSpPr txBox="1"/>
          <p:nvPr/>
        </p:nvSpPr>
        <p:spPr>
          <a:xfrm>
            <a:off x="4716016" y="1556792"/>
            <a:ext cx="4104456" cy="4724370"/>
          </a:xfrm>
          <a:prstGeom prst="rect">
            <a:avLst/>
          </a:prstGeom>
          <a:noFill/>
        </p:spPr>
        <p:txBody>
          <a:bodyPr wrap="square" rtlCol="0">
            <a:spAutoFit/>
          </a:bodyPr>
          <a:lstStyle/>
          <a:p>
            <a:pPr marL="266700" lvl="1" indent="-266700">
              <a:spcAft>
                <a:spcPts val="1200"/>
              </a:spcAft>
              <a:buFont typeface="Wingdings" panose="05000000000000000000" pitchFamily="2" charset="2"/>
              <a:buChar char="§"/>
            </a:pPr>
            <a:r>
              <a:rPr lang="en-US" sz="1700" dirty="0">
                <a:latin typeface="Arial" panose="020B0604020202020204" pitchFamily="34" charset="0"/>
                <a:cs typeface="Arial" panose="020B0604020202020204" pitchFamily="34" charset="0"/>
              </a:rPr>
              <a:t>Create awareness of untapped potential of the sector</a:t>
            </a:r>
          </a:p>
          <a:p>
            <a:pPr marL="266700" lvl="1" indent="-266700">
              <a:spcAft>
                <a:spcPts val="1200"/>
              </a:spcAft>
              <a:buFont typeface="Wingdings" panose="05000000000000000000" pitchFamily="2" charset="2"/>
              <a:buChar char="§"/>
            </a:pPr>
            <a:r>
              <a:rPr lang="en-US" sz="1700" dirty="0">
                <a:latin typeface="Arial" panose="020B0604020202020204" pitchFamily="34" charset="0"/>
                <a:cs typeface="Arial" panose="020B0604020202020204" pitchFamily="34" charset="0"/>
              </a:rPr>
              <a:t>Engage all stakeholders on the roadmap for coastal and waterways development </a:t>
            </a:r>
          </a:p>
          <a:p>
            <a:pPr marL="266700" lvl="1" indent="-266700">
              <a:spcAft>
                <a:spcPts val="1200"/>
              </a:spcAft>
              <a:buFont typeface="Wingdings" panose="05000000000000000000" pitchFamily="2" charset="2"/>
              <a:buChar char="§"/>
            </a:pPr>
            <a:r>
              <a:rPr lang="en-US" sz="1700" dirty="0">
                <a:latin typeface="Arial" panose="020B0604020202020204" pitchFamily="34" charset="0"/>
                <a:cs typeface="Arial" panose="020B0604020202020204" pitchFamily="34" charset="0"/>
              </a:rPr>
              <a:t>Showcase tangible investment opportunities and attract investors</a:t>
            </a:r>
          </a:p>
          <a:p>
            <a:pPr marL="723900" lvl="2" indent="-266700">
              <a:spcAft>
                <a:spcPts val="1200"/>
              </a:spcAft>
              <a:buFont typeface="Wingdings" panose="05000000000000000000" pitchFamily="2" charset="2"/>
              <a:buChar char="§"/>
            </a:pPr>
            <a:r>
              <a:rPr lang="en-US" sz="1700" dirty="0">
                <a:latin typeface="Arial" panose="020B0604020202020204" pitchFamily="34" charset="0"/>
                <a:cs typeface="Arial" panose="020B0604020202020204" pitchFamily="34" charset="0"/>
              </a:rPr>
              <a:t>New ports and port expansion</a:t>
            </a:r>
          </a:p>
          <a:p>
            <a:pPr marL="723900" lvl="2" indent="-266700">
              <a:spcAft>
                <a:spcPts val="1200"/>
              </a:spcAft>
              <a:buFont typeface="Wingdings" panose="05000000000000000000" pitchFamily="2" charset="2"/>
              <a:buChar char="§"/>
            </a:pPr>
            <a:r>
              <a:rPr lang="en-US" sz="1700" dirty="0">
                <a:latin typeface="Arial" panose="020B0604020202020204" pitchFamily="34" charset="0"/>
                <a:cs typeface="Arial" panose="020B0604020202020204" pitchFamily="34" charset="0"/>
              </a:rPr>
              <a:t>Road and rail connectivity </a:t>
            </a:r>
          </a:p>
          <a:p>
            <a:pPr marL="723900" lvl="2" indent="-266700">
              <a:spcAft>
                <a:spcPts val="1200"/>
              </a:spcAft>
              <a:buFont typeface="Wingdings" panose="05000000000000000000" pitchFamily="2" charset="2"/>
              <a:buChar char="§"/>
            </a:pPr>
            <a:r>
              <a:rPr lang="en-US" sz="1700" dirty="0">
                <a:latin typeface="Arial" panose="020B0604020202020204" pitchFamily="34" charset="0"/>
                <a:cs typeface="Arial" panose="020B0604020202020204" pitchFamily="34" charset="0"/>
              </a:rPr>
              <a:t>Inland waterways</a:t>
            </a:r>
          </a:p>
          <a:p>
            <a:pPr marL="723900" lvl="2" indent="-266700">
              <a:spcAft>
                <a:spcPts val="1200"/>
              </a:spcAft>
              <a:buFont typeface="Wingdings" panose="05000000000000000000" pitchFamily="2" charset="2"/>
              <a:buChar char="§"/>
            </a:pPr>
            <a:r>
              <a:rPr lang="en-US" sz="1700" dirty="0">
                <a:latin typeface="Arial" panose="020B0604020202020204" pitchFamily="34" charset="0"/>
                <a:cs typeface="Arial" panose="020B0604020202020204" pitchFamily="34" charset="0"/>
              </a:rPr>
              <a:t>Coastal industrial clusters</a:t>
            </a:r>
          </a:p>
          <a:p>
            <a:pPr marL="723900" lvl="2" indent="-266700">
              <a:spcAft>
                <a:spcPts val="1200"/>
              </a:spcAft>
              <a:buFont typeface="Wingdings" panose="05000000000000000000" pitchFamily="2" charset="2"/>
              <a:buChar char="§"/>
            </a:pPr>
            <a:r>
              <a:rPr lang="en-US" sz="1700" dirty="0">
                <a:latin typeface="Arial" panose="020B0604020202020204" pitchFamily="34" charset="0"/>
                <a:cs typeface="Arial" panose="020B0604020202020204" pitchFamily="34" charset="0"/>
              </a:rPr>
              <a:t>Maritime tourism</a:t>
            </a:r>
          </a:p>
          <a:p>
            <a:pPr marL="266700" lvl="1" indent="-266700">
              <a:spcAft>
                <a:spcPts val="1200"/>
              </a:spcAft>
              <a:buFont typeface="Wingdings" panose="05000000000000000000" pitchFamily="2" charset="2"/>
              <a:buChar char="§"/>
            </a:pPr>
            <a:endParaRPr lang="en-US" sz="17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30805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9" name="Rectangle 88"/>
          <p:cNvSpPr>
            <a:spLocks/>
          </p:cNvSpPr>
          <p:nvPr/>
        </p:nvSpPr>
        <p:spPr>
          <a:xfrm>
            <a:off x="155575" y="1698947"/>
            <a:ext cx="4200401" cy="4394349"/>
          </a:xfrm>
          <a:prstGeom prst="rect">
            <a:avLst/>
          </a:prstGeom>
          <a:solidFill>
            <a:schemeClr val="bg1"/>
          </a:solidFill>
          <a:ln w="19050">
            <a:solidFill>
              <a:schemeClr val="accent3"/>
            </a:solidFill>
            <a:miter lim="800000"/>
            <a:headEnd/>
            <a:tailEnd/>
          </a:ln>
          <a:effectLst>
            <a:outerShdw blurRad="50800" dist="38100" dir="2700000" algn="tl" rotWithShape="0">
              <a:prstClr val="black">
                <a:alpha val="40000"/>
              </a:prstClr>
            </a:outerShdw>
          </a:effectLst>
        </p:spPr>
        <p:txBody>
          <a:bodyPr vert="horz" wrap="none" lIns="91430" tIns="45715" rIns="91430" bIns="45715" numCol="1" anchor="ctr" anchorCtr="0" compatLnSpc="1">
            <a:prstTxWarp prst="textNoShape">
              <a:avLst/>
            </a:prstTxWarp>
            <a:noAutofit/>
          </a:bodyPr>
          <a:lstStyle/>
          <a:p>
            <a:endParaRPr lang="en-US" sz="1300" dirty="0">
              <a:solidFill>
                <a:schemeClr val="tx2"/>
              </a:solidFill>
              <a:latin typeface="+mn-lt"/>
            </a:endParaRPr>
          </a:p>
        </p:txBody>
      </p:sp>
      <p:sp>
        <p:nvSpPr>
          <p:cNvPr id="5" name="TextBox 4"/>
          <p:cNvSpPr txBox="1"/>
          <p:nvPr/>
        </p:nvSpPr>
        <p:spPr>
          <a:xfrm>
            <a:off x="0" y="524087"/>
            <a:ext cx="9144000" cy="523220"/>
          </a:xfrm>
          <a:prstGeom prst="rect">
            <a:avLst/>
          </a:prstGeom>
          <a:solidFill>
            <a:schemeClr val="accent5">
              <a:lumMod val="75000"/>
              <a:alpha val="55000"/>
            </a:schemeClr>
          </a:solidFill>
        </p:spPr>
        <p:txBody>
          <a:bodyPr wrap="square" rtlCol="0">
            <a:spAutoFit/>
          </a:bodyPr>
          <a:lstStyle/>
          <a:p>
            <a:r>
              <a:rPr lang="en-US" sz="2800" b="1" dirty="0">
                <a:solidFill>
                  <a:srgbClr val="FFFFFF"/>
                </a:solidFill>
              </a:rPr>
              <a:t>Coastal Shipping (</a:t>
            </a:r>
            <a:r>
              <a:rPr lang="en-IN" sz="2800" b="1" dirty="0">
                <a:solidFill>
                  <a:srgbClr val="FFFFFF"/>
                </a:solidFill>
              </a:rPr>
              <a:t>Long coastline of 7,517 km)</a:t>
            </a:r>
          </a:p>
        </p:txBody>
      </p:sp>
      <p:sp>
        <p:nvSpPr>
          <p:cNvPr id="14" name="AutoShape 2" descr="Image result for solar power projects in port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15" name="AutoShape 4" descr="Image result for solar power projects in port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8" name="TextBox 7"/>
          <p:cNvSpPr txBox="1"/>
          <p:nvPr/>
        </p:nvSpPr>
        <p:spPr>
          <a:xfrm>
            <a:off x="8784032" y="6597352"/>
            <a:ext cx="359968" cy="276999"/>
          </a:xfrm>
          <a:prstGeom prst="rect">
            <a:avLst/>
          </a:prstGeom>
          <a:noFill/>
        </p:spPr>
        <p:txBody>
          <a:bodyPr wrap="square" rtlCol="0">
            <a:spAutoFit/>
          </a:bodyPr>
          <a:lstStyle/>
          <a:p>
            <a:pPr algn="ctr"/>
            <a:r>
              <a:rPr lang="en-US" sz="1200" dirty="0"/>
              <a:t>12</a:t>
            </a:r>
            <a:endParaRPr lang="en-IN" sz="1200" dirty="0"/>
          </a:p>
        </p:txBody>
      </p:sp>
      <p:sp>
        <p:nvSpPr>
          <p:cNvPr id="2" name="Rectangle 1"/>
          <p:cNvSpPr/>
          <p:nvPr/>
        </p:nvSpPr>
        <p:spPr>
          <a:xfrm>
            <a:off x="4386313" y="1052736"/>
            <a:ext cx="4637607" cy="5478423"/>
          </a:xfrm>
          <a:prstGeom prst="rect">
            <a:avLst/>
          </a:prstGeom>
        </p:spPr>
        <p:txBody>
          <a:bodyPr wrap="square">
            <a:spAutoFit/>
          </a:bodyPr>
          <a:lstStyle/>
          <a:p>
            <a:pPr algn="ctr"/>
            <a:endParaRPr lang="en-US" sz="2200" b="1" dirty="0">
              <a:solidFill>
                <a:schemeClr val="tx2"/>
              </a:solidFill>
            </a:endParaRPr>
          </a:p>
          <a:p>
            <a:pPr algn="ctr"/>
            <a:endParaRPr lang="en-US" sz="1600" b="1" dirty="0">
              <a:solidFill>
                <a:schemeClr val="tx2"/>
              </a:solidFill>
            </a:endParaRPr>
          </a:p>
          <a:p>
            <a:pPr marL="342900" indent="-342900">
              <a:buFont typeface="Wingdings" panose="05000000000000000000" pitchFamily="2" charset="2"/>
              <a:buChar char="Ø"/>
            </a:pPr>
            <a:r>
              <a:rPr lang="en-US" sz="2200" dirty="0"/>
              <a:t>Cost for coastal shipping is INR 0.2-0.3 per tonne km compared to INR 1.5 for railways and INR 2.5 for road</a:t>
            </a:r>
          </a:p>
          <a:p>
            <a:pPr marL="342900" indent="-342900">
              <a:buFont typeface="Wingdings" panose="05000000000000000000" pitchFamily="2" charset="2"/>
              <a:buChar char="Ø"/>
            </a:pPr>
            <a:endParaRPr lang="en-US" sz="1600" dirty="0"/>
          </a:p>
          <a:p>
            <a:pPr marL="342900" indent="-342900">
              <a:buFont typeface="Wingdings" panose="05000000000000000000" pitchFamily="2" charset="2"/>
              <a:buChar char="Ø"/>
            </a:pPr>
            <a:r>
              <a:rPr lang="en-US" sz="2200" dirty="0"/>
              <a:t>Coal, cement, POL, food grains, steel and fertilizers are the key commodities with significant growth potential</a:t>
            </a:r>
          </a:p>
          <a:p>
            <a:pPr marL="342900" indent="-342900">
              <a:buFont typeface="Wingdings" panose="05000000000000000000" pitchFamily="2" charset="2"/>
              <a:buChar char="Ø"/>
            </a:pPr>
            <a:endParaRPr lang="en-US" sz="1600" dirty="0"/>
          </a:p>
          <a:p>
            <a:pPr marL="342900" indent="-342900">
              <a:buFont typeface="Wingdings" panose="05000000000000000000" pitchFamily="2" charset="2"/>
              <a:buChar char="Ø"/>
            </a:pPr>
            <a:r>
              <a:rPr lang="en-US" sz="2200" dirty="0"/>
              <a:t>Potential to lower logistics cost in the economy by INR 21,000-27,000 Cr by 2025</a:t>
            </a:r>
          </a:p>
          <a:p>
            <a:pPr marL="342900" indent="-342900">
              <a:buFont typeface="Wingdings" panose="05000000000000000000" pitchFamily="2" charset="2"/>
              <a:buChar char="Ø"/>
            </a:pPr>
            <a:endParaRPr lang="en-US" sz="1600" dirty="0"/>
          </a:p>
          <a:p>
            <a:pPr marL="342900" indent="-342900">
              <a:buFont typeface="Wingdings" panose="05000000000000000000" pitchFamily="2" charset="2"/>
              <a:buChar char="Ø"/>
            </a:pPr>
            <a:r>
              <a:rPr lang="en-US" sz="2200" dirty="0"/>
              <a:t>Coastal shipping can be a catalyst for coastal industrial clusters</a:t>
            </a:r>
          </a:p>
        </p:txBody>
      </p:sp>
      <p:grpSp>
        <p:nvGrpSpPr>
          <p:cNvPr id="10" name="Group 9"/>
          <p:cNvGrpSpPr/>
          <p:nvPr/>
        </p:nvGrpSpPr>
        <p:grpSpPr>
          <a:xfrm>
            <a:off x="457742" y="2043731"/>
            <a:ext cx="3740691" cy="3652392"/>
            <a:chOff x="2693462" y="2426736"/>
            <a:chExt cx="3725319" cy="3495837"/>
          </a:xfrm>
          <a:solidFill>
            <a:schemeClr val="accent3">
              <a:lumMod val="40000"/>
              <a:lumOff val="60000"/>
            </a:schemeClr>
          </a:solidFill>
        </p:grpSpPr>
        <p:sp>
          <p:nvSpPr>
            <p:cNvPr id="11" name="Freeform 24"/>
            <p:cNvSpPr>
              <a:spLocks/>
            </p:cNvSpPr>
            <p:nvPr/>
          </p:nvSpPr>
          <p:spPr bwMode="auto">
            <a:xfrm>
              <a:off x="5698508" y="2482012"/>
              <a:ext cx="720273" cy="1053610"/>
            </a:xfrm>
            <a:custGeom>
              <a:avLst/>
              <a:gdLst>
                <a:gd name="T0" fmla="*/ 2127 w 2150"/>
                <a:gd name="T1" fmla="*/ 445 h 3149"/>
                <a:gd name="T2" fmla="*/ 1987 w 2150"/>
                <a:gd name="T3" fmla="*/ 283 h 3149"/>
                <a:gd name="T4" fmla="*/ 1717 w 2150"/>
                <a:gd name="T5" fmla="*/ 231 h 3149"/>
                <a:gd name="T6" fmla="*/ 1554 w 2150"/>
                <a:gd name="T7" fmla="*/ 122 h 3149"/>
                <a:gd name="T8" fmla="*/ 1387 w 2150"/>
                <a:gd name="T9" fmla="*/ 29 h 3149"/>
                <a:gd name="T10" fmla="*/ 1241 w 2150"/>
                <a:gd name="T11" fmla="*/ 57 h 3149"/>
                <a:gd name="T12" fmla="*/ 1124 w 2150"/>
                <a:gd name="T13" fmla="*/ 99 h 3149"/>
                <a:gd name="T14" fmla="*/ 1217 w 2150"/>
                <a:gd name="T15" fmla="*/ 322 h 3149"/>
                <a:gd name="T16" fmla="*/ 1246 w 2150"/>
                <a:gd name="T17" fmla="*/ 476 h 3149"/>
                <a:gd name="T18" fmla="*/ 1056 w 2150"/>
                <a:gd name="T19" fmla="*/ 650 h 3149"/>
                <a:gd name="T20" fmla="*/ 1051 w 2150"/>
                <a:gd name="T21" fmla="*/ 823 h 3149"/>
                <a:gd name="T22" fmla="*/ 1041 w 2150"/>
                <a:gd name="T23" fmla="*/ 1018 h 3149"/>
                <a:gd name="T24" fmla="*/ 980 w 2150"/>
                <a:gd name="T25" fmla="*/ 1216 h 3149"/>
                <a:gd name="T26" fmla="*/ 1071 w 2150"/>
                <a:gd name="T27" fmla="*/ 1317 h 3149"/>
                <a:gd name="T28" fmla="*/ 1048 w 2150"/>
                <a:gd name="T29" fmla="*/ 1509 h 3149"/>
                <a:gd name="T30" fmla="*/ 993 w 2150"/>
                <a:gd name="T31" fmla="*/ 1585 h 3149"/>
                <a:gd name="T32" fmla="*/ 878 w 2150"/>
                <a:gd name="T33" fmla="*/ 1765 h 3149"/>
                <a:gd name="T34" fmla="*/ 749 w 2150"/>
                <a:gd name="T35" fmla="*/ 1804 h 3149"/>
                <a:gd name="T36" fmla="*/ 740 w 2150"/>
                <a:gd name="T37" fmla="*/ 1890 h 3149"/>
                <a:gd name="T38" fmla="*/ 558 w 2150"/>
                <a:gd name="T39" fmla="*/ 1891 h 3149"/>
                <a:gd name="T40" fmla="*/ 452 w 2150"/>
                <a:gd name="T41" fmla="*/ 2001 h 3149"/>
                <a:gd name="T42" fmla="*/ 263 w 2150"/>
                <a:gd name="T43" fmla="*/ 2156 h 3149"/>
                <a:gd name="T44" fmla="*/ 107 w 2150"/>
                <a:gd name="T45" fmla="*/ 2110 h 3149"/>
                <a:gd name="T46" fmla="*/ 15 w 2150"/>
                <a:gd name="T47" fmla="*/ 2193 h 3149"/>
                <a:gd name="T48" fmla="*/ 126 w 2150"/>
                <a:gd name="T49" fmla="*/ 2347 h 3149"/>
                <a:gd name="T50" fmla="*/ 351 w 2150"/>
                <a:gd name="T51" fmla="*/ 2389 h 3149"/>
                <a:gd name="T52" fmla="*/ 332 w 2150"/>
                <a:gd name="T53" fmla="*/ 2488 h 3149"/>
                <a:gd name="T54" fmla="*/ 474 w 2150"/>
                <a:gd name="T55" fmla="*/ 2615 h 3149"/>
                <a:gd name="T56" fmla="*/ 535 w 2150"/>
                <a:gd name="T57" fmla="*/ 2738 h 3149"/>
                <a:gd name="T58" fmla="*/ 526 w 2150"/>
                <a:gd name="T59" fmla="*/ 2866 h 3149"/>
                <a:gd name="T60" fmla="*/ 634 w 2150"/>
                <a:gd name="T61" fmla="*/ 2988 h 3149"/>
                <a:gd name="T62" fmla="*/ 729 w 2150"/>
                <a:gd name="T63" fmla="*/ 2987 h 3149"/>
                <a:gd name="T64" fmla="*/ 828 w 2150"/>
                <a:gd name="T65" fmla="*/ 3127 h 3149"/>
                <a:gd name="T66" fmla="*/ 1036 w 2150"/>
                <a:gd name="T67" fmla="*/ 3051 h 3149"/>
                <a:gd name="T68" fmla="*/ 1226 w 2150"/>
                <a:gd name="T69" fmla="*/ 3072 h 3149"/>
                <a:gd name="T70" fmla="*/ 1369 w 2150"/>
                <a:gd name="T71" fmla="*/ 3126 h 3149"/>
                <a:gd name="T72" fmla="*/ 1514 w 2150"/>
                <a:gd name="T73" fmla="*/ 3137 h 3149"/>
                <a:gd name="T74" fmla="*/ 1645 w 2150"/>
                <a:gd name="T75" fmla="*/ 3099 h 3149"/>
                <a:gd name="T76" fmla="*/ 1653 w 2150"/>
                <a:gd name="T77" fmla="*/ 2961 h 3149"/>
                <a:gd name="T78" fmla="*/ 1651 w 2150"/>
                <a:gd name="T79" fmla="*/ 2827 h 3149"/>
                <a:gd name="T80" fmla="*/ 1579 w 2150"/>
                <a:gd name="T81" fmla="*/ 2570 h 3149"/>
                <a:gd name="T82" fmla="*/ 1543 w 2150"/>
                <a:gd name="T83" fmla="*/ 2377 h 3149"/>
                <a:gd name="T84" fmla="*/ 1550 w 2150"/>
                <a:gd name="T85" fmla="*/ 2245 h 3149"/>
                <a:gd name="T86" fmla="*/ 1491 w 2150"/>
                <a:gd name="T87" fmla="*/ 2129 h 3149"/>
                <a:gd name="T88" fmla="*/ 1390 w 2150"/>
                <a:gd name="T89" fmla="*/ 1963 h 3149"/>
                <a:gd name="T90" fmla="*/ 1468 w 2150"/>
                <a:gd name="T91" fmla="*/ 1761 h 3149"/>
                <a:gd name="T92" fmla="*/ 1387 w 2150"/>
                <a:gd name="T93" fmla="*/ 1645 h 3149"/>
                <a:gd name="T94" fmla="*/ 1169 w 2150"/>
                <a:gd name="T95" fmla="*/ 1522 h 3149"/>
                <a:gd name="T96" fmla="*/ 1234 w 2150"/>
                <a:gd name="T97" fmla="*/ 1304 h 3149"/>
                <a:gd name="T98" fmla="*/ 1331 w 2150"/>
                <a:gd name="T99" fmla="*/ 1207 h 3149"/>
                <a:gd name="T100" fmla="*/ 1505 w 2150"/>
                <a:gd name="T101" fmla="*/ 1152 h 3149"/>
                <a:gd name="T102" fmla="*/ 1560 w 2150"/>
                <a:gd name="T103" fmla="*/ 1103 h 3149"/>
                <a:gd name="T104" fmla="*/ 1430 w 2150"/>
                <a:gd name="T105" fmla="*/ 980 h 3149"/>
                <a:gd name="T106" fmla="*/ 1269 w 2150"/>
                <a:gd name="T107" fmla="*/ 835 h 3149"/>
                <a:gd name="T108" fmla="*/ 1152 w 2150"/>
                <a:gd name="T109" fmla="*/ 768 h 3149"/>
                <a:gd name="T110" fmla="*/ 1260 w 2150"/>
                <a:gd name="T111" fmla="*/ 591 h 3149"/>
                <a:gd name="T112" fmla="*/ 1308 w 2150"/>
                <a:gd name="T113" fmla="*/ 450 h 3149"/>
                <a:gd name="T114" fmla="*/ 1346 w 2150"/>
                <a:gd name="T115" fmla="*/ 397 h 3149"/>
                <a:gd name="T116" fmla="*/ 1447 w 2150"/>
                <a:gd name="T117" fmla="*/ 507 h 3149"/>
                <a:gd name="T118" fmla="*/ 1614 w 2150"/>
                <a:gd name="T119" fmla="*/ 563 h 3149"/>
                <a:gd name="T120" fmla="*/ 1607 w 2150"/>
                <a:gd name="T121" fmla="*/ 461 h 3149"/>
                <a:gd name="T122" fmla="*/ 1671 w 2150"/>
                <a:gd name="T123" fmla="*/ 587 h 3149"/>
                <a:gd name="T124" fmla="*/ 1912 w 2150"/>
                <a:gd name="T125" fmla="*/ 664 h 3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50" h="3149">
                  <a:moveTo>
                    <a:pt x="1957" y="594"/>
                  </a:moveTo>
                  <a:lnTo>
                    <a:pt x="2023" y="593"/>
                  </a:lnTo>
                  <a:lnTo>
                    <a:pt x="2035" y="592"/>
                  </a:lnTo>
                  <a:lnTo>
                    <a:pt x="2046" y="590"/>
                  </a:lnTo>
                  <a:lnTo>
                    <a:pt x="2057" y="586"/>
                  </a:lnTo>
                  <a:lnTo>
                    <a:pt x="2069" y="582"/>
                  </a:lnTo>
                  <a:lnTo>
                    <a:pt x="2080" y="577"/>
                  </a:lnTo>
                  <a:lnTo>
                    <a:pt x="2091" y="571"/>
                  </a:lnTo>
                  <a:lnTo>
                    <a:pt x="2100" y="564"/>
                  </a:lnTo>
                  <a:lnTo>
                    <a:pt x="2110" y="556"/>
                  </a:lnTo>
                  <a:lnTo>
                    <a:pt x="2115" y="550"/>
                  </a:lnTo>
                  <a:lnTo>
                    <a:pt x="2119" y="544"/>
                  </a:lnTo>
                  <a:lnTo>
                    <a:pt x="2124" y="539"/>
                  </a:lnTo>
                  <a:lnTo>
                    <a:pt x="2126" y="532"/>
                  </a:lnTo>
                  <a:lnTo>
                    <a:pt x="2129" y="519"/>
                  </a:lnTo>
                  <a:lnTo>
                    <a:pt x="2131" y="505"/>
                  </a:lnTo>
                  <a:lnTo>
                    <a:pt x="2129" y="476"/>
                  </a:lnTo>
                  <a:lnTo>
                    <a:pt x="2127" y="445"/>
                  </a:lnTo>
                  <a:lnTo>
                    <a:pt x="2127" y="426"/>
                  </a:lnTo>
                  <a:lnTo>
                    <a:pt x="2127" y="405"/>
                  </a:lnTo>
                  <a:lnTo>
                    <a:pt x="2128" y="383"/>
                  </a:lnTo>
                  <a:lnTo>
                    <a:pt x="2131" y="361"/>
                  </a:lnTo>
                  <a:lnTo>
                    <a:pt x="2134" y="338"/>
                  </a:lnTo>
                  <a:lnTo>
                    <a:pt x="2139" y="317"/>
                  </a:lnTo>
                  <a:lnTo>
                    <a:pt x="2143" y="297"/>
                  </a:lnTo>
                  <a:lnTo>
                    <a:pt x="2150" y="278"/>
                  </a:lnTo>
                  <a:lnTo>
                    <a:pt x="2133" y="279"/>
                  </a:lnTo>
                  <a:lnTo>
                    <a:pt x="2114" y="279"/>
                  </a:lnTo>
                  <a:lnTo>
                    <a:pt x="2097" y="279"/>
                  </a:lnTo>
                  <a:lnTo>
                    <a:pt x="2078" y="278"/>
                  </a:lnTo>
                  <a:lnTo>
                    <a:pt x="2060" y="278"/>
                  </a:lnTo>
                  <a:lnTo>
                    <a:pt x="2041" y="278"/>
                  </a:lnTo>
                  <a:lnTo>
                    <a:pt x="2023" y="279"/>
                  </a:lnTo>
                  <a:lnTo>
                    <a:pt x="2005" y="283"/>
                  </a:lnTo>
                  <a:lnTo>
                    <a:pt x="1997" y="284"/>
                  </a:lnTo>
                  <a:lnTo>
                    <a:pt x="1987" y="283"/>
                  </a:lnTo>
                  <a:lnTo>
                    <a:pt x="1977" y="281"/>
                  </a:lnTo>
                  <a:lnTo>
                    <a:pt x="1965" y="278"/>
                  </a:lnTo>
                  <a:lnTo>
                    <a:pt x="1941" y="270"/>
                  </a:lnTo>
                  <a:lnTo>
                    <a:pt x="1914" y="259"/>
                  </a:lnTo>
                  <a:lnTo>
                    <a:pt x="1886" y="248"/>
                  </a:lnTo>
                  <a:lnTo>
                    <a:pt x="1860" y="236"/>
                  </a:lnTo>
                  <a:lnTo>
                    <a:pt x="1837" y="227"/>
                  </a:lnTo>
                  <a:lnTo>
                    <a:pt x="1817" y="221"/>
                  </a:lnTo>
                  <a:lnTo>
                    <a:pt x="1809" y="219"/>
                  </a:lnTo>
                  <a:lnTo>
                    <a:pt x="1802" y="219"/>
                  </a:lnTo>
                  <a:lnTo>
                    <a:pt x="1794" y="219"/>
                  </a:lnTo>
                  <a:lnTo>
                    <a:pt x="1787" y="219"/>
                  </a:lnTo>
                  <a:lnTo>
                    <a:pt x="1773" y="221"/>
                  </a:lnTo>
                  <a:lnTo>
                    <a:pt x="1759" y="224"/>
                  </a:lnTo>
                  <a:lnTo>
                    <a:pt x="1745" y="228"/>
                  </a:lnTo>
                  <a:lnTo>
                    <a:pt x="1731" y="231"/>
                  </a:lnTo>
                  <a:lnTo>
                    <a:pt x="1724" y="231"/>
                  </a:lnTo>
                  <a:lnTo>
                    <a:pt x="1717" y="231"/>
                  </a:lnTo>
                  <a:lnTo>
                    <a:pt x="1710" y="231"/>
                  </a:lnTo>
                  <a:lnTo>
                    <a:pt x="1702" y="230"/>
                  </a:lnTo>
                  <a:lnTo>
                    <a:pt x="1694" y="228"/>
                  </a:lnTo>
                  <a:lnTo>
                    <a:pt x="1687" y="224"/>
                  </a:lnTo>
                  <a:lnTo>
                    <a:pt x="1680" y="221"/>
                  </a:lnTo>
                  <a:lnTo>
                    <a:pt x="1673" y="216"/>
                  </a:lnTo>
                  <a:lnTo>
                    <a:pt x="1661" y="207"/>
                  </a:lnTo>
                  <a:lnTo>
                    <a:pt x="1650" y="195"/>
                  </a:lnTo>
                  <a:lnTo>
                    <a:pt x="1638" y="185"/>
                  </a:lnTo>
                  <a:lnTo>
                    <a:pt x="1626" y="173"/>
                  </a:lnTo>
                  <a:lnTo>
                    <a:pt x="1614" y="164"/>
                  </a:lnTo>
                  <a:lnTo>
                    <a:pt x="1600" y="156"/>
                  </a:lnTo>
                  <a:lnTo>
                    <a:pt x="1588" y="150"/>
                  </a:lnTo>
                  <a:lnTo>
                    <a:pt x="1579" y="144"/>
                  </a:lnTo>
                  <a:lnTo>
                    <a:pt x="1571" y="138"/>
                  </a:lnTo>
                  <a:lnTo>
                    <a:pt x="1565" y="134"/>
                  </a:lnTo>
                  <a:lnTo>
                    <a:pt x="1559" y="128"/>
                  </a:lnTo>
                  <a:lnTo>
                    <a:pt x="1554" y="122"/>
                  </a:lnTo>
                  <a:lnTo>
                    <a:pt x="1551" y="116"/>
                  </a:lnTo>
                  <a:lnTo>
                    <a:pt x="1547" y="110"/>
                  </a:lnTo>
                  <a:lnTo>
                    <a:pt x="1542" y="99"/>
                  </a:lnTo>
                  <a:lnTo>
                    <a:pt x="1536" y="86"/>
                  </a:lnTo>
                  <a:lnTo>
                    <a:pt x="1528" y="71"/>
                  </a:lnTo>
                  <a:lnTo>
                    <a:pt x="1516" y="53"/>
                  </a:lnTo>
                  <a:lnTo>
                    <a:pt x="1510" y="45"/>
                  </a:lnTo>
                  <a:lnTo>
                    <a:pt x="1507" y="37"/>
                  </a:lnTo>
                  <a:lnTo>
                    <a:pt x="1507" y="30"/>
                  </a:lnTo>
                  <a:lnTo>
                    <a:pt x="1507" y="24"/>
                  </a:lnTo>
                  <a:lnTo>
                    <a:pt x="1479" y="23"/>
                  </a:lnTo>
                  <a:lnTo>
                    <a:pt x="1445" y="22"/>
                  </a:lnTo>
                  <a:lnTo>
                    <a:pt x="1429" y="22"/>
                  </a:lnTo>
                  <a:lnTo>
                    <a:pt x="1413" y="23"/>
                  </a:lnTo>
                  <a:lnTo>
                    <a:pt x="1405" y="23"/>
                  </a:lnTo>
                  <a:lnTo>
                    <a:pt x="1398" y="25"/>
                  </a:lnTo>
                  <a:lnTo>
                    <a:pt x="1393" y="27"/>
                  </a:lnTo>
                  <a:lnTo>
                    <a:pt x="1387" y="29"/>
                  </a:lnTo>
                  <a:lnTo>
                    <a:pt x="1376" y="36"/>
                  </a:lnTo>
                  <a:lnTo>
                    <a:pt x="1367" y="43"/>
                  </a:lnTo>
                  <a:lnTo>
                    <a:pt x="1359" y="51"/>
                  </a:lnTo>
                  <a:lnTo>
                    <a:pt x="1351" y="59"/>
                  </a:lnTo>
                  <a:lnTo>
                    <a:pt x="1342" y="66"/>
                  </a:lnTo>
                  <a:lnTo>
                    <a:pt x="1333" y="72"/>
                  </a:lnTo>
                  <a:lnTo>
                    <a:pt x="1328" y="74"/>
                  </a:lnTo>
                  <a:lnTo>
                    <a:pt x="1323" y="75"/>
                  </a:lnTo>
                  <a:lnTo>
                    <a:pt x="1317" y="77"/>
                  </a:lnTo>
                  <a:lnTo>
                    <a:pt x="1310" y="77"/>
                  </a:lnTo>
                  <a:lnTo>
                    <a:pt x="1302" y="77"/>
                  </a:lnTo>
                  <a:lnTo>
                    <a:pt x="1295" y="74"/>
                  </a:lnTo>
                  <a:lnTo>
                    <a:pt x="1288" y="73"/>
                  </a:lnTo>
                  <a:lnTo>
                    <a:pt x="1281" y="70"/>
                  </a:lnTo>
                  <a:lnTo>
                    <a:pt x="1268" y="64"/>
                  </a:lnTo>
                  <a:lnTo>
                    <a:pt x="1254" y="59"/>
                  </a:lnTo>
                  <a:lnTo>
                    <a:pt x="1247" y="58"/>
                  </a:lnTo>
                  <a:lnTo>
                    <a:pt x="1241" y="57"/>
                  </a:lnTo>
                  <a:lnTo>
                    <a:pt x="1235" y="57"/>
                  </a:lnTo>
                  <a:lnTo>
                    <a:pt x="1231" y="58"/>
                  </a:lnTo>
                  <a:lnTo>
                    <a:pt x="1220" y="60"/>
                  </a:lnTo>
                  <a:lnTo>
                    <a:pt x="1212" y="63"/>
                  </a:lnTo>
                  <a:lnTo>
                    <a:pt x="1203" y="65"/>
                  </a:lnTo>
                  <a:lnTo>
                    <a:pt x="1193" y="66"/>
                  </a:lnTo>
                  <a:lnTo>
                    <a:pt x="1188" y="65"/>
                  </a:lnTo>
                  <a:lnTo>
                    <a:pt x="1182" y="64"/>
                  </a:lnTo>
                  <a:lnTo>
                    <a:pt x="1176" y="61"/>
                  </a:lnTo>
                  <a:lnTo>
                    <a:pt x="1170" y="58"/>
                  </a:lnTo>
                  <a:lnTo>
                    <a:pt x="1115" y="0"/>
                  </a:lnTo>
                  <a:lnTo>
                    <a:pt x="1112" y="17"/>
                  </a:lnTo>
                  <a:lnTo>
                    <a:pt x="1111" y="34"/>
                  </a:lnTo>
                  <a:lnTo>
                    <a:pt x="1111" y="47"/>
                  </a:lnTo>
                  <a:lnTo>
                    <a:pt x="1112" y="61"/>
                  </a:lnTo>
                  <a:lnTo>
                    <a:pt x="1114" y="74"/>
                  </a:lnTo>
                  <a:lnTo>
                    <a:pt x="1119" y="87"/>
                  </a:lnTo>
                  <a:lnTo>
                    <a:pt x="1124" y="99"/>
                  </a:lnTo>
                  <a:lnTo>
                    <a:pt x="1129" y="110"/>
                  </a:lnTo>
                  <a:lnTo>
                    <a:pt x="1142" y="132"/>
                  </a:lnTo>
                  <a:lnTo>
                    <a:pt x="1156" y="157"/>
                  </a:lnTo>
                  <a:lnTo>
                    <a:pt x="1163" y="170"/>
                  </a:lnTo>
                  <a:lnTo>
                    <a:pt x="1170" y="182"/>
                  </a:lnTo>
                  <a:lnTo>
                    <a:pt x="1177" y="196"/>
                  </a:lnTo>
                  <a:lnTo>
                    <a:pt x="1182" y="213"/>
                  </a:lnTo>
                  <a:lnTo>
                    <a:pt x="1189" y="231"/>
                  </a:lnTo>
                  <a:lnTo>
                    <a:pt x="1193" y="246"/>
                  </a:lnTo>
                  <a:lnTo>
                    <a:pt x="1196" y="259"/>
                  </a:lnTo>
                  <a:lnTo>
                    <a:pt x="1198" y="270"/>
                  </a:lnTo>
                  <a:lnTo>
                    <a:pt x="1198" y="279"/>
                  </a:lnTo>
                  <a:lnTo>
                    <a:pt x="1196" y="288"/>
                  </a:lnTo>
                  <a:lnTo>
                    <a:pt x="1193" y="297"/>
                  </a:lnTo>
                  <a:lnTo>
                    <a:pt x="1189" y="306"/>
                  </a:lnTo>
                  <a:lnTo>
                    <a:pt x="1197" y="309"/>
                  </a:lnTo>
                  <a:lnTo>
                    <a:pt x="1207" y="315"/>
                  </a:lnTo>
                  <a:lnTo>
                    <a:pt x="1217" y="322"/>
                  </a:lnTo>
                  <a:lnTo>
                    <a:pt x="1227" y="331"/>
                  </a:lnTo>
                  <a:lnTo>
                    <a:pt x="1235" y="341"/>
                  </a:lnTo>
                  <a:lnTo>
                    <a:pt x="1242" y="350"/>
                  </a:lnTo>
                  <a:lnTo>
                    <a:pt x="1246" y="356"/>
                  </a:lnTo>
                  <a:lnTo>
                    <a:pt x="1248" y="361"/>
                  </a:lnTo>
                  <a:lnTo>
                    <a:pt x="1249" y="365"/>
                  </a:lnTo>
                  <a:lnTo>
                    <a:pt x="1249" y="370"/>
                  </a:lnTo>
                  <a:lnTo>
                    <a:pt x="1248" y="384"/>
                  </a:lnTo>
                  <a:lnTo>
                    <a:pt x="1247" y="398"/>
                  </a:lnTo>
                  <a:lnTo>
                    <a:pt x="1246" y="405"/>
                  </a:lnTo>
                  <a:lnTo>
                    <a:pt x="1246" y="412"/>
                  </a:lnTo>
                  <a:lnTo>
                    <a:pt x="1246" y="419"/>
                  </a:lnTo>
                  <a:lnTo>
                    <a:pt x="1247" y="426"/>
                  </a:lnTo>
                  <a:lnTo>
                    <a:pt x="1249" y="436"/>
                  </a:lnTo>
                  <a:lnTo>
                    <a:pt x="1252" y="447"/>
                  </a:lnTo>
                  <a:lnTo>
                    <a:pt x="1252" y="457"/>
                  </a:lnTo>
                  <a:lnTo>
                    <a:pt x="1249" y="466"/>
                  </a:lnTo>
                  <a:lnTo>
                    <a:pt x="1246" y="476"/>
                  </a:lnTo>
                  <a:lnTo>
                    <a:pt x="1241" y="484"/>
                  </a:lnTo>
                  <a:lnTo>
                    <a:pt x="1237" y="491"/>
                  </a:lnTo>
                  <a:lnTo>
                    <a:pt x="1232" y="497"/>
                  </a:lnTo>
                  <a:lnTo>
                    <a:pt x="1225" y="502"/>
                  </a:lnTo>
                  <a:lnTo>
                    <a:pt x="1219" y="507"/>
                  </a:lnTo>
                  <a:lnTo>
                    <a:pt x="1211" y="512"/>
                  </a:lnTo>
                  <a:lnTo>
                    <a:pt x="1203" y="516"/>
                  </a:lnTo>
                  <a:lnTo>
                    <a:pt x="1188" y="527"/>
                  </a:lnTo>
                  <a:lnTo>
                    <a:pt x="1173" y="539"/>
                  </a:lnTo>
                  <a:lnTo>
                    <a:pt x="1150" y="565"/>
                  </a:lnTo>
                  <a:lnTo>
                    <a:pt x="1121" y="600"/>
                  </a:lnTo>
                  <a:lnTo>
                    <a:pt x="1105" y="618"/>
                  </a:lnTo>
                  <a:lnTo>
                    <a:pt x="1091" y="632"/>
                  </a:lnTo>
                  <a:lnTo>
                    <a:pt x="1083" y="637"/>
                  </a:lnTo>
                  <a:lnTo>
                    <a:pt x="1077" y="642"/>
                  </a:lnTo>
                  <a:lnTo>
                    <a:pt x="1070" y="646"/>
                  </a:lnTo>
                  <a:lnTo>
                    <a:pt x="1064" y="648"/>
                  </a:lnTo>
                  <a:lnTo>
                    <a:pt x="1056" y="650"/>
                  </a:lnTo>
                  <a:lnTo>
                    <a:pt x="1049" y="653"/>
                  </a:lnTo>
                  <a:lnTo>
                    <a:pt x="1043" y="655"/>
                  </a:lnTo>
                  <a:lnTo>
                    <a:pt x="1037" y="658"/>
                  </a:lnTo>
                  <a:lnTo>
                    <a:pt x="1033" y="663"/>
                  </a:lnTo>
                  <a:lnTo>
                    <a:pt x="1029" y="668"/>
                  </a:lnTo>
                  <a:lnTo>
                    <a:pt x="1026" y="672"/>
                  </a:lnTo>
                  <a:lnTo>
                    <a:pt x="1024" y="678"/>
                  </a:lnTo>
                  <a:lnTo>
                    <a:pt x="1019" y="691"/>
                  </a:lnTo>
                  <a:lnTo>
                    <a:pt x="1017" y="705"/>
                  </a:lnTo>
                  <a:lnTo>
                    <a:pt x="1015" y="719"/>
                  </a:lnTo>
                  <a:lnTo>
                    <a:pt x="1014" y="735"/>
                  </a:lnTo>
                  <a:lnTo>
                    <a:pt x="1014" y="753"/>
                  </a:lnTo>
                  <a:lnTo>
                    <a:pt x="1017" y="769"/>
                  </a:lnTo>
                  <a:lnTo>
                    <a:pt x="1021" y="782"/>
                  </a:lnTo>
                  <a:lnTo>
                    <a:pt x="1027" y="793"/>
                  </a:lnTo>
                  <a:lnTo>
                    <a:pt x="1034" y="804"/>
                  </a:lnTo>
                  <a:lnTo>
                    <a:pt x="1042" y="813"/>
                  </a:lnTo>
                  <a:lnTo>
                    <a:pt x="1051" y="823"/>
                  </a:lnTo>
                  <a:lnTo>
                    <a:pt x="1061" y="831"/>
                  </a:lnTo>
                  <a:lnTo>
                    <a:pt x="1081" y="846"/>
                  </a:lnTo>
                  <a:lnTo>
                    <a:pt x="1099" y="864"/>
                  </a:lnTo>
                  <a:lnTo>
                    <a:pt x="1107" y="874"/>
                  </a:lnTo>
                  <a:lnTo>
                    <a:pt x="1114" y="885"/>
                  </a:lnTo>
                  <a:lnTo>
                    <a:pt x="1120" y="898"/>
                  </a:lnTo>
                  <a:lnTo>
                    <a:pt x="1125" y="913"/>
                  </a:lnTo>
                  <a:lnTo>
                    <a:pt x="1126" y="925"/>
                  </a:lnTo>
                  <a:lnTo>
                    <a:pt x="1126" y="935"/>
                  </a:lnTo>
                  <a:lnTo>
                    <a:pt x="1124" y="945"/>
                  </a:lnTo>
                  <a:lnTo>
                    <a:pt x="1120" y="954"/>
                  </a:lnTo>
                  <a:lnTo>
                    <a:pt x="1117" y="963"/>
                  </a:lnTo>
                  <a:lnTo>
                    <a:pt x="1111" y="970"/>
                  </a:lnTo>
                  <a:lnTo>
                    <a:pt x="1104" y="978"/>
                  </a:lnTo>
                  <a:lnTo>
                    <a:pt x="1097" y="985"/>
                  </a:lnTo>
                  <a:lnTo>
                    <a:pt x="1079" y="997"/>
                  </a:lnTo>
                  <a:lnTo>
                    <a:pt x="1061" y="1009"/>
                  </a:lnTo>
                  <a:lnTo>
                    <a:pt x="1041" y="1018"/>
                  </a:lnTo>
                  <a:lnTo>
                    <a:pt x="1022" y="1026"/>
                  </a:lnTo>
                  <a:lnTo>
                    <a:pt x="1010" y="1034"/>
                  </a:lnTo>
                  <a:lnTo>
                    <a:pt x="1000" y="1042"/>
                  </a:lnTo>
                  <a:lnTo>
                    <a:pt x="992" y="1052"/>
                  </a:lnTo>
                  <a:lnTo>
                    <a:pt x="985" y="1061"/>
                  </a:lnTo>
                  <a:lnTo>
                    <a:pt x="972" y="1083"/>
                  </a:lnTo>
                  <a:lnTo>
                    <a:pt x="958" y="1105"/>
                  </a:lnTo>
                  <a:lnTo>
                    <a:pt x="965" y="1125"/>
                  </a:lnTo>
                  <a:lnTo>
                    <a:pt x="972" y="1141"/>
                  </a:lnTo>
                  <a:lnTo>
                    <a:pt x="975" y="1151"/>
                  </a:lnTo>
                  <a:lnTo>
                    <a:pt x="976" y="1159"/>
                  </a:lnTo>
                  <a:lnTo>
                    <a:pt x="976" y="1169"/>
                  </a:lnTo>
                  <a:lnTo>
                    <a:pt x="975" y="1180"/>
                  </a:lnTo>
                  <a:lnTo>
                    <a:pt x="973" y="1189"/>
                  </a:lnTo>
                  <a:lnTo>
                    <a:pt x="973" y="1196"/>
                  </a:lnTo>
                  <a:lnTo>
                    <a:pt x="975" y="1203"/>
                  </a:lnTo>
                  <a:lnTo>
                    <a:pt x="977" y="1210"/>
                  </a:lnTo>
                  <a:lnTo>
                    <a:pt x="980" y="1216"/>
                  </a:lnTo>
                  <a:lnTo>
                    <a:pt x="985" y="1223"/>
                  </a:lnTo>
                  <a:lnTo>
                    <a:pt x="990" y="1228"/>
                  </a:lnTo>
                  <a:lnTo>
                    <a:pt x="997" y="1233"/>
                  </a:lnTo>
                  <a:lnTo>
                    <a:pt x="1001" y="1238"/>
                  </a:lnTo>
                  <a:lnTo>
                    <a:pt x="1007" y="1241"/>
                  </a:lnTo>
                  <a:lnTo>
                    <a:pt x="1014" y="1245"/>
                  </a:lnTo>
                  <a:lnTo>
                    <a:pt x="1021" y="1247"/>
                  </a:lnTo>
                  <a:lnTo>
                    <a:pt x="1035" y="1253"/>
                  </a:lnTo>
                  <a:lnTo>
                    <a:pt x="1048" y="1259"/>
                  </a:lnTo>
                  <a:lnTo>
                    <a:pt x="1055" y="1262"/>
                  </a:lnTo>
                  <a:lnTo>
                    <a:pt x="1061" y="1266"/>
                  </a:lnTo>
                  <a:lnTo>
                    <a:pt x="1065" y="1271"/>
                  </a:lnTo>
                  <a:lnTo>
                    <a:pt x="1070" y="1275"/>
                  </a:lnTo>
                  <a:lnTo>
                    <a:pt x="1072" y="1281"/>
                  </a:lnTo>
                  <a:lnTo>
                    <a:pt x="1075" y="1288"/>
                  </a:lnTo>
                  <a:lnTo>
                    <a:pt x="1076" y="1296"/>
                  </a:lnTo>
                  <a:lnTo>
                    <a:pt x="1075" y="1305"/>
                  </a:lnTo>
                  <a:lnTo>
                    <a:pt x="1071" y="1317"/>
                  </a:lnTo>
                  <a:lnTo>
                    <a:pt x="1067" y="1328"/>
                  </a:lnTo>
                  <a:lnTo>
                    <a:pt x="1061" y="1338"/>
                  </a:lnTo>
                  <a:lnTo>
                    <a:pt x="1054" y="1349"/>
                  </a:lnTo>
                  <a:lnTo>
                    <a:pt x="1048" y="1358"/>
                  </a:lnTo>
                  <a:lnTo>
                    <a:pt x="1042" y="1366"/>
                  </a:lnTo>
                  <a:lnTo>
                    <a:pt x="1039" y="1373"/>
                  </a:lnTo>
                  <a:lnTo>
                    <a:pt x="1037" y="1380"/>
                  </a:lnTo>
                  <a:lnTo>
                    <a:pt x="1037" y="1393"/>
                  </a:lnTo>
                  <a:lnTo>
                    <a:pt x="1039" y="1406"/>
                  </a:lnTo>
                  <a:lnTo>
                    <a:pt x="1041" y="1420"/>
                  </a:lnTo>
                  <a:lnTo>
                    <a:pt x="1043" y="1435"/>
                  </a:lnTo>
                  <a:lnTo>
                    <a:pt x="1046" y="1449"/>
                  </a:lnTo>
                  <a:lnTo>
                    <a:pt x="1048" y="1464"/>
                  </a:lnTo>
                  <a:lnTo>
                    <a:pt x="1050" y="1478"/>
                  </a:lnTo>
                  <a:lnTo>
                    <a:pt x="1051" y="1492"/>
                  </a:lnTo>
                  <a:lnTo>
                    <a:pt x="1050" y="1500"/>
                  </a:lnTo>
                  <a:lnTo>
                    <a:pt x="1049" y="1506"/>
                  </a:lnTo>
                  <a:lnTo>
                    <a:pt x="1048" y="1509"/>
                  </a:lnTo>
                  <a:lnTo>
                    <a:pt x="1046" y="1513"/>
                  </a:lnTo>
                  <a:lnTo>
                    <a:pt x="1042" y="1515"/>
                  </a:lnTo>
                  <a:lnTo>
                    <a:pt x="1039" y="1517"/>
                  </a:lnTo>
                  <a:lnTo>
                    <a:pt x="1035" y="1518"/>
                  </a:lnTo>
                  <a:lnTo>
                    <a:pt x="1032" y="1518"/>
                  </a:lnTo>
                  <a:lnTo>
                    <a:pt x="1022" y="1520"/>
                  </a:lnTo>
                  <a:lnTo>
                    <a:pt x="1014" y="1521"/>
                  </a:lnTo>
                  <a:lnTo>
                    <a:pt x="1010" y="1522"/>
                  </a:lnTo>
                  <a:lnTo>
                    <a:pt x="1005" y="1523"/>
                  </a:lnTo>
                  <a:lnTo>
                    <a:pt x="1001" y="1525"/>
                  </a:lnTo>
                  <a:lnTo>
                    <a:pt x="997" y="1529"/>
                  </a:lnTo>
                  <a:lnTo>
                    <a:pt x="994" y="1532"/>
                  </a:lnTo>
                  <a:lnTo>
                    <a:pt x="992" y="1536"/>
                  </a:lnTo>
                  <a:lnTo>
                    <a:pt x="991" y="1541"/>
                  </a:lnTo>
                  <a:lnTo>
                    <a:pt x="990" y="1545"/>
                  </a:lnTo>
                  <a:lnTo>
                    <a:pt x="990" y="1555"/>
                  </a:lnTo>
                  <a:lnTo>
                    <a:pt x="990" y="1564"/>
                  </a:lnTo>
                  <a:lnTo>
                    <a:pt x="993" y="1585"/>
                  </a:lnTo>
                  <a:lnTo>
                    <a:pt x="996" y="1603"/>
                  </a:lnTo>
                  <a:lnTo>
                    <a:pt x="994" y="1612"/>
                  </a:lnTo>
                  <a:lnTo>
                    <a:pt x="994" y="1620"/>
                  </a:lnTo>
                  <a:lnTo>
                    <a:pt x="992" y="1626"/>
                  </a:lnTo>
                  <a:lnTo>
                    <a:pt x="991" y="1631"/>
                  </a:lnTo>
                  <a:lnTo>
                    <a:pt x="989" y="1637"/>
                  </a:lnTo>
                  <a:lnTo>
                    <a:pt x="985" y="1642"/>
                  </a:lnTo>
                  <a:lnTo>
                    <a:pt x="982" y="1646"/>
                  </a:lnTo>
                  <a:lnTo>
                    <a:pt x="978" y="1650"/>
                  </a:lnTo>
                  <a:lnTo>
                    <a:pt x="958" y="1665"/>
                  </a:lnTo>
                  <a:lnTo>
                    <a:pt x="936" y="1681"/>
                  </a:lnTo>
                  <a:lnTo>
                    <a:pt x="927" y="1690"/>
                  </a:lnTo>
                  <a:lnTo>
                    <a:pt x="918" y="1701"/>
                  </a:lnTo>
                  <a:lnTo>
                    <a:pt x="908" y="1714"/>
                  </a:lnTo>
                  <a:lnTo>
                    <a:pt x="900" y="1727"/>
                  </a:lnTo>
                  <a:lnTo>
                    <a:pt x="888" y="1750"/>
                  </a:lnTo>
                  <a:lnTo>
                    <a:pt x="884" y="1758"/>
                  </a:lnTo>
                  <a:lnTo>
                    <a:pt x="878" y="1765"/>
                  </a:lnTo>
                  <a:lnTo>
                    <a:pt x="873" y="1772"/>
                  </a:lnTo>
                  <a:lnTo>
                    <a:pt x="869" y="1780"/>
                  </a:lnTo>
                  <a:lnTo>
                    <a:pt x="864" y="1788"/>
                  </a:lnTo>
                  <a:lnTo>
                    <a:pt x="855" y="1806"/>
                  </a:lnTo>
                  <a:lnTo>
                    <a:pt x="845" y="1821"/>
                  </a:lnTo>
                  <a:lnTo>
                    <a:pt x="841" y="1828"/>
                  </a:lnTo>
                  <a:lnTo>
                    <a:pt x="835" y="1834"/>
                  </a:lnTo>
                  <a:lnTo>
                    <a:pt x="830" y="1838"/>
                  </a:lnTo>
                  <a:lnTo>
                    <a:pt x="824" y="1841"/>
                  </a:lnTo>
                  <a:lnTo>
                    <a:pt x="817" y="1842"/>
                  </a:lnTo>
                  <a:lnTo>
                    <a:pt x="811" y="1841"/>
                  </a:lnTo>
                  <a:lnTo>
                    <a:pt x="802" y="1837"/>
                  </a:lnTo>
                  <a:lnTo>
                    <a:pt x="794" y="1831"/>
                  </a:lnTo>
                  <a:lnTo>
                    <a:pt x="784" y="1823"/>
                  </a:lnTo>
                  <a:lnTo>
                    <a:pt x="774" y="1816"/>
                  </a:lnTo>
                  <a:lnTo>
                    <a:pt x="765" y="1812"/>
                  </a:lnTo>
                  <a:lnTo>
                    <a:pt x="757" y="1807"/>
                  </a:lnTo>
                  <a:lnTo>
                    <a:pt x="749" y="1804"/>
                  </a:lnTo>
                  <a:lnTo>
                    <a:pt x="741" y="1801"/>
                  </a:lnTo>
                  <a:lnTo>
                    <a:pt x="735" y="1800"/>
                  </a:lnTo>
                  <a:lnTo>
                    <a:pt x="729" y="1801"/>
                  </a:lnTo>
                  <a:lnTo>
                    <a:pt x="726" y="1804"/>
                  </a:lnTo>
                  <a:lnTo>
                    <a:pt x="722" y="1807"/>
                  </a:lnTo>
                  <a:lnTo>
                    <a:pt x="721" y="1812"/>
                  </a:lnTo>
                  <a:lnTo>
                    <a:pt x="722" y="1819"/>
                  </a:lnTo>
                  <a:lnTo>
                    <a:pt x="724" y="1827"/>
                  </a:lnTo>
                  <a:lnTo>
                    <a:pt x="729" y="1836"/>
                  </a:lnTo>
                  <a:lnTo>
                    <a:pt x="735" y="1848"/>
                  </a:lnTo>
                  <a:lnTo>
                    <a:pt x="744" y="1862"/>
                  </a:lnTo>
                  <a:lnTo>
                    <a:pt x="748" y="1868"/>
                  </a:lnTo>
                  <a:lnTo>
                    <a:pt x="749" y="1872"/>
                  </a:lnTo>
                  <a:lnTo>
                    <a:pt x="749" y="1877"/>
                  </a:lnTo>
                  <a:lnTo>
                    <a:pt x="748" y="1880"/>
                  </a:lnTo>
                  <a:lnTo>
                    <a:pt x="746" y="1884"/>
                  </a:lnTo>
                  <a:lnTo>
                    <a:pt x="743" y="1887"/>
                  </a:lnTo>
                  <a:lnTo>
                    <a:pt x="740" y="1890"/>
                  </a:lnTo>
                  <a:lnTo>
                    <a:pt x="735" y="1893"/>
                  </a:lnTo>
                  <a:lnTo>
                    <a:pt x="714" y="1901"/>
                  </a:lnTo>
                  <a:lnTo>
                    <a:pt x="696" y="1909"/>
                  </a:lnTo>
                  <a:lnTo>
                    <a:pt x="687" y="1915"/>
                  </a:lnTo>
                  <a:lnTo>
                    <a:pt x="679" y="1920"/>
                  </a:lnTo>
                  <a:lnTo>
                    <a:pt x="671" y="1923"/>
                  </a:lnTo>
                  <a:lnTo>
                    <a:pt x="664" y="1926"/>
                  </a:lnTo>
                  <a:lnTo>
                    <a:pt x="656" y="1927"/>
                  </a:lnTo>
                  <a:lnTo>
                    <a:pt x="649" y="1928"/>
                  </a:lnTo>
                  <a:lnTo>
                    <a:pt x="642" y="1927"/>
                  </a:lnTo>
                  <a:lnTo>
                    <a:pt x="635" y="1926"/>
                  </a:lnTo>
                  <a:lnTo>
                    <a:pt x="622" y="1922"/>
                  </a:lnTo>
                  <a:lnTo>
                    <a:pt x="607" y="1915"/>
                  </a:lnTo>
                  <a:lnTo>
                    <a:pt x="593" y="1907"/>
                  </a:lnTo>
                  <a:lnTo>
                    <a:pt x="577" y="1898"/>
                  </a:lnTo>
                  <a:lnTo>
                    <a:pt x="570" y="1894"/>
                  </a:lnTo>
                  <a:lnTo>
                    <a:pt x="564" y="1892"/>
                  </a:lnTo>
                  <a:lnTo>
                    <a:pt x="558" y="1891"/>
                  </a:lnTo>
                  <a:lnTo>
                    <a:pt x="553" y="1890"/>
                  </a:lnTo>
                  <a:lnTo>
                    <a:pt x="549" y="1890"/>
                  </a:lnTo>
                  <a:lnTo>
                    <a:pt x="544" y="1891"/>
                  </a:lnTo>
                  <a:lnTo>
                    <a:pt x="539" y="1893"/>
                  </a:lnTo>
                  <a:lnTo>
                    <a:pt x="536" y="1894"/>
                  </a:lnTo>
                  <a:lnTo>
                    <a:pt x="530" y="1901"/>
                  </a:lnTo>
                  <a:lnTo>
                    <a:pt x="524" y="1909"/>
                  </a:lnTo>
                  <a:lnTo>
                    <a:pt x="520" y="1919"/>
                  </a:lnTo>
                  <a:lnTo>
                    <a:pt x="516" y="1929"/>
                  </a:lnTo>
                  <a:lnTo>
                    <a:pt x="509" y="1951"/>
                  </a:lnTo>
                  <a:lnTo>
                    <a:pt x="502" y="1972"/>
                  </a:lnTo>
                  <a:lnTo>
                    <a:pt x="499" y="1980"/>
                  </a:lnTo>
                  <a:lnTo>
                    <a:pt x="494" y="1989"/>
                  </a:lnTo>
                  <a:lnTo>
                    <a:pt x="490" y="1991"/>
                  </a:lnTo>
                  <a:lnTo>
                    <a:pt x="488" y="1993"/>
                  </a:lnTo>
                  <a:lnTo>
                    <a:pt x="485" y="1996"/>
                  </a:lnTo>
                  <a:lnTo>
                    <a:pt x="481" y="1997"/>
                  </a:lnTo>
                  <a:lnTo>
                    <a:pt x="452" y="2001"/>
                  </a:lnTo>
                  <a:lnTo>
                    <a:pt x="421" y="2008"/>
                  </a:lnTo>
                  <a:lnTo>
                    <a:pt x="405" y="2012"/>
                  </a:lnTo>
                  <a:lnTo>
                    <a:pt x="390" y="2015"/>
                  </a:lnTo>
                  <a:lnTo>
                    <a:pt x="376" y="2021"/>
                  </a:lnTo>
                  <a:lnTo>
                    <a:pt x="361" y="2027"/>
                  </a:lnTo>
                  <a:lnTo>
                    <a:pt x="348" y="2033"/>
                  </a:lnTo>
                  <a:lnTo>
                    <a:pt x="336" y="2041"/>
                  </a:lnTo>
                  <a:lnTo>
                    <a:pt x="324" y="2050"/>
                  </a:lnTo>
                  <a:lnTo>
                    <a:pt x="313" y="2061"/>
                  </a:lnTo>
                  <a:lnTo>
                    <a:pt x="304" y="2072"/>
                  </a:lnTo>
                  <a:lnTo>
                    <a:pt x="296" y="2086"/>
                  </a:lnTo>
                  <a:lnTo>
                    <a:pt x="290" y="2103"/>
                  </a:lnTo>
                  <a:lnTo>
                    <a:pt x="287" y="2120"/>
                  </a:lnTo>
                  <a:lnTo>
                    <a:pt x="283" y="2131"/>
                  </a:lnTo>
                  <a:lnTo>
                    <a:pt x="280" y="2140"/>
                  </a:lnTo>
                  <a:lnTo>
                    <a:pt x="275" y="2147"/>
                  </a:lnTo>
                  <a:lnTo>
                    <a:pt x="269" y="2153"/>
                  </a:lnTo>
                  <a:lnTo>
                    <a:pt x="263" y="2156"/>
                  </a:lnTo>
                  <a:lnTo>
                    <a:pt x="256" y="2159"/>
                  </a:lnTo>
                  <a:lnTo>
                    <a:pt x="249" y="2159"/>
                  </a:lnTo>
                  <a:lnTo>
                    <a:pt x="241" y="2159"/>
                  </a:lnTo>
                  <a:lnTo>
                    <a:pt x="233" y="2156"/>
                  </a:lnTo>
                  <a:lnTo>
                    <a:pt x="225" y="2154"/>
                  </a:lnTo>
                  <a:lnTo>
                    <a:pt x="218" y="2149"/>
                  </a:lnTo>
                  <a:lnTo>
                    <a:pt x="210" y="2146"/>
                  </a:lnTo>
                  <a:lnTo>
                    <a:pt x="194" y="2134"/>
                  </a:lnTo>
                  <a:lnTo>
                    <a:pt x="180" y="2122"/>
                  </a:lnTo>
                  <a:lnTo>
                    <a:pt x="162" y="2106"/>
                  </a:lnTo>
                  <a:lnTo>
                    <a:pt x="149" y="2097"/>
                  </a:lnTo>
                  <a:lnTo>
                    <a:pt x="144" y="2095"/>
                  </a:lnTo>
                  <a:lnTo>
                    <a:pt x="140" y="2093"/>
                  </a:lnTo>
                  <a:lnTo>
                    <a:pt x="135" y="2093"/>
                  </a:lnTo>
                  <a:lnTo>
                    <a:pt x="132" y="2095"/>
                  </a:lnTo>
                  <a:lnTo>
                    <a:pt x="124" y="2099"/>
                  </a:lnTo>
                  <a:lnTo>
                    <a:pt x="114" y="2105"/>
                  </a:lnTo>
                  <a:lnTo>
                    <a:pt x="107" y="2110"/>
                  </a:lnTo>
                  <a:lnTo>
                    <a:pt x="99" y="2113"/>
                  </a:lnTo>
                  <a:lnTo>
                    <a:pt x="90" y="2117"/>
                  </a:lnTo>
                  <a:lnTo>
                    <a:pt x="78" y="2120"/>
                  </a:lnTo>
                  <a:lnTo>
                    <a:pt x="69" y="2121"/>
                  </a:lnTo>
                  <a:lnTo>
                    <a:pt x="53" y="2121"/>
                  </a:lnTo>
                  <a:lnTo>
                    <a:pt x="46" y="2121"/>
                  </a:lnTo>
                  <a:lnTo>
                    <a:pt x="39" y="2122"/>
                  </a:lnTo>
                  <a:lnTo>
                    <a:pt x="36" y="2124"/>
                  </a:lnTo>
                  <a:lnTo>
                    <a:pt x="35" y="2126"/>
                  </a:lnTo>
                  <a:lnTo>
                    <a:pt x="34" y="2127"/>
                  </a:lnTo>
                  <a:lnTo>
                    <a:pt x="34" y="2129"/>
                  </a:lnTo>
                  <a:lnTo>
                    <a:pt x="38" y="2146"/>
                  </a:lnTo>
                  <a:lnTo>
                    <a:pt x="39" y="2162"/>
                  </a:lnTo>
                  <a:lnTo>
                    <a:pt x="38" y="2169"/>
                  </a:lnTo>
                  <a:lnTo>
                    <a:pt x="35" y="2176"/>
                  </a:lnTo>
                  <a:lnTo>
                    <a:pt x="31" y="2183"/>
                  </a:lnTo>
                  <a:lnTo>
                    <a:pt x="24" y="2189"/>
                  </a:lnTo>
                  <a:lnTo>
                    <a:pt x="15" y="2193"/>
                  </a:lnTo>
                  <a:lnTo>
                    <a:pt x="10" y="2200"/>
                  </a:lnTo>
                  <a:lnTo>
                    <a:pt x="5" y="2207"/>
                  </a:lnTo>
                  <a:lnTo>
                    <a:pt x="2" y="2216"/>
                  </a:lnTo>
                  <a:lnTo>
                    <a:pt x="0" y="2225"/>
                  </a:lnTo>
                  <a:lnTo>
                    <a:pt x="0" y="2233"/>
                  </a:lnTo>
                  <a:lnTo>
                    <a:pt x="2" y="2242"/>
                  </a:lnTo>
                  <a:lnTo>
                    <a:pt x="5" y="2250"/>
                  </a:lnTo>
                  <a:lnTo>
                    <a:pt x="14" y="2268"/>
                  </a:lnTo>
                  <a:lnTo>
                    <a:pt x="22" y="2283"/>
                  </a:lnTo>
                  <a:lnTo>
                    <a:pt x="32" y="2296"/>
                  </a:lnTo>
                  <a:lnTo>
                    <a:pt x="42" y="2306"/>
                  </a:lnTo>
                  <a:lnTo>
                    <a:pt x="53" y="2317"/>
                  </a:lnTo>
                  <a:lnTo>
                    <a:pt x="66" y="2325"/>
                  </a:lnTo>
                  <a:lnTo>
                    <a:pt x="81" y="2334"/>
                  </a:lnTo>
                  <a:lnTo>
                    <a:pt x="98" y="2342"/>
                  </a:lnTo>
                  <a:lnTo>
                    <a:pt x="106" y="2345"/>
                  </a:lnTo>
                  <a:lnTo>
                    <a:pt x="116" y="2346"/>
                  </a:lnTo>
                  <a:lnTo>
                    <a:pt x="126" y="2347"/>
                  </a:lnTo>
                  <a:lnTo>
                    <a:pt x="137" y="2347"/>
                  </a:lnTo>
                  <a:lnTo>
                    <a:pt x="147" y="2348"/>
                  </a:lnTo>
                  <a:lnTo>
                    <a:pt x="157" y="2349"/>
                  </a:lnTo>
                  <a:lnTo>
                    <a:pt x="162" y="2351"/>
                  </a:lnTo>
                  <a:lnTo>
                    <a:pt x="167" y="2353"/>
                  </a:lnTo>
                  <a:lnTo>
                    <a:pt x="170" y="2355"/>
                  </a:lnTo>
                  <a:lnTo>
                    <a:pt x="174" y="2359"/>
                  </a:lnTo>
                  <a:lnTo>
                    <a:pt x="183" y="2367"/>
                  </a:lnTo>
                  <a:lnTo>
                    <a:pt x="192" y="2374"/>
                  </a:lnTo>
                  <a:lnTo>
                    <a:pt x="202" y="2380"/>
                  </a:lnTo>
                  <a:lnTo>
                    <a:pt x="212" y="2384"/>
                  </a:lnTo>
                  <a:lnTo>
                    <a:pt x="222" y="2387"/>
                  </a:lnTo>
                  <a:lnTo>
                    <a:pt x="232" y="2389"/>
                  </a:lnTo>
                  <a:lnTo>
                    <a:pt x="242" y="2391"/>
                  </a:lnTo>
                  <a:lnTo>
                    <a:pt x="252" y="2391"/>
                  </a:lnTo>
                  <a:lnTo>
                    <a:pt x="295" y="2390"/>
                  </a:lnTo>
                  <a:lnTo>
                    <a:pt x="341" y="2388"/>
                  </a:lnTo>
                  <a:lnTo>
                    <a:pt x="351" y="2389"/>
                  </a:lnTo>
                  <a:lnTo>
                    <a:pt x="357" y="2389"/>
                  </a:lnTo>
                  <a:lnTo>
                    <a:pt x="360" y="2391"/>
                  </a:lnTo>
                  <a:lnTo>
                    <a:pt x="362" y="2394"/>
                  </a:lnTo>
                  <a:lnTo>
                    <a:pt x="362" y="2396"/>
                  </a:lnTo>
                  <a:lnTo>
                    <a:pt x="360" y="2398"/>
                  </a:lnTo>
                  <a:lnTo>
                    <a:pt x="357" y="2402"/>
                  </a:lnTo>
                  <a:lnTo>
                    <a:pt x="353" y="2404"/>
                  </a:lnTo>
                  <a:lnTo>
                    <a:pt x="343" y="2411"/>
                  </a:lnTo>
                  <a:lnTo>
                    <a:pt x="330" y="2417"/>
                  </a:lnTo>
                  <a:lnTo>
                    <a:pt x="318" y="2420"/>
                  </a:lnTo>
                  <a:lnTo>
                    <a:pt x="308" y="2423"/>
                  </a:lnTo>
                  <a:lnTo>
                    <a:pt x="309" y="2432"/>
                  </a:lnTo>
                  <a:lnTo>
                    <a:pt x="310" y="2442"/>
                  </a:lnTo>
                  <a:lnTo>
                    <a:pt x="313" y="2454"/>
                  </a:lnTo>
                  <a:lnTo>
                    <a:pt x="317" y="2465"/>
                  </a:lnTo>
                  <a:lnTo>
                    <a:pt x="323" y="2475"/>
                  </a:lnTo>
                  <a:lnTo>
                    <a:pt x="329" y="2484"/>
                  </a:lnTo>
                  <a:lnTo>
                    <a:pt x="332" y="2488"/>
                  </a:lnTo>
                  <a:lnTo>
                    <a:pt x="337" y="2491"/>
                  </a:lnTo>
                  <a:lnTo>
                    <a:pt x="341" y="2494"/>
                  </a:lnTo>
                  <a:lnTo>
                    <a:pt x="346" y="2496"/>
                  </a:lnTo>
                  <a:lnTo>
                    <a:pt x="354" y="2498"/>
                  </a:lnTo>
                  <a:lnTo>
                    <a:pt x="362" y="2502"/>
                  </a:lnTo>
                  <a:lnTo>
                    <a:pt x="369" y="2506"/>
                  </a:lnTo>
                  <a:lnTo>
                    <a:pt x="375" y="2511"/>
                  </a:lnTo>
                  <a:lnTo>
                    <a:pt x="386" y="2523"/>
                  </a:lnTo>
                  <a:lnTo>
                    <a:pt x="394" y="2536"/>
                  </a:lnTo>
                  <a:lnTo>
                    <a:pt x="402" y="2550"/>
                  </a:lnTo>
                  <a:lnTo>
                    <a:pt x="410" y="2562"/>
                  </a:lnTo>
                  <a:lnTo>
                    <a:pt x="415" y="2569"/>
                  </a:lnTo>
                  <a:lnTo>
                    <a:pt x="419" y="2575"/>
                  </a:lnTo>
                  <a:lnTo>
                    <a:pt x="424" y="2582"/>
                  </a:lnTo>
                  <a:lnTo>
                    <a:pt x="430" y="2587"/>
                  </a:lnTo>
                  <a:lnTo>
                    <a:pt x="445" y="2597"/>
                  </a:lnTo>
                  <a:lnTo>
                    <a:pt x="459" y="2607"/>
                  </a:lnTo>
                  <a:lnTo>
                    <a:pt x="474" y="2615"/>
                  </a:lnTo>
                  <a:lnTo>
                    <a:pt x="489" y="2624"/>
                  </a:lnTo>
                  <a:lnTo>
                    <a:pt x="494" y="2629"/>
                  </a:lnTo>
                  <a:lnTo>
                    <a:pt x="497" y="2632"/>
                  </a:lnTo>
                  <a:lnTo>
                    <a:pt x="499" y="2637"/>
                  </a:lnTo>
                  <a:lnTo>
                    <a:pt x="499" y="2641"/>
                  </a:lnTo>
                  <a:lnTo>
                    <a:pt x="495" y="2650"/>
                  </a:lnTo>
                  <a:lnTo>
                    <a:pt x="489" y="2658"/>
                  </a:lnTo>
                  <a:lnTo>
                    <a:pt x="483" y="2667"/>
                  </a:lnTo>
                  <a:lnTo>
                    <a:pt x="480" y="2675"/>
                  </a:lnTo>
                  <a:lnTo>
                    <a:pt x="480" y="2680"/>
                  </a:lnTo>
                  <a:lnTo>
                    <a:pt x="481" y="2685"/>
                  </a:lnTo>
                  <a:lnTo>
                    <a:pt x="483" y="2689"/>
                  </a:lnTo>
                  <a:lnTo>
                    <a:pt x="489" y="2694"/>
                  </a:lnTo>
                  <a:lnTo>
                    <a:pt x="500" y="2703"/>
                  </a:lnTo>
                  <a:lnTo>
                    <a:pt x="511" y="2712"/>
                  </a:lnTo>
                  <a:lnTo>
                    <a:pt x="522" y="2722"/>
                  </a:lnTo>
                  <a:lnTo>
                    <a:pt x="531" y="2733"/>
                  </a:lnTo>
                  <a:lnTo>
                    <a:pt x="535" y="2738"/>
                  </a:lnTo>
                  <a:lnTo>
                    <a:pt x="537" y="2744"/>
                  </a:lnTo>
                  <a:lnTo>
                    <a:pt x="539" y="2750"/>
                  </a:lnTo>
                  <a:lnTo>
                    <a:pt x="539" y="2756"/>
                  </a:lnTo>
                  <a:lnTo>
                    <a:pt x="538" y="2761"/>
                  </a:lnTo>
                  <a:lnTo>
                    <a:pt x="535" y="2767"/>
                  </a:lnTo>
                  <a:lnTo>
                    <a:pt x="531" y="2774"/>
                  </a:lnTo>
                  <a:lnTo>
                    <a:pt x="524" y="2780"/>
                  </a:lnTo>
                  <a:lnTo>
                    <a:pt x="509" y="2792"/>
                  </a:lnTo>
                  <a:lnTo>
                    <a:pt x="483" y="2807"/>
                  </a:lnTo>
                  <a:lnTo>
                    <a:pt x="458" y="2822"/>
                  </a:lnTo>
                  <a:lnTo>
                    <a:pt x="442" y="2831"/>
                  </a:lnTo>
                  <a:lnTo>
                    <a:pt x="448" y="2838"/>
                  </a:lnTo>
                  <a:lnTo>
                    <a:pt x="455" y="2844"/>
                  </a:lnTo>
                  <a:lnTo>
                    <a:pt x="464" y="2849"/>
                  </a:lnTo>
                  <a:lnTo>
                    <a:pt x="472" y="2852"/>
                  </a:lnTo>
                  <a:lnTo>
                    <a:pt x="490" y="2857"/>
                  </a:lnTo>
                  <a:lnTo>
                    <a:pt x="509" y="2861"/>
                  </a:lnTo>
                  <a:lnTo>
                    <a:pt x="526" y="2866"/>
                  </a:lnTo>
                  <a:lnTo>
                    <a:pt x="545" y="2872"/>
                  </a:lnTo>
                  <a:lnTo>
                    <a:pt x="553" y="2877"/>
                  </a:lnTo>
                  <a:lnTo>
                    <a:pt x="560" y="2881"/>
                  </a:lnTo>
                  <a:lnTo>
                    <a:pt x="567" y="2888"/>
                  </a:lnTo>
                  <a:lnTo>
                    <a:pt x="574" y="2896"/>
                  </a:lnTo>
                  <a:lnTo>
                    <a:pt x="580" y="2908"/>
                  </a:lnTo>
                  <a:lnTo>
                    <a:pt x="586" y="2922"/>
                  </a:lnTo>
                  <a:lnTo>
                    <a:pt x="589" y="2936"/>
                  </a:lnTo>
                  <a:lnTo>
                    <a:pt x="594" y="2951"/>
                  </a:lnTo>
                  <a:lnTo>
                    <a:pt x="596" y="2958"/>
                  </a:lnTo>
                  <a:lnTo>
                    <a:pt x="600" y="2964"/>
                  </a:lnTo>
                  <a:lnTo>
                    <a:pt x="602" y="2970"/>
                  </a:lnTo>
                  <a:lnTo>
                    <a:pt x="607" y="2975"/>
                  </a:lnTo>
                  <a:lnTo>
                    <a:pt x="611" y="2980"/>
                  </a:lnTo>
                  <a:lnTo>
                    <a:pt x="616" y="2984"/>
                  </a:lnTo>
                  <a:lnTo>
                    <a:pt x="622" y="2987"/>
                  </a:lnTo>
                  <a:lnTo>
                    <a:pt x="629" y="2988"/>
                  </a:lnTo>
                  <a:lnTo>
                    <a:pt x="634" y="2988"/>
                  </a:lnTo>
                  <a:lnTo>
                    <a:pt x="637" y="2988"/>
                  </a:lnTo>
                  <a:lnTo>
                    <a:pt x="642" y="2986"/>
                  </a:lnTo>
                  <a:lnTo>
                    <a:pt x="646" y="2984"/>
                  </a:lnTo>
                  <a:lnTo>
                    <a:pt x="657" y="2977"/>
                  </a:lnTo>
                  <a:lnTo>
                    <a:pt x="667" y="2968"/>
                  </a:lnTo>
                  <a:lnTo>
                    <a:pt x="679" y="2960"/>
                  </a:lnTo>
                  <a:lnTo>
                    <a:pt x="691" y="2953"/>
                  </a:lnTo>
                  <a:lnTo>
                    <a:pt x="698" y="2950"/>
                  </a:lnTo>
                  <a:lnTo>
                    <a:pt x="703" y="2948"/>
                  </a:lnTo>
                  <a:lnTo>
                    <a:pt x="710" y="2946"/>
                  </a:lnTo>
                  <a:lnTo>
                    <a:pt x="717" y="2946"/>
                  </a:lnTo>
                  <a:lnTo>
                    <a:pt x="723" y="2946"/>
                  </a:lnTo>
                  <a:lnTo>
                    <a:pt x="728" y="2949"/>
                  </a:lnTo>
                  <a:lnTo>
                    <a:pt x="731" y="2952"/>
                  </a:lnTo>
                  <a:lnTo>
                    <a:pt x="733" y="2956"/>
                  </a:lnTo>
                  <a:lnTo>
                    <a:pt x="731" y="2967"/>
                  </a:lnTo>
                  <a:lnTo>
                    <a:pt x="730" y="2980"/>
                  </a:lnTo>
                  <a:lnTo>
                    <a:pt x="729" y="2987"/>
                  </a:lnTo>
                  <a:lnTo>
                    <a:pt x="728" y="2993"/>
                  </a:lnTo>
                  <a:lnTo>
                    <a:pt x="729" y="3000"/>
                  </a:lnTo>
                  <a:lnTo>
                    <a:pt x="730" y="3007"/>
                  </a:lnTo>
                  <a:lnTo>
                    <a:pt x="733" y="3013"/>
                  </a:lnTo>
                  <a:lnTo>
                    <a:pt x="737" y="3017"/>
                  </a:lnTo>
                  <a:lnTo>
                    <a:pt x="743" y="3022"/>
                  </a:lnTo>
                  <a:lnTo>
                    <a:pt x="752" y="3026"/>
                  </a:lnTo>
                  <a:lnTo>
                    <a:pt x="764" y="3029"/>
                  </a:lnTo>
                  <a:lnTo>
                    <a:pt x="773" y="3034"/>
                  </a:lnTo>
                  <a:lnTo>
                    <a:pt x="783" y="3039"/>
                  </a:lnTo>
                  <a:lnTo>
                    <a:pt x="790" y="3044"/>
                  </a:lnTo>
                  <a:lnTo>
                    <a:pt x="797" y="3051"/>
                  </a:lnTo>
                  <a:lnTo>
                    <a:pt x="802" y="3057"/>
                  </a:lnTo>
                  <a:lnTo>
                    <a:pt x="807" y="3064"/>
                  </a:lnTo>
                  <a:lnTo>
                    <a:pt x="811" y="3072"/>
                  </a:lnTo>
                  <a:lnTo>
                    <a:pt x="817" y="3088"/>
                  </a:lnTo>
                  <a:lnTo>
                    <a:pt x="823" y="3107"/>
                  </a:lnTo>
                  <a:lnTo>
                    <a:pt x="828" y="3127"/>
                  </a:lnTo>
                  <a:lnTo>
                    <a:pt x="835" y="3149"/>
                  </a:lnTo>
                  <a:lnTo>
                    <a:pt x="845" y="3145"/>
                  </a:lnTo>
                  <a:lnTo>
                    <a:pt x="857" y="3142"/>
                  </a:lnTo>
                  <a:lnTo>
                    <a:pt x="868" y="3137"/>
                  </a:lnTo>
                  <a:lnTo>
                    <a:pt x="878" y="3131"/>
                  </a:lnTo>
                  <a:lnTo>
                    <a:pt x="890" y="3127"/>
                  </a:lnTo>
                  <a:lnTo>
                    <a:pt x="901" y="3123"/>
                  </a:lnTo>
                  <a:lnTo>
                    <a:pt x="913" y="3119"/>
                  </a:lnTo>
                  <a:lnTo>
                    <a:pt x="926" y="3116"/>
                  </a:lnTo>
                  <a:lnTo>
                    <a:pt x="950" y="3109"/>
                  </a:lnTo>
                  <a:lnTo>
                    <a:pt x="975" y="3102"/>
                  </a:lnTo>
                  <a:lnTo>
                    <a:pt x="982" y="3099"/>
                  </a:lnTo>
                  <a:lnTo>
                    <a:pt x="989" y="3095"/>
                  </a:lnTo>
                  <a:lnTo>
                    <a:pt x="996" y="3091"/>
                  </a:lnTo>
                  <a:lnTo>
                    <a:pt x="1001" y="3086"/>
                  </a:lnTo>
                  <a:lnTo>
                    <a:pt x="1014" y="3074"/>
                  </a:lnTo>
                  <a:lnTo>
                    <a:pt x="1026" y="3063"/>
                  </a:lnTo>
                  <a:lnTo>
                    <a:pt x="1036" y="3051"/>
                  </a:lnTo>
                  <a:lnTo>
                    <a:pt x="1048" y="3038"/>
                  </a:lnTo>
                  <a:lnTo>
                    <a:pt x="1061" y="3028"/>
                  </a:lnTo>
                  <a:lnTo>
                    <a:pt x="1074" y="3019"/>
                  </a:lnTo>
                  <a:lnTo>
                    <a:pt x="1149" y="2944"/>
                  </a:lnTo>
                  <a:lnTo>
                    <a:pt x="1152" y="2942"/>
                  </a:lnTo>
                  <a:lnTo>
                    <a:pt x="1155" y="2941"/>
                  </a:lnTo>
                  <a:lnTo>
                    <a:pt x="1157" y="2939"/>
                  </a:lnTo>
                  <a:lnTo>
                    <a:pt x="1161" y="2939"/>
                  </a:lnTo>
                  <a:lnTo>
                    <a:pt x="1167" y="2943"/>
                  </a:lnTo>
                  <a:lnTo>
                    <a:pt x="1173" y="2948"/>
                  </a:lnTo>
                  <a:lnTo>
                    <a:pt x="1178" y="2955"/>
                  </a:lnTo>
                  <a:lnTo>
                    <a:pt x="1184" y="2964"/>
                  </a:lnTo>
                  <a:lnTo>
                    <a:pt x="1190" y="2974"/>
                  </a:lnTo>
                  <a:lnTo>
                    <a:pt x="1196" y="2986"/>
                  </a:lnTo>
                  <a:lnTo>
                    <a:pt x="1205" y="3012"/>
                  </a:lnTo>
                  <a:lnTo>
                    <a:pt x="1214" y="3036"/>
                  </a:lnTo>
                  <a:lnTo>
                    <a:pt x="1221" y="3057"/>
                  </a:lnTo>
                  <a:lnTo>
                    <a:pt x="1226" y="3072"/>
                  </a:lnTo>
                  <a:lnTo>
                    <a:pt x="1228" y="3090"/>
                  </a:lnTo>
                  <a:lnTo>
                    <a:pt x="1235" y="3115"/>
                  </a:lnTo>
                  <a:lnTo>
                    <a:pt x="1237" y="3121"/>
                  </a:lnTo>
                  <a:lnTo>
                    <a:pt x="1239" y="3127"/>
                  </a:lnTo>
                  <a:lnTo>
                    <a:pt x="1242" y="3131"/>
                  </a:lnTo>
                  <a:lnTo>
                    <a:pt x="1245" y="3135"/>
                  </a:lnTo>
                  <a:lnTo>
                    <a:pt x="1248" y="3137"/>
                  </a:lnTo>
                  <a:lnTo>
                    <a:pt x="1252" y="3137"/>
                  </a:lnTo>
                  <a:lnTo>
                    <a:pt x="1255" y="3135"/>
                  </a:lnTo>
                  <a:lnTo>
                    <a:pt x="1260" y="3131"/>
                  </a:lnTo>
                  <a:lnTo>
                    <a:pt x="1285" y="3105"/>
                  </a:lnTo>
                  <a:lnTo>
                    <a:pt x="1303" y="3088"/>
                  </a:lnTo>
                  <a:lnTo>
                    <a:pt x="1310" y="3083"/>
                  </a:lnTo>
                  <a:lnTo>
                    <a:pt x="1316" y="3080"/>
                  </a:lnTo>
                  <a:lnTo>
                    <a:pt x="1320" y="3079"/>
                  </a:lnTo>
                  <a:lnTo>
                    <a:pt x="1324" y="3080"/>
                  </a:lnTo>
                  <a:lnTo>
                    <a:pt x="1340" y="3096"/>
                  </a:lnTo>
                  <a:lnTo>
                    <a:pt x="1369" y="3126"/>
                  </a:lnTo>
                  <a:lnTo>
                    <a:pt x="1373" y="3128"/>
                  </a:lnTo>
                  <a:lnTo>
                    <a:pt x="1379" y="3130"/>
                  </a:lnTo>
                  <a:lnTo>
                    <a:pt x="1383" y="3131"/>
                  </a:lnTo>
                  <a:lnTo>
                    <a:pt x="1390" y="3133"/>
                  </a:lnTo>
                  <a:lnTo>
                    <a:pt x="1404" y="3134"/>
                  </a:lnTo>
                  <a:lnTo>
                    <a:pt x="1419" y="3135"/>
                  </a:lnTo>
                  <a:lnTo>
                    <a:pt x="1436" y="3136"/>
                  </a:lnTo>
                  <a:lnTo>
                    <a:pt x="1452" y="3137"/>
                  </a:lnTo>
                  <a:lnTo>
                    <a:pt x="1467" y="3140"/>
                  </a:lnTo>
                  <a:lnTo>
                    <a:pt x="1481" y="3143"/>
                  </a:lnTo>
                  <a:lnTo>
                    <a:pt x="1487" y="3145"/>
                  </a:lnTo>
                  <a:lnTo>
                    <a:pt x="1493" y="3145"/>
                  </a:lnTo>
                  <a:lnTo>
                    <a:pt x="1497" y="3147"/>
                  </a:lnTo>
                  <a:lnTo>
                    <a:pt x="1501" y="3145"/>
                  </a:lnTo>
                  <a:lnTo>
                    <a:pt x="1505" y="3144"/>
                  </a:lnTo>
                  <a:lnTo>
                    <a:pt x="1509" y="3143"/>
                  </a:lnTo>
                  <a:lnTo>
                    <a:pt x="1511" y="3141"/>
                  </a:lnTo>
                  <a:lnTo>
                    <a:pt x="1514" y="3137"/>
                  </a:lnTo>
                  <a:lnTo>
                    <a:pt x="1518" y="3131"/>
                  </a:lnTo>
                  <a:lnTo>
                    <a:pt x="1522" y="3123"/>
                  </a:lnTo>
                  <a:lnTo>
                    <a:pt x="1524" y="3114"/>
                  </a:lnTo>
                  <a:lnTo>
                    <a:pt x="1526" y="3105"/>
                  </a:lnTo>
                  <a:lnTo>
                    <a:pt x="1530" y="3086"/>
                  </a:lnTo>
                  <a:lnTo>
                    <a:pt x="1535" y="3071"/>
                  </a:lnTo>
                  <a:lnTo>
                    <a:pt x="1536" y="3069"/>
                  </a:lnTo>
                  <a:lnTo>
                    <a:pt x="1538" y="3066"/>
                  </a:lnTo>
                  <a:lnTo>
                    <a:pt x="1540" y="3064"/>
                  </a:lnTo>
                  <a:lnTo>
                    <a:pt x="1543" y="3063"/>
                  </a:lnTo>
                  <a:lnTo>
                    <a:pt x="1546" y="3063"/>
                  </a:lnTo>
                  <a:lnTo>
                    <a:pt x="1550" y="3063"/>
                  </a:lnTo>
                  <a:lnTo>
                    <a:pt x="1553" y="3063"/>
                  </a:lnTo>
                  <a:lnTo>
                    <a:pt x="1558" y="3065"/>
                  </a:lnTo>
                  <a:lnTo>
                    <a:pt x="1580" y="3074"/>
                  </a:lnTo>
                  <a:lnTo>
                    <a:pt x="1610" y="3087"/>
                  </a:lnTo>
                  <a:lnTo>
                    <a:pt x="1628" y="3093"/>
                  </a:lnTo>
                  <a:lnTo>
                    <a:pt x="1645" y="3099"/>
                  </a:lnTo>
                  <a:lnTo>
                    <a:pt x="1663" y="3102"/>
                  </a:lnTo>
                  <a:lnTo>
                    <a:pt x="1680" y="3105"/>
                  </a:lnTo>
                  <a:lnTo>
                    <a:pt x="1631" y="3032"/>
                  </a:lnTo>
                  <a:lnTo>
                    <a:pt x="1636" y="3032"/>
                  </a:lnTo>
                  <a:lnTo>
                    <a:pt x="1642" y="3032"/>
                  </a:lnTo>
                  <a:lnTo>
                    <a:pt x="1640" y="3026"/>
                  </a:lnTo>
                  <a:lnTo>
                    <a:pt x="1639" y="3019"/>
                  </a:lnTo>
                  <a:lnTo>
                    <a:pt x="1637" y="3012"/>
                  </a:lnTo>
                  <a:lnTo>
                    <a:pt x="1635" y="3005"/>
                  </a:lnTo>
                  <a:lnTo>
                    <a:pt x="1632" y="2998"/>
                  </a:lnTo>
                  <a:lnTo>
                    <a:pt x="1630" y="2991"/>
                  </a:lnTo>
                  <a:lnTo>
                    <a:pt x="1629" y="2982"/>
                  </a:lnTo>
                  <a:lnTo>
                    <a:pt x="1628" y="2974"/>
                  </a:lnTo>
                  <a:lnTo>
                    <a:pt x="1635" y="2973"/>
                  </a:lnTo>
                  <a:lnTo>
                    <a:pt x="1640" y="2971"/>
                  </a:lnTo>
                  <a:lnTo>
                    <a:pt x="1645" y="2968"/>
                  </a:lnTo>
                  <a:lnTo>
                    <a:pt x="1650" y="2965"/>
                  </a:lnTo>
                  <a:lnTo>
                    <a:pt x="1653" y="2961"/>
                  </a:lnTo>
                  <a:lnTo>
                    <a:pt x="1656" y="2958"/>
                  </a:lnTo>
                  <a:lnTo>
                    <a:pt x="1658" y="2955"/>
                  </a:lnTo>
                  <a:lnTo>
                    <a:pt x="1659" y="2950"/>
                  </a:lnTo>
                  <a:lnTo>
                    <a:pt x="1659" y="2939"/>
                  </a:lnTo>
                  <a:lnTo>
                    <a:pt x="1658" y="2929"/>
                  </a:lnTo>
                  <a:lnTo>
                    <a:pt x="1654" y="2917"/>
                  </a:lnTo>
                  <a:lnTo>
                    <a:pt x="1650" y="2907"/>
                  </a:lnTo>
                  <a:lnTo>
                    <a:pt x="1645" y="2896"/>
                  </a:lnTo>
                  <a:lnTo>
                    <a:pt x="1644" y="2888"/>
                  </a:lnTo>
                  <a:lnTo>
                    <a:pt x="1645" y="2882"/>
                  </a:lnTo>
                  <a:lnTo>
                    <a:pt x="1646" y="2877"/>
                  </a:lnTo>
                  <a:lnTo>
                    <a:pt x="1649" y="2872"/>
                  </a:lnTo>
                  <a:lnTo>
                    <a:pt x="1651" y="2866"/>
                  </a:lnTo>
                  <a:lnTo>
                    <a:pt x="1653" y="2859"/>
                  </a:lnTo>
                  <a:lnTo>
                    <a:pt x="1653" y="2850"/>
                  </a:lnTo>
                  <a:lnTo>
                    <a:pt x="1653" y="2842"/>
                  </a:lnTo>
                  <a:lnTo>
                    <a:pt x="1652" y="2833"/>
                  </a:lnTo>
                  <a:lnTo>
                    <a:pt x="1651" y="2827"/>
                  </a:lnTo>
                  <a:lnTo>
                    <a:pt x="1649" y="2818"/>
                  </a:lnTo>
                  <a:lnTo>
                    <a:pt x="1643" y="2803"/>
                  </a:lnTo>
                  <a:lnTo>
                    <a:pt x="1636" y="2789"/>
                  </a:lnTo>
                  <a:lnTo>
                    <a:pt x="1621" y="2760"/>
                  </a:lnTo>
                  <a:lnTo>
                    <a:pt x="1607" y="2732"/>
                  </a:lnTo>
                  <a:lnTo>
                    <a:pt x="1604" y="2724"/>
                  </a:lnTo>
                  <a:lnTo>
                    <a:pt x="1603" y="2715"/>
                  </a:lnTo>
                  <a:lnTo>
                    <a:pt x="1602" y="2705"/>
                  </a:lnTo>
                  <a:lnTo>
                    <a:pt x="1602" y="2696"/>
                  </a:lnTo>
                  <a:lnTo>
                    <a:pt x="1601" y="2687"/>
                  </a:lnTo>
                  <a:lnTo>
                    <a:pt x="1600" y="2678"/>
                  </a:lnTo>
                  <a:lnTo>
                    <a:pt x="1599" y="2669"/>
                  </a:lnTo>
                  <a:lnTo>
                    <a:pt x="1596" y="2660"/>
                  </a:lnTo>
                  <a:lnTo>
                    <a:pt x="1589" y="2640"/>
                  </a:lnTo>
                  <a:lnTo>
                    <a:pt x="1583" y="2619"/>
                  </a:lnTo>
                  <a:lnTo>
                    <a:pt x="1580" y="2600"/>
                  </a:lnTo>
                  <a:lnTo>
                    <a:pt x="1574" y="2579"/>
                  </a:lnTo>
                  <a:lnTo>
                    <a:pt x="1579" y="2570"/>
                  </a:lnTo>
                  <a:lnTo>
                    <a:pt x="1582" y="2560"/>
                  </a:lnTo>
                  <a:lnTo>
                    <a:pt x="1585" y="2548"/>
                  </a:lnTo>
                  <a:lnTo>
                    <a:pt x="1587" y="2537"/>
                  </a:lnTo>
                  <a:lnTo>
                    <a:pt x="1589" y="2524"/>
                  </a:lnTo>
                  <a:lnTo>
                    <a:pt x="1589" y="2511"/>
                  </a:lnTo>
                  <a:lnTo>
                    <a:pt x="1590" y="2498"/>
                  </a:lnTo>
                  <a:lnTo>
                    <a:pt x="1589" y="2484"/>
                  </a:lnTo>
                  <a:lnTo>
                    <a:pt x="1588" y="2472"/>
                  </a:lnTo>
                  <a:lnTo>
                    <a:pt x="1586" y="2458"/>
                  </a:lnTo>
                  <a:lnTo>
                    <a:pt x="1583" y="2446"/>
                  </a:lnTo>
                  <a:lnTo>
                    <a:pt x="1580" y="2433"/>
                  </a:lnTo>
                  <a:lnTo>
                    <a:pt x="1575" y="2423"/>
                  </a:lnTo>
                  <a:lnTo>
                    <a:pt x="1569" y="2413"/>
                  </a:lnTo>
                  <a:lnTo>
                    <a:pt x="1564" y="2404"/>
                  </a:lnTo>
                  <a:lnTo>
                    <a:pt x="1557" y="2397"/>
                  </a:lnTo>
                  <a:lnTo>
                    <a:pt x="1550" y="2391"/>
                  </a:lnTo>
                  <a:lnTo>
                    <a:pt x="1545" y="2384"/>
                  </a:lnTo>
                  <a:lnTo>
                    <a:pt x="1543" y="2377"/>
                  </a:lnTo>
                  <a:lnTo>
                    <a:pt x="1543" y="2370"/>
                  </a:lnTo>
                  <a:lnTo>
                    <a:pt x="1543" y="2364"/>
                  </a:lnTo>
                  <a:lnTo>
                    <a:pt x="1545" y="2358"/>
                  </a:lnTo>
                  <a:lnTo>
                    <a:pt x="1549" y="2351"/>
                  </a:lnTo>
                  <a:lnTo>
                    <a:pt x="1552" y="2344"/>
                  </a:lnTo>
                  <a:lnTo>
                    <a:pt x="1561" y="2330"/>
                  </a:lnTo>
                  <a:lnTo>
                    <a:pt x="1571" y="2316"/>
                  </a:lnTo>
                  <a:lnTo>
                    <a:pt x="1580" y="2303"/>
                  </a:lnTo>
                  <a:lnTo>
                    <a:pt x="1587" y="2290"/>
                  </a:lnTo>
                  <a:lnTo>
                    <a:pt x="1588" y="2282"/>
                  </a:lnTo>
                  <a:lnTo>
                    <a:pt x="1589" y="2276"/>
                  </a:lnTo>
                  <a:lnTo>
                    <a:pt x="1589" y="2270"/>
                  </a:lnTo>
                  <a:lnTo>
                    <a:pt x="1587" y="2266"/>
                  </a:lnTo>
                  <a:lnTo>
                    <a:pt x="1585" y="2261"/>
                  </a:lnTo>
                  <a:lnTo>
                    <a:pt x="1581" y="2257"/>
                  </a:lnTo>
                  <a:lnTo>
                    <a:pt x="1578" y="2254"/>
                  </a:lnTo>
                  <a:lnTo>
                    <a:pt x="1573" y="2252"/>
                  </a:lnTo>
                  <a:lnTo>
                    <a:pt x="1550" y="2245"/>
                  </a:lnTo>
                  <a:lnTo>
                    <a:pt x="1524" y="2238"/>
                  </a:lnTo>
                  <a:lnTo>
                    <a:pt x="1505" y="2232"/>
                  </a:lnTo>
                  <a:lnTo>
                    <a:pt x="1479" y="2226"/>
                  </a:lnTo>
                  <a:lnTo>
                    <a:pt x="1473" y="2224"/>
                  </a:lnTo>
                  <a:lnTo>
                    <a:pt x="1467" y="2220"/>
                  </a:lnTo>
                  <a:lnTo>
                    <a:pt x="1462" y="2218"/>
                  </a:lnTo>
                  <a:lnTo>
                    <a:pt x="1459" y="2214"/>
                  </a:lnTo>
                  <a:lnTo>
                    <a:pt x="1458" y="2211"/>
                  </a:lnTo>
                  <a:lnTo>
                    <a:pt x="1457" y="2206"/>
                  </a:lnTo>
                  <a:lnTo>
                    <a:pt x="1458" y="2202"/>
                  </a:lnTo>
                  <a:lnTo>
                    <a:pt x="1461" y="2197"/>
                  </a:lnTo>
                  <a:lnTo>
                    <a:pt x="1473" y="2182"/>
                  </a:lnTo>
                  <a:lnTo>
                    <a:pt x="1481" y="2167"/>
                  </a:lnTo>
                  <a:lnTo>
                    <a:pt x="1484" y="2160"/>
                  </a:lnTo>
                  <a:lnTo>
                    <a:pt x="1488" y="2152"/>
                  </a:lnTo>
                  <a:lnTo>
                    <a:pt x="1489" y="2145"/>
                  </a:lnTo>
                  <a:lnTo>
                    <a:pt x="1490" y="2138"/>
                  </a:lnTo>
                  <a:lnTo>
                    <a:pt x="1491" y="2129"/>
                  </a:lnTo>
                  <a:lnTo>
                    <a:pt x="1490" y="2122"/>
                  </a:lnTo>
                  <a:lnTo>
                    <a:pt x="1489" y="2115"/>
                  </a:lnTo>
                  <a:lnTo>
                    <a:pt x="1486" y="2108"/>
                  </a:lnTo>
                  <a:lnTo>
                    <a:pt x="1482" y="2101"/>
                  </a:lnTo>
                  <a:lnTo>
                    <a:pt x="1477" y="2096"/>
                  </a:lnTo>
                  <a:lnTo>
                    <a:pt x="1471" y="2089"/>
                  </a:lnTo>
                  <a:lnTo>
                    <a:pt x="1464" y="2082"/>
                  </a:lnTo>
                  <a:lnTo>
                    <a:pt x="1451" y="2075"/>
                  </a:lnTo>
                  <a:lnTo>
                    <a:pt x="1439" y="2069"/>
                  </a:lnTo>
                  <a:lnTo>
                    <a:pt x="1432" y="2067"/>
                  </a:lnTo>
                  <a:lnTo>
                    <a:pt x="1426" y="2062"/>
                  </a:lnTo>
                  <a:lnTo>
                    <a:pt x="1422" y="2057"/>
                  </a:lnTo>
                  <a:lnTo>
                    <a:pt x="1416" y="2050"/>
                  </a:lnTo>
                  <a:lnTo>
                    <a:pt x="1409" y="2039"/>
                  </a:lnTo>
                  <a:lnTo>
                    <a:pt x="1404" y="2025"/>
                  </a:lnTo>
                  <a:lnTo>
                    <a:pt x="1400" y="2010"/>
                  </a:lnTo>
                  <a:lnTo>
                    <a:pt x="1396" y="1994"/>
                  </a:lnTo>
                  <a:lnTo>
                    <a:pt x="1390" y="1963"/>
                  </a:lnTo>
                  <a:lnTo>
                    <a:pt x="1388" y="1934"/>
                  </a:lnTo>
                  <a:lnTo>
                    <a:pt x="1398" y="1921"/>
                  </a:lnTo>
                  <a:lnTo>
                    <a:pt x="1408" y="1909"/>
                  </a:lnTo>
                  <a:lnTo>
                    <a:pt x="1412" y="1905"/>
                  </a:lnTo>
                  <a:lnTo>
                    <a:pt x="1418" y="1900"/>
                  </a:lnTo>
                  <a:lnTo>
                    <a:pt x="1425" y="1896"/>
                  </a:lnTo>
                  <a:lnTo>
                    <a:pt x="1432" y="1892"/>
                  </a:lnTo>
                  <a:lnTo>
                    <a:pt x="1446" y="1886"/>
                  </a:lnTo>
                  <a:lnTo>
                    <a:pt x="1457" y="1879"/>
                  </a:lnTo>
                  <a:lnTo>
                    <a:pt x="1464" y="1871"/>
                  </a:lnTo>
                  <a:lnTo>
                    <a:pt x="1469" y="1862"/>
                  </a:lnTo>
                  <a:lnTo>
                    <a:pt x="1474" y="1852"/>
                  </a:lnTo>
                  <a:lnTo>
                    <a:pt x="1476" y="1842"/>
                  </a:lnTo>
                  <a:lnTo>
                    <a:pt x="1476" y="1831"/>
                  </a:lnTo>
                  <a:lnTo>
                    <a:pt x="1476" y="1820"/>
                  </a:lnTo>
                  <a:lnTo>
                    <a:pt x="1474" y="1797"/>
                  </a:lnTo>
                  <a:lnTo>
                    <a:pt x="1469" y="1773"/>
                  </a:lnTo>
                  <a:lnTo>
                    <a:pt x="1468" y="1761"/>
                  </a:lnTo>
                  <a:lnTo>
                    <a:pt x="1467" y="1749"/>
                  </a:lnTo>
                  <a:lnTo>
                    <a:pt x="1466" y="1737"/>
                  </a:lnTo>
                  <a:lnTo>
                    <a:pt x="1467" y="1727"/>
                  </a:lnTo>
                  <a:lnTo>
                    <a:pt x="1467" y="1716"/>
                  </a:lnTo>
                  <a:lnTo>
                    <a:pt x="1468" y="1705"/>
                  </a:lnTo>
                  <a:lnTo>
                    <a:pt x="1467" y="1692"/>
                  </a:lnTo>
                  <a:lnTo>
                    <a:pt x="1466" y="1679"/>
                  </a:lnTo>
                  <a:lnTo>
                    <a:pt x="1464" y="1673"/>
                  </a:lnTo>
                  <a:lnTo>
                    <a:pt x="1461" y="1667"/>
                  </a:lnTo>
                  <a:lnTo>
                    <a:pt x="1459" y="1663"/>
                  </a:lnTo>
                  <a:lnTo>
                    <a:pt x="1457" y="1658"/>
                  </a:lnTo>
                  <a:lnTo>
                    <a:pt x="1452" y="1655"/>
                  </a:lnTo>
                  <a:lnTo>
                    <a:pt x="1447" y="1651"/>
                  </a:lnTo>
                  <a:lnTo>
                    <a:pt x="1443" y="1650"/>
                  </a:lnTo>
                  <a:lnTo>
                    <a:pt x="1437" y="1649"/>
                  </a:lnTo>
                  <a:lnTo>
                    <a:pt x="1416" y="1649"/>
                  </a:lnTo>
                  <a:lnTo>
                    <a:pt x="1396" y="1646"/>
                  </a:lnTo>
                  <a:lnTo>
                    <a:pt x="1387" y="1645"/>
                  </a:lnTo>
                  <a:lnTo>
                    <a:pt x="1377" y="1643"/>
                  </a:lnTo>
                  <a:lnTo>
                    <a:pt x="1368" y="1639"/>
                  </a:lnTo>
                  <a:lnTo>
                    <a:pt x="1358" y="1636"/>
                  </a:lnTo>
                  <a:lnTo>
                    <a:pt x="1311" y="1636"/>
                  </a:lnTo>
                  <a:lnTo>
                    <a:pt x="1305" y="1627"/>
                  </a:lnTo>
                  <a:lnTo>
                    <a:pt x="1301" y="1617"/>
                  </a:lnTo>
                  <a:lnTo>
                    <a:pt x="1296" y="1608"/>
                  </a:lnTo>
                  <a:lnTo>
                    <a:pt x="1291" y="1598"/>
                  </a:lnTo>
                  <a:lnTo>
                    <a:pt x="1288" y="1591"/>
                  </a:lnTo>
                  <a:lnTo>
                    <a:pt x="1283" y="1585"/>
                  </a:lnTo>
                  <a:lnTo>
                    <a:pt x="1278" y="1580"/>
                  </a:lnTo>
                  <a:lnTo>
                    <a:pt x="1274" y="1574"/>
                  </a:lnTo>
                  <a:lnTo>
                    <a:pt x="1261" y="1566"/>
                  </a:lnTo>
                  <a:lnTo>
                    <a:pt x="1248" y="1559"/>
                  </a:lnTo>
                  <a:lnTo>
                    <a:pt x="1218" y="1546"/>
                  </a:lnTo>
                  <a:lnTo>
                    <a:pt x="1189" y="1534"/>
                  </a:lnTo>
                  <a:lnTo>
                    <a:pt x="1178" y="1529"/>
                  </a:lnTo>
                  <a:lnTo>
                    <a:pt x="1169" y="1522"/>
                  </a:lnTo>
                  <a:lnTo>
                    <a:pt x="1161" y="1515"/>
                  </a:lnTo>
                  <a:lnTo>
                    <a:pt x="1154" y="1507"/>
                  </a:lnTo>
                  <a:lnTo>
                    <a:pt x="1148" y="1496"/>
                  </a:lnTo>
                  <a:lnTo>
                    <a:pt x="1143" y="1486"/>
                  </a:lnTo>
                  <a:lnTo>
                    <a:pt x="1139" y="1474"/>
                  </a:lnTo>
                  <a:lnTo>
                    <a:pt x="1136" y="1463"/>
                  </a:lnTo>
                  <a:lnTo>
                    <a:pt x="1131" y="1439"/>
                  </a:lnTo>
                  <a:lnTo>
                    <a:pt x="1125" y="1418"/>
                  </a:lnTo>
                  <a:lnTo>
                    <a:pt x="1164" y="1372"/>
                  </a:lnTo>
                  <a:lnTo>
                    <a:pt x="1174" y="1358"/>
                  </a:lnTo>
                  <a:lnTo>
                    <a:pt x="1184" y="1336"/>
                  </a:lnTo>
                  <a:lnTo>
                    <a:pt x="1195" y="1315"/>
                  </a:lnTo>
                  <a:lnTo>
                    <a:pt x="1200" y="1298"/>
                  </a:lnTo>
                  <a:lnTo>
                    <a:pt x="1209" y="1298"/>
                  </a:lnTo>
                  <a:lnTo>
                    <a:pt x="1216" y="1298"/>
                  </a:lnTo>
                  <a:lnTo>
                    <a:pt x="1223" y="1298"/>
                  </a:lnTo>
                  <a:lnTo>
                    <a:pt x="1228" y="1301"/>
                  </a:lnTo>
                  <a:lnTo>
                    <a:pt x="1234" y="1304"/>
                  </a:lnTo>
                  <a:lnTo>
                    <a:pt x="1239" y="1310"/>
                  </a:lnTo>
                  <a:lnTo>
                    <a:pt x="1242" y="1317"/>
                  </a:lnTo>
                  <a:lnTo>
                    <a:pt x="1246" y="1326"/>
                  </a:lnTo>
                  <a:lnTo>
                    <a:pt x="1249" y="1326"/>
                  </a:lnTo>
                  <a:lnTo>
                    <a:pt x="1254" y="1325"/>
                  </a:lnTo>
                  <a:lnTo>
                    <a:pt x="1259" y="1322"/>
                  </a:lnTo>
                  <a:lnTo>
                    <a:pt x="1264" y="1318"/>
                  </a:lnTo>
                  <a:lnTo>
                    <a:pt x="1276" y="1307"/>
                  </a:lnTo>
                  <a:lnTo>
                    <a:pt x="1289" y="1294"/>
                  </a:lnTo>
                  <a:lnTo>
                    <a:pt x="1299" y="1280"/>
                  </a:lnTo>
                  <a:lnTo>
                    <a:pt x="1310" y="1266"/>
                  </a:lnTo>
                  <a:lnTo>
                    <a:pt x="1318" y="1254"/>
                  </a:lnTo>
                  <a:lnTo>
                    <a:pt x="1323" y="1246"/>
                  </a:lnTo>
                  <a:lnTo>
                    <a:pt x="1326" y="1239"/>
                  </a:lnTo>
                  <a:lnTo>
                    <a:pt x="1327" y="1233"/>
                  </a:lnTo>
                  <a:lnTo>
                    <a:pt x="1330" y="1226"/>
                  </a:lnTo>
                  <a:lnTo>
                    <a:pt x="1330" y="1219"/>
                  </a:lnTo>
                  <a:lnTo>
                    <a:pt x="1331" y="1207"/>
                  </a:lnTo>
                  <a:lnTo>
                    <a:pt x="1331" y="1194"/>
                  </a:lnTo>
                  <a:lnTo>
                    <a:pt x="1332" y="1188"/>
                  </a:lnTo>
                  <a:lnTo>
                    <a:pt x="1332" y="1181"/>
                  </a:lnTo>
                  <a:lnTo>
                    <a:pt x="1334" y="1175"/>
                  </a:lnTo>
                  <a:lnTo>
                    <a:pt x="1337" y="1170"/>
                  </a:lnTo>
                  <a:lnTo>
                    <a:pt x="1340" y="1165"/>
                  </a:lnTo>
                  <a:lnTo>
                    <a:pt x="1345" y="1160"/>
                  </a:lnTo>
                  <a:lnTo>
                    <a:pt x="1349" y="1155"/>
                  </a:lnTo>
                  <a:lnTo>
                    <a:pt x="1356" y="1151"/>
                  </a:lnTo>
                  <a:lnTo>
                    <a:pt x="1362" y="1148"/>
                  </a:lnTo>
                  <a:lnTo>
                    <a:pt x="1369" y="1147"/>
                  </a:lnTo>
                  <a:lnTo>
                    <a:pt x="1377" y="1145"/>
                  </a:lnTo>
                  <a:lnTo>
                    <a:pt x="1388" y="1145"/>
                  </a:lnTo>
                  <a:lnTo>
                    <a:pt x="1411" y="1144"/>
                  </a:lnTo>
                  <a:lnTo>
                    <a:pt x="1437" y="1144"/>
                  </a:lnTo>
                  <a:lnTo>
                    <a:pt x="1462" y="1146"/>
                  </a:lnTo>
                  <a:lnTo>
                    <a:pt x="1487" y="1148"/>
                  </a:lnTo>
                  <a:lnTo>
                    <a:pt x="1505" y="1152"/>
                  </a:lnTo>
                  <a:lnTo>
                    <a:pt x="1518" y="1155"/>
                  </a:lnTo>
                  <a:lnTo>
                    <a:pt x="1531" y="1165"/>
                  </a:lnTo>
                  <a:lnTo>
                    <a:pt x="1540" y="1172"/>
                  </a:lnTo>
                  <a:lnTo>
                    <a:pt x="1543" y="1173"/>
                  </a:lnTo>
                  <a:lnTo>
                    <a:pt x="1545" y="1173"/>
                  </a:lnTo>
                  <a:lnTo>
                    <a:pt x="1547" y="1173"/>
                  </a:lnTo>
                  <a:lnTo>
                    <a:pt x="1550" y="1172"/>
                  </a:lnTo>
                  <a:lnTo>
                    <a:pt x="1554" y="1166"/>
                  </a:lnTo>
                  <a:lnTo>
                    <a:pt x="1559" y="1158"/>
                  </a:lnTo>
                  <a:lnTo>
                    <a:pt x="1568" y="1146"/>
                  </a:lnTo>
                  <a:lnTo>
                    <a:pt x="1582" y="1132"/>
                  </a:lnTo>
                  <a:lnTo>
                    <a:pt x="1589" y="1125"/>
                  </a:lnTo>
                  <a:lnTo>
                    <a:pt x="1595" y="1119"/>
                  </a:lnTo>
                  <a:lnTo>
                    <a:pt x="1600" y="1113"/>
                  </a:lnTo>
                  <a:lnTo>
                    <a:pt x="1601" y="1109"/>
                  </a:lnTo>
                  <a:lnTo>
                    <a:pt x="1585" y="1108"/>
                  </a:lnTo>
                  <a:lnTo>
                    <a:pt x="1571" y="1106"/>
                  </a:lnTo>
                  <a:lnTo>
                    <a:pt x="1560" y="1103"/>
                  </a:lnTo>
                  <a:lnTo>
                    <a:pt x="1551" y="1098"/>
                  </a:lnTo>
                  <a:lnTo>
                    <a:pt x="1545" y="1093"/>
                  </a:lnTo>
                  <a:lnTo>
                    <a:pt x="1539" y="1087"/>
                  </a:lnTo>
                  <a:lnTo>
                    <a:pt x="1537" y="1079"/>
                  </a:lnTo>
                  <a:lnTo>
                    <a:pt x="1535" y="1070"/>
                  </a:lnTo>
                  <a:lnTo>
                    <a:pt x="1532" y="1034"/>
                  </a:lnTo>
                  <a:lnTo>
                    <a:pt x="1529" y="996"/>
                  </a:lnTo>
                  <a:lnTo>
                    <a:pt x="1526" y="991"/>
                  </a:lnTo>
                  <a:lnTo>
                    <a:pt x="1523" y="988"/>
                  </a:lnTo>
                  <a:lnTo>
                    <a:pt x="1518" y="985"/>
                  </a:lnTo>
                  <a:lnTo>
                    <a:pt x="1512" y="984"/>
                  </a:lnTo>
                  <a:lnTo>
                    <a:pt x="1500" y="983"/>
                  </a:lnTo>
                  <a:lnTo>
                    <a:pt x="1484" y="985"/>
                  </a:lnTo>
                  <a:lnTo>
                    <a:pt x="1468" y="987"/>
                  </a:lnTo>
                  <a:lnTo>
                    <a:pt x="1452" y="987"/>
                  </a:lnTo>
                  <a:lnTo>
                    <a:pt x="1445" y="985"/>
                  </a:lnTo>
                  <a:lnTo>
                    <a:pt x="1437" y="983"/>
                  </a:lnTo>
                  <a:lnTo>
                    <a:pt x="1430" y="980"/>
                  </a:lnTo>
                  <a:lnTo>
                    <a:pt x="1424" y="975"/>
                  </a:lnTo>
                  <a:lnTo>
                    <a:pt x="1417" y="965"/>
                  </a:lnTo>
                  <a:lnTo>
                    <a:pt x="1410" y="954"/>
                  </a:lnTo>
                  <a:lnTo>
                    <a:pt x="1405" y="948"/>
                  </a:lnTo>
                  <a:lnTo>
                    <a:pt x="1402" y="944"/>
                  </a:lnTo>
                  <a:lnTo>
                    <a:pt x="1397" y="940"/>
                  </a:lnTo>
                  <a:lnTo>
                    <a:pt x="1393" y="938"/>
                  </a:lnTo>
                  <a:lnTo>
                    <a:pt x="1368" y="932"/>
                  </a:lnTo>
                  <a:lnTo>
                    <a:pt x="1354" y="927"/>
                  </a:lnTo>
                  <a:lnTo>
                    <a:pt x="1348" y="924"/>
                  </a:lnTo>
                  <a:lnTo>
                    <a:pt x="1342" y="918"/>
                  </a:lnTo>
                  <a:lnTo>
                    <a:pt x="1335" y="910"/>
                  </a:lnTo>
                  <a:lnTo>
                    <a:pt x="1328" y="897"/>
                  </a:lnTo>
                  <a:lnTo>
                    <a:pt x="1320" y="887"/>
                  </a:lnTo>
                  <a:lnTo>
                    <a:pt x="1310" y="874"/>
                  </a:lnTo>
                  <a:lnTo>
                    <a:pt x="1297" y="860"/>
                  </a:lnTo>
                  <a:lnTo>
                    <a:pt x="1284" y="847"/>
                  </a:lnTo>
                  <a:lnTo>
                    <a:pt x="1269" y="835"/>
                  </a:lnTo>
                  <a:lnTo>
                    <a:pt x="1255" y="826"/>
                  </a:lnTo>
                  <a:lnTo>
                    <a:pt x="1248" y="823"/>
                  </a:lnTo>
                  <a:lnTo>
                    <a:pt x="1241" y="819"/>
                  </a:lnTo>
                  <a:lnTo>
                    <a:pt x="1234" y="818"/>
                  </a:lnTo>
                  <a:lnTo>
                    <a:pt x="1228" y="818"/>
                  </a:lnTo>
                  <a:lnTo>
                    <a:pt x="1213" y="819"/>
                  </a:lnTo>
                  <a:lnTo>
                    <a:pt x="1198" y="821"/>
                  </a:lnTo>
                  <a:lnTo>
                    <a:pt x="1190" y="823"/>
                  </a:lnTo>
                  <a:lnTo>
                    <a:pt x="1183" y="821"/>
                  </a:lnTo>
                  <a:lnTo>
                    <a:pt x="1176" y="819"/>
                  </a:lnTo>
                  <a:lnTo>
                    <a:pt x="1170" y="814"/>
                  </a:lnTo>
                  <a:lnTo>
                    <a:pt x="1166" y="810"/>
                  </a:lnTo>
                  <a:lnTo>
                    <a:pt x="1162" y="805"/>
                  </a:lnTo>
                  <a:lnTo>
                    <a:pt x="1159" y="800"/>
                  </a:lnTo>
                  <a:lnTo>
                    <a:pt x="1156" y="796"/>
                  </a:lnTo>
                  <a:lnTo>
                    <a:pt x="1154" y="786"/>
                  </a:lnTo>
                  <a:lnTo>
                    <a:pt x="1153" y="777"/>
                  </a:lnTo>
                  <a:lnTo>
                    <a:pt x="1152" y="768"/>
                  </a:lnTo>
                  <a:lnTo>
                    <a:pt x="1152" y="759"/>
                  </a:lnTo>
                  <a:lnTo>
                    <a:pt x="1149" y="749"/>
                  </a:lnTo>
                  <a:lnTo>
                    <a:pt x="1146" y="739"/>
                  </a:lnTo>
                  <a:lnTo>
                    <a:pt x="1156" y="732"/>
                  </a:lnTo>
                  <a:lnTo>
                    <a:pt x="1166" y="724"/>
                  </a:lnTo>
                  <a:lnTo>
                    <a:pt x="1173" y="714"/>
                  </a:lnTo>
                  <a:lnTo>
                    <a:pt x="1177" y="706"/>
                  </a:lnTo>
                  <a:lnTo>
                    <a:pt x="1185" y="688"/>
                  </a:lnTo>
                  <a:lnTo>
                    <a:pt x="1191" y="669"/>
                  </a:lnTo>
                  <a:lnTo>
                    <a:pt x="1193" y="660"/>
                  </a:lnTo>
                  <a:lnTo>
                    <a:pt x="1197" y="650"/>
                  </a:lnTo>
                  <a:lnTo>
                    <a:pt x="1200" y="642"/>
                  </a:lnTo>
                  <a:lnTo>
                    <a:pt x="1205" y="634"/>
                  </a:lnTo>
                  <a:lnTo>
                    <a:pt x="1212" y="626"/>
                  </a:lnTo>
                  <a:lnTo>
                    <a:pt x="1219" y="618"/>
                  </a:lnTo>
                  <a:lnTo>
                    <a:pt x="1230" y="611"/>
                  </a:lnTo>
                  <a:lnTo>
                    <a:pt x="1241" y="605"/>
                  </a:lnTo>
                  <a:lnTo>
                    <a:pt x="1260" y="591"/>
                  </a:lnTo>
                  <a:lnTo>
                    <a:pt x="1291" y="563"/>
                  </a:lnTo>
                  <a:lnTo>
                    <a:pt x="1308" y="548"/>
                  </a:lnTo>
                  <a:lnTo>
                    <a:pt x="1322" y="534"/>
                  </a:lnTo>
                  <a:lnTo>
                    <a:pt x="1332" y="523"/>
                  </a:lnTo>
                  <a:lnTo>
                    <a:pt x="1338" y="516"/>
                  </a:lnTo>
                  <a:lnTo>
                    <a:pt x="1340" y="509"/>
                  </a:lnTo>
                  <a:lnTo>
                    <a:pt x="1342" y="504"/>
                  </a:lnTo>
                  <a:lnTo>
                    <a:pt x="1344" y="498"/>
                  </a:lnTo>
                  <a:lnTo>
                    <a:pt x="1345" y="493"/>
                  </a:lnTo>
                  <a:lnTo>
                    <a:pt x="1344" y="489"/>
                  </a:lnTo>
                  <a:lnTo>
                    <a:pt x="1344" y="484"/>
                  </a:lnTo>
                  <a:lnTo>
                    <a:pt x="1342" y="480"/>
                  </a:lnTo>
                  <a:lnTo>
                    <a:pt x="1340" y="477"/>
                  </a:lnTo>
                  <a:lnTo>
                    <a:pt x="1335" y="471"/>
                  </a:lnTo>
                  <a:lnTo>
                    <a:pt x="1328" y="465"/>
                  </a:lnTo>
                  <a:lnTo>
                    <a:pt x="1322" y="461"/>
                  </a:lnTo>
                  <a:lnTo>
                    <a:pt x="1315" y="455"/>
                  </a:lnTo>
                  <a:lnTo>
                    <a:pt x="1308" y="450"/>
                  </a:lnTo>
                  <a:lnTo>
                    <a:pt x="1301" y="445"/>
                  </a:lnTo>
                  <a:lnTo>
                    <a:pt x="1296" y="440"/>
                  </a:lnTo>
                  <a:lnTo>
                    <a:pt x="1294" y="433"/>
                  </a:lnTo>
                  <a:lnTo>
                    <a:pt x="1292" y="429"/>
                  </a:lnTo>
                  <a:lnTo>
                    <a:pt x="1294" y="425"/>
                  </a:lnTo>
                  <a:lnTo>
                    <a:pt x="1294" y="420"/>
                  </a:lnTo>
                  <a:lnTo>
                    <a:pt x="1296" y="415"/>
                  </a:lnTo>
                  <a:lnTo>
                    <a:pt x="1302" y="404"/>
                  </a:lnTo>
                  <a:lnTo>
                    <a:pt x="1311" y="391"/>
                  </a:lnTo>
                  <a:lnTo>
                    <a:pt x="1316" y="386"/>
                  </a:lnTo>
                  <a:lnTo>
                    <a:pt x="1320" y="383"/>
                  </a:lnTo>
                  <a:lnTo>
                    <a:pt x="1324" y="381"/>
                  </a:lnTo>
                  <a:lnTo>
                    <a:pt x="1327" y="380"/>
                  </a:lnTo>
                  <a:lnTo>
                    <a:pt x="1331" y="381"/>
                  </a:lnTo>
                  <a:lnTo>
                    <a:pt x="1334" y="383"/>
                  </a:lnTo>
                  <a:lnTo>
                    <a:pt x="1337" y="386"/>
                  </a:lnTo>
                  <a:lnTo>
                    <a:pt x="1340" y="388"/>
                  </a:lnTo>
                  <a:lnTo>
                    <a:pt x="1346" y="397"/>
                  </a:lnTo>
                  <a:lnTo>
                    <a:pt x="1352" y="406"/>
                  </a:lnTo>
                  <a:lnTo>
                    <a:pt x="1359" y="415"/>
                  </a:lnTo>
                  <a:lnTo>
                    <a:pt x="1367" y="425"/>
                  </a:lnTo>
                  <a:lnTo>
                    <a:pt x="1384" y="436"/>
                  </a:lnTo>
                  <a:lnTo>
                    <a:pt x="1403" y="449"/>
                  </a:lnTo>
                  <a:lnTo>
                    <a:pt x="1412" y="456"/>
                  </a:lnTo>
                  <a:lnTo>
                    <a:pt x="1419" y="464"/>
                  </a:lnTo>
                  <a:lnTo>
                    <a:pt x="1426" y="472"/>
                  </a:lnTo>
                  <a:lnTo>
                    <a:pt x="1430" y="480"/>
                  </a:lnTo>
                  <a:lnTo>
                    <a:pt x="1433" y="483"/>
                  </a:lnTo>
                  <a:lnTo>
                    <a:pt x="1436" y="484"/>
                  </a:lnTo>
                  <a:lnTo>
                    <a:pt x="1437" y="486"/>
                  </a:lnTo>
                  <a:lnTo>
                    <a:pt x="1438" y="489"/>
                  </a:lnTo>
                  <a:lnTo>
                    <a:pt x="1439" y="493"/>
                  </a:lnTo>
                  <a:lnTo>
                    <a:pt x="1440" y="499"/>
                  </a:lnTo>
                  <a:lnTo>
                    <a:pt x="1441" y="501"/>
                  </a:lnTo>
                  <a:lnTo>
                    <a:pt x="1444" y="504"/>
                  </a:lnTo>
                  <a:lnTo>
                    <a:pt x="1447" y="507"/>
                  </a:lnTo>
                  <a:lnTo>
                    <a:pt x="1452" y="508"/>
                  </a:lnTo>
                  <a:lnTo>
                    <a:pt x="1458" y="511"/>
                  </a:lnTo>
                  <a:lnTo>
                    <a:pt x="1466" y="512"/>
                  </a:lnTo>
                  <a:lnTo>
                    <a:pt x="1476" y="513"/>
                  </a:lnTo>
                  <a:lnTo>
                    <a:pt x="1488" y="513"/>
                  </a:lnTo>
                  <a:lnTo>
                    <a:pt x="1493" y="514"/>
                  </a:lnTo>
                  <a:lnTo>
                    <a:pt x="1500" y="516"/>
                  </a:lnTo>
                  <a:lnTo>
                    <a:pt x="1508" y="521"/>
                  </a:lnTo>
                  <a:lnTo>
                    <a:pt x="1517" y="527"/>
                  </a:lnTo>
                  <a:lnTo>
                    <a:pt x="1539" y="540"/>
                  </a:lnTo>
                  <a:lnTo>
                    <a:pt x="1562" y="551"/>
                  </a:lnTo>
                  <a:lnTo>
                    <a:pt x="1573" y="557"/>
                  </a:lnTo>
                  <a:lnTo>
                    <a:pt x="1585" y="562"/>
                  </a:lnTo>
                  <a:lnTo>
                    <a:pt x="1594" y="564"/>
                  </a:lnTo>
                  <a:lnTo>
                    <a:pt x="1603" y="565"/>
                  </a:lnTo>
                  <a:lnTo>
                    <a:pt x="1608" y="565"/>
                  </a:lnTo>
                  <a:lnTo>
                    <a:pt x="1611" y="564"/>
                  </a:lnTo>
                  <a:lnTo>
                    <a:pt x="1614" y="563"/>
                  </a:lnTo>
                  <a:lnTo>
                    <a:pt x="1616" y="561"/>
                  </a:lnTo>
                  <a:lnTo>
                    <a:pt x="1618" y="557"/>
                  </a:lnTo>
                  <a:lnTo>
                    <a:pt x="1621" y="554"/>
                  </a:lnTo>
                  <a:lnTo>
                    <a:pt x="1621" y="549"/>
                  </a:lnTo>
                  <a:lnTo>
                    <a:pt x="1622" y="544"/>
                  </a:lnTo>
                  <a:lnTo>
                    <a:pt x="1621" y="536"/>
                  </a:lnTo>
                  <a:lnTo>
                    <a:pt x="1618" y="528"/>
                  </a:lnTo>
                  <a:lnTo>
                    <a:pt x="1615" y="520"/>
                  </a:lnTo>
                  <a:lnTo>
                    <a:pt x="1610" y="512"/>
                  </a:lnTo>
                  <a:lnTo>
                    <a:pt x="1600" y="498"/>
                  </a:lnTo>
                  <a:lnTo>
                    <a:pt x="1590" y="485"/>
                  </a:lnTo>
                  <a:lnTo>
                    <a:pt x="1587" y="479"/>
                  </a:lnTo>
                  <a:lnTo>
                    <a:pt x="1585" y="475"/>
                  </a:lnTo>
                  <a:lnTo>
                    <a:pt x="1585" y="470"/>
                  </a:lnTo>
                  <a:lnTo>
                    <a:pt x="1586" y="466"/>
                  </a:lnTo>
                  <a:lnTo>
                    <a:pt x="1590" y="463"/>
                  </a:lnTo>
                  <a:lnTo>
                    <a:pt x="1596" y="462"/>
                  </a:lnTo>
                  <a:lnTo>
                    <a:pt x="1607" y="461"/>
                  </a:lnTo>
                  <a:lnTo>
                    <a:pt x="1620" y="461"/>
                  </a:lnTo>
                  <a:lnTo>
                    <a:pt x="1628" y="461"/>
                  </a:lnTo>
                  <a:lnTo>
                    <a:pt x="1635" y="463"/>
                  </a:lnTo>
                  <a:lnTo>
                    <a:pt x="1640" y="466"/>
                  </a:lnTo>
                  <a:lnTo>
                    <a:pt x="1644" y="470"/>
                  </a:lnTo>
                  <a:lnTo>
                    <a:pt x="1645" y="475"/>
                  </a:lnTo>
                  <a:lnTo>
                    <a:pt x="1646" y="479"/>
                  </a:lnTo>
                  <a:lnTo>
                    <a:pt x="1646" y="485"/>
                  </a:lnTo>
                  <a:lnTo>
                    <a:pt x="1646" y="491"/>
                  </a:lnTo>
                  <a:lnTo>
                    <a:pt x="1644" y="505"/>
                  </a:lnTo>
                  <a:lnTo>
                    <a:pt x="1642" y="519"/>
                  </a:lnTo>
                  <a:lnTo>
                    <a:pt x="1640" y="526"/>
                  </a:lnTo>
                  <a:lnTo>
                    <a:pt x="1640" y="533"/>
                  </a:lnTo>
                  <a:lnTo>
                    <a:pt x="1642" y="540"/>
                  </a:lnTo>
                  <a:lnTo>
                    <a:pt x="1643" y="546"/>
                  </a:lnTo>
                  <a:lnTo>
                    <a:pt x="1650" y="560"/>
                  </a:lnTo>
                  <a:lnTo>
                    <a:pt x="1659" y="572"/>
                  </a:lnTo>
                  <a:lnTo>
                    <a:pt x="1671" y="587"/>
                  </a:lnTo>
                  <a:lnTo>
                    <a:pt x="1685" y="601"/>
                  </a:lnTo>
                  <a:lnTo>
                    <a:pt x="1700" y="617"/>
                  </a:lnTo>
                  <a:lnTo>
                    <a:pt x="1717" y="631"/>
                  </a:lnTo>
                  <a:lnTo>
                    <a:pt x="1736" y="644"/>
                  </a:lnTo>
                  <a:lnTo>
                    <a:pt x="1755" y="658"/>
                  </a:lnTo>
                  <a:lnTo>
                    <a:pt x="1774" y="670"/>
                  </a:lnTo>
                  <a:lnTo>
                    <a:pt x="1794" y="682"/>
                  </a:lnTo>
                  <a:lnTo>
                    <a:pt x="1814" y="692"/>
                  </a:lnTo>
                  <a:lnTo>
                    <a:pt x="1833" y="700"/>
                  </a:lnTo>
                  <a:lnTo>
                    <a:pt x="1851" y="706"/>
                  </a:lnTo>
                  <a:lnTo>
                    <a:pt x="1869" y="711"/>
                  </a:lnTo>
                  <a:lnTo>
                    <a:pt x="1877" y="712"/>
                  </a:lnTo>
                  <a:lnTo>
                    <a:pt x="1885" y="713"/>
                  </a:lnTo>
                  <a:lnTo>
                    <a:pt x="1893" y="713"/>
                  </a:lnTo>
                  <a:lnTo>
                    <a:pt x="1900" y="712"/>
                  </a:lnTo>
                  <a:lnTo>
                    <a:pt x="1901" y="701"/>
                  </a:lnTo>
                  <a:lnTo>
                    <a:pt x="1905" y="685"/>
                  </a:lnTo>
                  <a:lnTo>
                    <a:pt x="1912" y="664"/>
                  </a:lnTo>
                  <a:lnTo>
                    <a:pt x="1919" y="642"/>
                  </a:lnTo>
                  <a:lnTo>
                    <a:pt x="1927" y="621"/>
                  </a:lnTo>
                  <a:lnTo>
                    <a:pt x="1936" y="604"/>
                  </a:lnTo>
                  <a:lnTo>
                    <a:pt x="1940" y="597"/>
                  </a:lnTo>
                  <a:lnTo>
                    <a:pt x="1944" y="591"/>
                  </a:lnTo>
                  <a:lnTo>
                    <a:pt x="1948" y="587"/>
                  </a:lnTo>
                  <a:lnTo>
                    <a:pt x="1951" y="586"/>
                  </a:lnTo>
                  <a:lnTo>
                    <a:pt x="1954" y="586"/>
                  </a:lnTo>
                  <a:lnTo>
                    <a:pt x="1955" y="589"/>
                  </a:lnTo>
                  <a:lnTo>
                    <a:pt x="1956" y="591"/>
                  </a:lnTo>
                  <a:lnTo>
                    <a:pt x="1957" y="594"/>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sz="1200" dirty="0"/>
            </a:p>
          </p:txBody>
        </p:sp>
        <p:sp>
          <p:nvSpPr>
            <p:cNvPr id="12" name="Freeform 99"/>
            <p:cNvSpPr>
              <a:spLocks/>
            </p:cNvSpPr>
            <p:nvPr/>
          </p:nvSpPr>
          <p:spPr bwMode="auto">
            <a:xfrm>
              <a:off x="3460636" y="3461919"/>
              <a:ext cx="1395319" cy="1152437"/>
            </a:xfrm>
            <a:custGeom>
              <a:avLst/>
              <a:gdLst>
                <a:gd name="T0" fmla="*/ 236 w 4165"/>
                <a:gd name="T1" fmla="*/ 2446 h 3442"/>
                <a:gd name="T2" fmla="*/ 142 w 4165"/>
                <a:gd name="T3" fmla="*/ 2030 h 3442"/>
                <a:gd name="T4" fmla="*/ 113 w 4165"/>
                <a:gd name="T5" fmla="*/ 1841 h 3442"/>
                <a:gd name="T6" fmla="*/ 128 w 4165"/>
                <a:gd name="T7" fmla="*/ 1693 h 3442"/>
                <a:gd name="T8" fmla="*/ 146 w 4165"/>
                <a:gd name="T9" fmla="*/ 1565 h 3442"/>
                <a:gd name="T10" fmla="*/ 62 w 4165"/>
                <a:gd name="T11" fmla="*/ 1538 h 3442"/>
                <a:gd name="T12" fmla="*/ 44 w 4165"/>
                <a:gd name="T13" fmla="*/ 1429 h 3442"/>
                <a:gd name="T14" fmla="*/ 56 w 4165"/>
                <a:gd name="T15" fmla="*/ 1344 h 3442"/>
                <a:gd name="T16" fmla="*/ 129 w 4165"/>
                <a:gd name="T17" fmla="*/ 1006 h 3442"/>
                <a:gd name="T18" fmla="*/ 263 w 4165"/>
                <a:gd name="T19" fmla="*/ 1030 h 3442"/>
                <a:gd name="T20" fmla="*/ 368 w 4165"/>
                <a:gd name="T21" fmla="*/ 875 h 3442"/>
                <a:gd name="T22" fmla="*/ 495 w 4165"/>
                <a:gd name="T23" fmla="*/ 786 h 3442"/>
                <a:gd name="T24" fmla="*/ 611 w 4165"/>
                <a:gd name="T25" fmla="*/ 720 h 3442"/>
                <a:gd name="T26" fmla="*/ 484 w 4165"/>
                <a:gd name="T27" fmla="*/ 481 h 3442"/>
                <a:gd name="T28" fmla="*/ 613 w 4165"/>
                <a:gd name="T29" fmla="*/ 389 h 3442"/>
                <a:gd name="T30" fmla="*/ 807 w 4165"/>
                <a:gd name="T31" fmla="*/ 254 h 3442"/>
                <a:gd name="T32" fmla="*/ 586 w 4165"/>
                <a:gd name="T33" fmla="*/ 281 h 3442"/>
                <a:gd name="T34" fmla="*/ 595 w 4165"/>
                <a:gd name="T35" fmla="*/ 160 h 3442"/>
                <a:gd name="T36" fmla="*/ 848 w 4165"/>
                <a:gd name="T37" fmla="*/ 2 h 3442"/>
                <a:gd name="T38" fmla="*/ 1052 w 4165"/>
                <a:gd name="T39" fmla="*/ 217 h 3442"/>
                <a:gd name="T40" fmla="*/ 1642 w 4165"/>
                <a:gd name="T41" fmla="*/ 343 h 3442"/>
                <a:gd name="T42" fmla="*/ 1827 w 4165"/>
                <a:gd name="T43" fmla="*/ 513 h 3442"/>
                <a:gd name="T44" fmla="*/ 2053 w 4165"/>
                <a:gd name="T45" fmla="*/ 320 h 3442"/>
                <a:gd name="T46" fmla="*/ 2440 w 4165"/>
                <a:gd name="T47" fmla="*/ 152 h 3442"/>
                <a:gd name="T48" fmla="*/ 2441 w 4165"/>
                <a:gd name="T49" fmla="*/ 328 h 3442"/>
                <a:gd name="T50" fmla="*/ 2908 w 4165"/>
                <a:gd name="T51" fmla="*/ 224 h 3442"/>
                <a:gd name="T52" fmla="*/ 3128 w 4165"/>
                <a:gd name="T53" fmla="*/ 282 h 3442"/>
                <a:gd name="T54" fmla="*/ 3427 w 4165"/>
                <a:gd name="T55" fmla="*/ 190 h 3442"/>
                <a:gd name="T56" fmla="*/ 3651 w 4165"/>
                <a:gd name="T57" fmla="*/ 250 h 3442"/>
                <a:gd name="T58" fmla="*/ 3916 w 4165"/>
                <a:gd name="T59" fmla="*/ 272 h 3442"/>
                <a:gd name="T60" fmla="*/ 3960 w 4165"/>
                <a:gd name="T61" fmla="*/ 500 h 3442"/>
                <a:gd name="T62" fmla="*/ 3976 w 4165"/>
                <a:gd name="T63" fmla="*/ 713 h 3442"/>
                <a:gd name="T64" fmla="*/ 4008 w 4165"/>
                <a:gd name="T65" fmla="*/ 931 h 3442"/>
                <a:gd name="T66" fmla="*/ 3999 w 4165"/>
                <a:gd name="T67" fmla="*/ 1066 h 3442"/>
                <a:gd name="T68" fmla="*/ 3947 w 4165"/>
                <a:gd name="T69" fmla="*/ 1184 h 3442"/>
                <a:gd name="T70" fmla="*/ 4069 w 4165"/>
                <a:gd name="T71" fmla="*/ 1279 h 3442"/>
                <a:gd name="T72" fmla="*/ 4159 w 4165"/>
                <a:gd name="T73" fmla="*/ 1411 h 3442"/>
                <a:gd name="T74" fmla="*/ 3928 w 4165"/>
                <a:gd name="T75" fmla="*/ 1493 h 3442"/>
                <a:gd name="T76" fmla="*/ 3792 w 4165"/>
                <a:gd name="T77" fmla="*/ 1789 h 3442"/>
                <a:gd name="T78" fmla="*/ 3682 w 4165"/>
                <a:gd name="T79" fmla="*/ 1529 h 3442"/>
                <a:gd name="T80" fmla="*/ 3548 w 4165"/>
                <a:gd name="T81" fmla="*/ 1310 h 3442"/>
                <a:gd name="T82" fmla="*/ 3349 w 4165"/>
                <a:gd name="T83" fmla="*/ 1308 h 3442"/>
                <a:gd name="T84" fmla="*/ 3232 w 4165"/>
                <a:gd name="T85" fmla="*/ 1389 h 3442"/>
                <a:gd name="T86" fmla="*/ 3065 w 4165"/>
                <a:gd name="T87" fmla="*/ 1222 h 3442"/>
                <a:gd name="T88" fmla="*/ 2862 w 4165"/>
                <a:gd name="T89" fmla="*/ 1189 h 3442"/>
                <a:gd name="T90" fmla="*/ 2845 w 4165"/>
                <a:gd name="T91" fmla="*/ 1404 h 3442"/>
                <a:gd name="T92" fmla="*/ 2697 w 4165"/>
                <a:gd name="T93" fmla="*/ 1483 h 3442"/>
                <a:gd name="T94" fmla="*/ 2610 w 4165"/>
                <a:gd name="T95" fmla="*/ 1687 h 3442"/>
                <a:gd name="T96" fmla="*/ 2500 w 4165"/>
                <a:gd name="T97" fmla="*/ 1906 h 3442"/>
                <a:gd name="T98" fmla="*/ 2353 w 4165"/>
                <a:gd name="T99" fmla="*/ 1923 h 3442"/>
                <a:gd name="T100" fmla="*/ 2193 w 4165"/>
                <a:gd name="T101" fmla="*/ 2091 h 3442"/>
                <a:gd name="T102" fmla="*/ 2031 w 4165"/>
                <a:gd name="T103" fmla="*/ 2319 h 3442"/>
                <a:gd name="T104" fmla="*/ 1887 w 4165"/>
                <a:gd name="T105" fmla="*/ 2404 h 3442"/>
                <a:gd name="T106" fmla="*/ 1876 w 4165"/>
                <a:gd name="T107" fmla="*/ 2544 h 3442"/>
                <a:gd name="T108" fmla="*/ 1579 w 4165"/>
                <a:gd name="T109" fmla="*/ 2489 h 3442"/>
                <a:gd name="T110" fmla="*/ 1366 w 4165"/>
                <a:gd name="T111" fmla="*/ 2734 h 3442"/>
                <a:gd name="T112" fmla="*/ 1104 w 4165"/>
                <a:gd name="T113" fmla="*/ 2801 h 3442"/>
                <a:gd name="T114" fmla="*/ 880 w 4165"/>
                <a:gd name="T115" fmla="*/ 2919 h 3442"/>
                <a:gd name="T116" fmla="*/ 860 w 4165"/>
                <a:gd name="T117" fmla="*/ 3079 h 3442"/>
                <a:gd name="T118" fmla="*/ 871 w 4165"/>
                <a:gd name="T119" fmla="*/ 3222 h 3442"/>
                <a:gd name="T120" fmla="*/ 737 w 4165"/>
                <a:gd name="T121" fmla="*/ 3373 h 3442"/>
                <a:gd name="T122" fmla="*/ 577 w 4165"/>
                <a:gd name="T123" fmla="*/ 3330 h 3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65" h="3442">
                  <a:moveTo>
                    <a:pt x="498" y="3380"/>
                  </a:moveTo>
                  <a:lnTo>
                    <a:pt x="492" y="3366"/>
                  </a:lnTo>
                  <a:lnTo>
                    <a:pt x="488" y="3351"/>
                  </a:lnTo>
                  <a:lnTo>
                    <a:pt x="481" y="3334"/>
                  </a:lnTo>
                  <a:lnTo>
                    <a:pt x="474" y="3319"/>
                  </a:lnTo>
                  <a:lnTo>
                    <a:pt x="468" y="3307"/>
                  </a:lnTo>
                  <a:lnTo>
                    <a:pt x="461" y="3296"/>
                  </a:lnTo>
                  <a:lnTo>
                    <a:pt x="443" y="3277"/>
                  </a:lnTo>
                  <a:lnTo>
                    <a:pt x="420" y="3250"/>
                  </a:lnTo>
                  <a:lnTo>
                    <a:pt x="414" y="3243"/>
                  </a:lnTo>
                  <a:lnTo>
                    <a:pt x="410" y="3234"/>
                  </a:lnTo>
                  <a:lnTo>
                    <a:pt x="405" y="3224"/>
                  </a:lnTo>
                  <a:lnTo>
                    <a:pt x="401" y="3214"/>
                  </a:lnTo>
                  <a:lnTo>
                    <a:pt x="396" y="3194"/>
                  </a:lnTo>
                  <a:lnTo>
                    <a:pt x="391" y="3174"/>
                  </a:lnTo>
                  <a:lnTo>
                    <a:pt x="311" y="2797"/>
                  </a:lnTo>
                  <a:lnTo>
                    <a:pt x="300" y="2753"/>
                  </a:lnTo>
                  <a:lnTo>
                    <a:pt x="289" y="2710"/>
                  </a:lnTo>
                  <a:lnTo>
                    <a:pt x="277" y="2666"/>
                  </a:lnTo>
                  <a:lnTo>
                    <a:pt x="265" y="2623"/>
                  </a:lnTo>
                  <a:lnTo>
                    <a:pt x="256" y="2580"/>
                  </a:lnTo>
                  <a:lnTo>
                    <a:pt x="247" y="2537"/>
                  </a:lnTo>
                  <a:lnTo>
                    <a:pt x="243" y="2513"/>
                  </a:lnTo>
                  <a:lnTo>
                    <a:pt x="241" y="2491"/>
                  </a:lnTo>
                  <a:lnTo>
                    <a:pt x="238" y="2469"/>
                  </a:lnTo>
                  <a:lnTo>
                    <a:pt x="236" y="2446"/>
                  </a:lnTo>
                  <a:lnTo>
                    <a:pt x="235" y="2416"/>
                  </a:lnTo>
                  <a:lnTo>
                    <a:pt x="231" y="2381"/>
                  </a:lnTo>
                  <a:lnTo>
                    <a:pt x="228" y="2342"/>
                  </a:lnTo>
                  <a:lnTo>
                    <a:pt x="222" y="2303"/>
                  </a:lnTo>
                  <a:lnTo>
                    <a:pt x="220" y="2283"/>
                  </a:lnTo>
                  <a:lnTo>
                    <a:pt x="215" y="2263"/>
                  </a:lnTo>
                  <a:lnTo>
                    <a:pt x="212" y="2244"/>
                  </a:lnTo>
                  <a:lnTo>
                    <a:pt x="207" y="2227"/>
                  </a:lnTo>
                  <a:lnTo>
                    <a:pt x="201" y="2211"/>
                  </a:lnTo>
                  <a:lnTo>
                    <a:pt x="195" y="2194"/>
                  </a:lnTo>
                  <a:lnTo>
                    <a:pt x="190" y="2180"/>
                  </a:lnTo>
                  <a:lnTo>
                    <a:pt x="183" y="2169"/>
                  </a:lnTo>
                  <a:lnTo>
                    <a:pt x="171" y="2151"/>
                  </a:lnTo>
                  <a:lnTo>
                    <a:pt x="159" y="2129"/>
                  </a:lnTo>
                  <a:lnTo>
                    <a:pt x="152" y="2118"/>
                  </a:lnTo>
                  <a:lnTo>
                    <a:pt x="148" y="2107"/>
                  </a:lnTo>
                  <a:lnTo>
                    <a:pt x="144" y="2097"/>
                  </a:lnTo>
                  <a:lnTo>
                    <a:pt x="142" y="2089"/>
                  </a:lnTo>
                  <a:lnTo>
                    <a:pt x="140" y="2079"/>
                  </a:lnTo>
                  <a:lnTo>
                    <a:pt x="137" y="2069"/>
                  </a:lnTo>
                  <a:lnTo>
                    <a:pt x="136" y="2058"/>
                  </a:lnTo>
                  <a:lnTo>
                    <a:pt x="136" y="2048"/>
                  </a:lnTo>
                  <a:lnTo>
                    <a:pt x="136" y="2043"/>
                  </a:lnTo>
                  <a:lnTo>
                    <a:pt x="137" y="2038"/>
                  </a:lnTo>
                  <a:lnTo>
                    <a:pt x="140" y="2034"/>
                  </a:lnTo>
                  <a:lnTo>
                    <a:pt x="142" y="2030"/>
                  </a:lnTo>
                  <a:lnTo>
                    <a:pt x="144" y="2027"/>
                  </a:lnTo>
                  <a:lnTo>
                    <a:pt x="148" y="2023"/>
                  </a:lnTo>
                  <a:lnTo>
                    <a:pt x="152" y="2021"/>
                  </a:lnTo>
                  <a:lnTo>
                    <a:pt x="158" y="2020"/>
                  </a:lnTo>
                  <a:lnTo>
                    <a:pt x="160" y="2019"/>
                  </a:lnTo>
                  <a:lnTo>
                    <a:pt x="163" y="2018"/>
                  </a:lnTo>
                  <a:lnTo>
                    <a:pt x="163" y="2016"/>
                  </a:lnTo>
                  <a:lnTo>
                    <a:pt x="163" y="2014"/>
                  </a:lnTo>
                  <a:lnTo>
                    <a:pt x="158" y="2009"/>
                  </a:lnTo>
                  <a:lnTo>
                    <a:pt x="152" y="2004"/>
                  </a:lnTo>
                  <a:lnTo>
                    <a:pt x="145" y="1997"/>
                  </a:lnTo>
                  <a:lnTo>
                    <a:pt x="137" y="1991"/>
                  </a:lnTo>
                  <a:lnTo>
                    <a:pt x="133" y="1985"/>
                  </a:lnTo>
                  <a:lnTo>
                    <a:pt x="129" y="1979"/>
                  </a:lnTo>
                  <a:lnTo>
                    <a:pt x="116" y="1949"/>
                  </a:lnTo>
                  <a:lnTo>
                    <a:pt x="105" y="1915"/>
                  </a:lnTo>
                  <a:lnTo>
                    <a:pt x="103" y="1907"/>
                  </a:lnTo>
                  <a:lnTo>
                    <a:pt x="103" y="1899"/>
                  </a:lnTo>
                  <a:lnTo>
                    <a:pt x="105" y="1893"/>
                  </a:lnTo>
                  <a:lnTo>
                    <a:pt x="108" y="1887"/>
                  </a:lnTo>
                  <a:lnTo>
                    <a:pt x="113" y="1883"/>
                  </a:lnTo>
                  <a:lnTo>
                    <a:pt x="121" y="1878"/>
                  </a:lnTo>
                  <a:lnTo>
                    <a:pt x="130" y="1876"/>
                  </a:lnTo>
                  <a:lnTo>
                    <a:pt x="143" y="1876"/>
                  </a:lnTo>
                  <a:lnTo>
                    <a:pt x="128" y="1859"/>
                  </a:lnTo>
                  <a:lnTo>
                    <a:pt x="113" y="1841"/>
                  </a:lnTo>
                  <a:lnTo>
                    <a:pt x="108" y="1827"/>
                  </a:lnTo>
                  <a:lnTo>
                    <a:pt x="103" y="1812"/>
                  </a:lnTo>
                  <a:lnTo>
                    <a:pt x="100" y="1798"/>
                  </a:lnTo>
                  <a:lnTo>
                    <a:pt x="94" y="1784"/>
                  </a:lnTo>
                  <a:lnTo>
                    <a:pt x="85" y="1765"/>
                  </a:lnTo>
                  <a:lnTo>
                    <a:pt x="80" y="1752"/>
                  </a:lnTo>
                  <a:lnTo>
                    <a:pt x="79" y="1748"/>
                  </a:lnTo>
                  <a:lnTo>
                    <a:pt x="79" y="1744"/>
                  </a:lnTo>
                  <a:lnTo>
                    <a:pt x="80" y="1742"/>
                  </a:lnTo>
                  <a:lnTo>
                    <a:pt x="82" y="1739"/>
                  </a:lnTo>
                  <a:lnTo>
                    <a:pt x="91" y="1738"/>
                  </a:lnTo>
                  <a:lnTo>
                    <a:pt x="102" y="1738"/>
                  </a:lnTo>
                  <a:lnTo>
                    <a:pt x="119" y="1738"/>
                  </a:lnTo>
                  <a:lnTo>
                    <a:pt x="140" y="1739"/>
                  </a:lnTo>
                  <a:lnTo>
                    <a:pt x="144" y="1738"/>
                  </a:lnTo>
                  <a:lnTo>
                    <a:pt x="149" y="1737"/>
                  </a:lnTo>
                  <a:lnTo>
                    <a:pt x="151" y="1736"/>
                  </a:lnTo>
                  <a:lnTo>
                    <a:pt x="152" y="1732"/>
                  </a:lnTo>
                  <a:lnTo>
                    <a:pt x="153" y="1730"/>
                  </a:lnTo>
                  <a:lnTo>
                    <a:pt x="152" y="1727"/>
                  </a:lnTo>
                  <a:lnTo>
                    <a:pt x="151" y="1723"/>
                  </a:lnTo>
                  <a:lnTo>
                    <a:pt x="150" y="1720"/>
                  </a:lnTo>
                  <a:lnTo>
                    <a:pt x="145" y="1711"/>
                  </a:lnTo>
                  <a:lnTo>
                    <a:pt x="140" y="1703"/>
                  </a:lnTo>
                  <a:lnTo>
                    <a:pt x="133" y="1697"/>
                  </a:lnTo>
                  <a:lnTo>
                    <a:pt x="128" y="1693"/>
                  </a:lnTo>
                  <a:lnTo>
                    <a:pt x="122" y="1687"/>
                  </a:lnTo>
                  <a:lnTo>
                    <a:pt x="117" y="1681"/>
                  </a:lnTo>
                  <a:lnTo>
                    <a:pt x="115" y="1677"/>
                  </a:lnTo>
                  <a:lnTo>
                    <a:pt x="115" y="1672"/>
                  </a:lnTo>
                  <a:lnTo>
                    <a:pt x="116" y="1667"/>
                  </a:lnTo>
                  <a:lnTo>
                    <a:pt x="119" y="1663"/>
                  </a:lnTo>
                  <a:lnTo>
                    <a:pt x="123" y="1659"/>
                  </a:lnTo>
                  <a:lnTo>
                    <a:pt x="128" y="1656"/>
                  </a:lnTo>
                  <a:lnTo>
                    <a:pt x="151" y="1642"/>
                  </a:lnTo>
                  <a:lnTo>
                    <a:pt x="174" y="1628"/>
                  </a:lnTo>
                  <a:lnTo>
                    <a:pt x="183" y="1621"/>
                  </a:lnTo>
                  <a:lnTo>
                    <a:pt x="187" y="1616"/>
                  </a:lnTo>
                  <a:lnTo>
                    <a:pt x="191" y="1613"/>
                  </a:lnTo>
                  <a:lnTo>
                    <a:pt x="192" y="1610"/>
                  </a:lnTo>
                  <a:lnTo>
                    <a:pt x="191" y="1608"/>
                  </a:lnTo>
                  <a:lnTo>
                    <a:pt x="188" y="1608"/>
                  </a:lnTo>
                  <a:lnTo>
                    <a:pt x="184" y="1607"/>
                  </a:lnTo>
                  <a:lnTo>
                    <a:pt x="179" y="1607"/>
                  </a:lnTo>
                  <a:lnTo>
                    <a:pt x="174" y="1606"/>
                  </a:lnTo>
                  <a:lnTo>
                    <a:pt x="169" y="1604"/>
                  </a:lnTo>
                  <a:lnTo>
                    <a:pt x="163" y="1601"/>
                  </a:lnTo>
                  <a:lnTo>
                    <a:pt x="158" y="1597"/>
                  </a:lnTo>
                  <a:lnTo>
                    <a:pt x="153" y="1593"/>
                  </a:lnTo>
                  <a:lnTo>
                    <a:pt x="150" y="1586"/>
                  </a:lnTo>
                  <a:lnTo>
                    <a:pt x="148" y="1576"/>
                  </a:lnTo>
                  <a:lnTo>
                    <a:pt x="146" y="1565"/>
                  </a:lnTo>
                  <a:lnTo>
                    <a:pt x="145" y="1556"/>
                  </a:lnTo>
                  <a:lnTo>
                    <a:pt x="144" y="1552"/>
                  </a:lnTo>
                  <a:lnTo>
                    <a:pt x="142" y="1553"/>
                  </a:lnTo>
                  <a:lnTo>
                    <a:pt x="138" y="1558"/>
                  </a:lnTo>
                  <a:lnTo>
                    <a:pt x="130" y="1575"/>
                  </a:lnTo>
                  <a:lnTo>
                    <a:pt x="119" y="1599"/>
                  </a:lnTo>
                  <a:lnTo>
                    <a:pt x="113" y="1610"/>
                  </a:lnTo>
                  <a:lnTo>
                    <a:pt x="106" y="1621"/>
                  </a:lnTo>
                  <a:lnTo>
                    <a:pt x="99" y="1629"/>
                  </a:lnTo>
                  <a:lnTo>
                    <a:pt x="92" y="1635"/>
                  </a:lnTo>
                  <a:lnTo>
                    <a:pt x="87" y="1637"/>
                  </a:lnTo>
                  <a:lnTo>
                    <a:pt x="84" y="1637"/>
                  </a:lnTo>
                  <a:lnTo>
                    <a:pt x="80" y="1637"/>
                  </a:lnTo>
                  <a:lnTo>
                    <a:pt x="77" y="1636"/>
                  </a:lnTo>
                  <a:lnTo>
                    <a:pt x="73" y="1632"/>
                  </a:lnTo>
                  <a:lnTo>
                    <a:pt x="69" y="1628"/>
                  </a:lnTo>
                  <a:lnTo>
                    <a:pt x="65" y="1622"/>
                  </a:lnTo>
                  <a:lnTo>
                    <a:pt x="62" y="1615"/>
                  </a:lnTo>
                  <a:lnTo>
                    <a:pt x="59" y="1609"/>
                  </a:lnTo>
                  <a:lnTo>
                    <a:pt x="58" y="1602"/>
                  </a:lnTo>
                  <a:lnTo>
                    <a:pt x="57" y="1596"/>
                  </a:lnTo>
                  <a:lnTo>
                    <a:pt x="56" y="1589"/>
                  </a:lnTo>
                  <a:lnTo>
                    <a:pt x="57" y="1576"/>
                  </a:lnTo>
                  <a:lnTo>
                    <a:pt x="58" y="1564"/>
                  </a:lnTo>
                  <a:lnTo>
                    <a:pt x="59" y="1551"/>
                  </a:lnTo>
                  <a:lnTo>
                    <a:pt x="62" y="1538"/>
                  </a:lnTo>
                  <a:lnTo>
                    <a:pt x="62" y="1525"/>
                  </a:lnTo>
                  <a:lnTo>
                    <a:pt x="59" y="1512"/>
                  </a:lnTo>
                  <a:lnTo>
                    <a:pt x="57" y="1498"/>
                  </a:lnTo>
                  <a:lnTo>
                    <a:pt x="55" y="1487"/>
                  </a:lnTo>
                  <a:lnTo>
                    <a:pt x="53" y="1481"/>
                  </a:lnTo>
                  <a:lnTo>
                    <a:pt x="53" y="1478"/>
                  </a:lnTo>
                  <a:lnTo>
                    <a:pt x="53" y="1474"/>
                  </a:lnTo>
                  <a:lnTo>
                    <a:pt x="55" y="1471"/>
                  </a:lnTo>
                  <a:lnTo>
                    <a:pt x="57" y="1467"/>
                  </a:lnTo>
                  <a:lnTo>
                    <a:pt x="60" y="1466"/>
                  </a:lnTo>
                  <a:lnTo>
                    <a:pt x="64" y="1464"/>
                  </a:lnTo>
                  <a:lnTo>
                    <a:pt x="69" y="1462"/>
                  </a:lnTo>
                  <a:lnTo>
                    <a:pt x="81" y="1460"/>
                  </a:lnTo>
                  <a:lnTo>
                    <a:pt x="100" y="1460"/>
                  </a:lnTo>
                  <a:lnTo>
                    <a:pt x="103" y="1460"/>
                  </a:lnTo>
                  <a:lnTo>
                    <a:pt x="107" y="1459"/>
                  </a:lnTo>
                  <a:lnTo>
                    <a:pt x="108" y="1458"/>
                  </a:lnTo>
                  <a:lnTo>
                    <a:pt x="109" y="1457"/>
                  </a:lnTo>
                  <a:lnTo>
                    <a:pt x="107" y="1452"/>
                  </a:lnTo>
                  <a:lnTo>
                    <a:pt x="103" y="1447"/>
                  </a:lnTo>
                  <a:lnTo>
                    <a:pt x="92" y="1439"/>
                  </a:lnTo>
                  <a:lnTo>
                    <a:pt x="85" y="1434"/>
                  </a:lnTo>
                  <a:lnTo>
                    <a:pt x="72" y="1431"/>
                  </a:lnTo>
                  <a:lnTo>
                    <a:pt x="58" y="1431"/>
                  </a:lnTo>
                  <a:lnTo>
                    <a:pt x="51" y="1430"/>
                  </a:lnTo>
                  <a:lnTo>
                    <a:pt x="44" y="1429"/>
                  </a:lnTo>
                  <a:lnTo>
                    <a:pt x="42" y="1428"/>
                  </a:lnTo>
                  <a:lnTo>
                    <a:pt x="39" y="1425"/>
                  </a:lnTo>
                  <a:lnTo>
                    <a:pt x="37" y="1423"/>
                  </a:lnTo>
                  <a:lnTo>
                    <a:pt x="36" y="1421"/>
                  </a:lnTo>
                  <a:lnTo>
                    <a:pt x="35" y="1417"/>
                  </a:lnTo>
                  <a:lnTo>
                    <a:pt x="34" y="1414"/>
                  </a:lnTo>
                  <a:lnTo>
                    <a:pt x="34" y="1410"/>
                  </a:lnTo>
                  <a:lnTo>
                    <a:pt x="35" y="1407"/>
                  </a:lnTo>
                  <a:lnTo>
                    <a:pt x="36" y="1401"/>
                  </a:lnTo>
                  <a:lnTo>
                    <a:pt x="38" y="1394"/>
                  </a:lnTo>
                  <a:lnTo>
                    <a:pt x="41" y="1388"/>
                  </a:lnTo>
                  <a:lnTo>
                    <a:pt x="44" y="1382"/>
                  </a:lnTo>
                  <a:lnTo>
                    <a:pt x="50" y="1377"/>
                  </a:lnTo>
                  <a:lnTo>
                    <a:pt x="56" y="1373"/>
                  </a:lnTo>
                  <a:lnTo>
                    <a:pt x="70" y="1366"/>
                  </a:lnTo>
                  <a:lnTo>
                    <a:pt x="81" y="1360"/>
                  </a:lnTo>
                  <a:lnTo>
                    <a:pt x="96" y="1352"/>
                  </a:lnTo>
                  <a:lnTo>
                    <a:pt x="109" y="1344"/>
                  </a:lnTo>
                  <a:lnTo>
                    <a:pt x="105" y="1337"/>
                  </a:lnTo>
                  <a:lnTo>
                    <a:pt x="100" y="1327"/>
                  </a:lnTo>
                  <a:lnTo>
                    <a:pt x="99" y="1329"/>
                  </a:lnTo>
                  <a:lnTo>
                    <a:pt x="98" y="1330"/>
                  </a:lnTo>
                  <a:lnTo>
                    <a:pt x="82" y="1336"/>
                  </a:lnTo>
                  <a:lnTo>
                    <a:pt x="69" y="1340"/>
                  </a:lnTo>
                  <a:lnTo>
                    <a:pt x="62" y="1343"/>
                  </a:lnTo>
                  <a:lnTo>
                    <a:pt x="56" y="1344"/>
                  </a:lnTo>
                  <a:lnTo>
                    <a:pt x="50" y="1344"/>
                  </a:lnTo>
                  <a:lnTo>
                    <a:pt x="44" y="1344"/>
                  </a:lnTo>
                  <a:lnTo>
                    <a:pt x="38" y="1343"/>
                  </a:lnTo>
                  <a:lnTo>
                    <a:pt x="34" y="1340"/>
                  </a:lnTo>
                  <a:lnTo>
                    <a:pt x="30" y="1338"/>
                  </a:lnTo>
                  <a:lnTo>
                    <a:pt x="27" y="1333"/>
                  </a:lnTo>
                  <a:lnTo>
                    <a:pt x="23" y="1327"/>
                  </a:lnTo>
                  <a:lnTo>
                    <a:pt x="20" y="1320"/>
                  </a:lnTo>
                  <a:lnTo>
                    <a:pt x="18" y="1312"/>
                  </a:lnTo>
                  <a:lnTo>
                    <a:pt x="16" y="1303"/>
                  </a:lnTo>
                  <a:lnTo>
                    <a:pt x="14" y="1273"/>
                  </a:lnTo>
                  <a:lnTo>
                    <a:pt x="11" y="1242"/>
                  </a:lnTo>
                  <a:lnTo>
                    <a:pt x="10" y="1212"/>
                  </a:lnTo>
                  <a:lnTo>
                    <a:pt x="8" y="1181"/>
                  </a:lnTo>
                  <a:lnTo>
                    <a:pt x="6" y="1155"/>
                  </a:lnTo>
                  <a:lnTo>
                    <a:pt x="2" y="1130"/>
                  </a:lnTo>
                  <a:lnTo>
                    <a:pt x="0" y="1104"/>
                  </a:lnTo>
                  <a:lnTo>
                    <a:pt x="0" y="1077"/>
                  </a:lnTo>
                  <a:lnTo>
                    <a:pt x="1" y="1061"/>
                  </a:lnTo>
                  <a:lnTo>
                    <a:pt x="4" y="1046"/>
                  </a:lnTo>
                  <a:lnTo>
                    <a:pt x="9" y="1031"/>
                  </a:lnTo>
                  <a:lnTo>
                    <a:pt x="15" y="1016"/>
                  </a:lnTo>
                  <a:lnTo>
                    <a:pt x="121" y="960"/>
                  </a:lnTo>
                  <a:lnTo>
                    <a:pt x="122" y="976"/>
                  </a:lnTo>
                  <a:lnTo>
                    <a:pt x="124" y="991"/>
                  </a:lnTo>
                  <a:lnTo>
                    <a:pt x="129" y="1006"/>
                  </a:lnTo>
                  <a:lnTo>
                    <a:pt x="135" y="1021"/>
                  </a:lnTo>
                  <a:lnTo>
                    <a:pt x="138" y="1027"/>
                  </a:lnTo>
                  <a:lnTo>
                    <a:pt x="142" y="1032"/>
                  </a:lnTo>
                  <a:lnTo>
                    <a:pt x="146" y="1035"/>
                  </a:lnTo>
                  <a:lnTo>
                    <a:pt x="152" y="1036"/>
                  </a:lnTo>
                  <a:lnTo>
                    <a:pt x="164" y="1040"/>
                  </a:lnTo>
                  <a:lnTo>
                    <a:pt x="177" y="1043"/>
                  </a:lnTo>
                  <a:lnTo>
                    <a:pt x="186" y="1047"/>
                  </a:lnTo>
                  <a:lnTo>
                    <a:pt x="195" y="1050"/>
                  </a:lnTo>
                  <a:lnTo>
                    <a:pt x="206" y="1055"/>
                  </a:lnTo>
                  <a:lnTo>
                    <a:pt x="214" y="1060"/>
                  </a:lnTo>
                  <a:lnTo>
                    <a:pt x="220" y="1063"/>
                  </a:lnTo>
                  <a:lnTo>
                    <a:pt x="226" y="1067"/>
                  </a:lnTo>
                  <a:lnTo>
                    <a:pt x="231" y="1069"/>
                  </a:lnTo>
                  <a:lnTo>
                    <a:pt x="237" y="1070"/>
                  </a:lnTo>
                  <a:lnTo>
                    <a:pt x="244" y="1070"/>
                  </a:lnTo>
                  <a:lnTo>
                    <a:pt x="250" y="1069"/>
                  </a:lnTo>
                  <a:lnTo>
                    <a:pt x="256" y="1067"/>
                  </a:lnTo>
                  <a:lnTo>
                    <a:pt x="261" y="1062"/>
                  </a:lnTo>
                  <a:lnTo>
                    <a:pt x="265" y="1059"/>
                  </a:lnTo>
                  <a:lnTo>
                    <a:pt x="266" y="1054"/>
                  </a:lnTo>
                  <a:lnTo>
                    <a:pt x="266" y="1049"/>
                  </a:lnTo>
                  <a:lnTo>
                    <a:pt x="265" y="1043"/>
                  </a:lnTo>
                  <a:lnTo>
                    <a:pt x="264" y="1039"/>
                  </a:lnTo>
                  <a:lnTo>
                    <a:pt x="263" y="1034"/>
                  </a:lnTo>
                  <a:lnTo>
                    <a:pt x="263" y="1030"/>
                  </a:lnTo>
                  <a:lnTo>
                    <a:pt x="264" y="1025"/>
                  </a:lnTo>
                  <a:lnTo>
                    <a:pt x="271" y="1011"/>
                  </a:lnTo>
                  <a:lnTo>
                    <a:pt x="275" y="999"/>
                  </a:lnTo>
                  <a:lnTo>
                    <a:pt x="278" y="993"/>
                  </a:lnTo>
                  <a:lnTo>
                    <a:pt x="283" y="989"/>
                  </a:lnTo>
                  <a:lnTo>
                    <a:pt x="289" y="985"/>
                  </a:lnTo>
                  <a:lnTo>
                    <a:pt x="298" y="983"/>
                  </a:lnTo>
                  <a:lnTo>
                    <a:pt x="314" y="981"/>
                  </a:lnTo>
                  <a:lnTo>
                    <a:pt x="329" y="981"/>
                  </a:lnTo>
                  <a:lnTo>
                    <a:pt x="344" y="979"/>
                  </a:lnTo>
                  <a:lnTo>
                    <a:pt x="360" y="977"/>
                  </a:lnTo>
                  <a:lnTo>
                    <a:pt x="365" y="974"/>
                  </a:lnTo>
                  <a:lnTo>
                    <a:pt x="370" y="971"/>
                  </a:lnTo>
                  <a:lnTo>
                    <a:pt x="373" y="967"/>
                  </a:lnTo>
                  <a:lnTo>
                    <a:pt x="375" y="963"/>
                  </a:lnTo>
                  <a:lnTo>
                    <a:pt x="376" y="959"/>
                  </a:lnTo>
                  <a:lnTo>
                    <a:pt x="375" y="954"/>
                  </a:lnTo>
                  <a:lnTo>
                    <a:pt x="373" y="948"/>
                  </a:lnTo>
                  <a:lnTo>
                    <a:pt x="371" y="943"/>
                  </a:lnTo>
                  <a:lnTo>
                    <a:pt x="361" y="921"/>
                  </a:lnTo>
                  <a:lnTo>
                    <a:pt x="354" y="903"/>
                  </a:lnTo>
                  <a:lnTo>
                    <a:pt x="354" y="897"/>
                  </a:lnTo>
                  <a:lnTo>
                    <a:pt x="355" y="891"/>
                  </a:lnTo>
                  <a:lnTo>
                    <a:pt x="357" y="886"/>
                  </a:lnTo>
                  <a:lnTo>
                    <a:pt x="361" y="882"/>
                  </a:lnTo>
                  <a:lnTo>
                    <a:pt x="368" y="875"/>
                  </a:lnTo>
                  <a:lnTo>
                    <a:pt x="376" y="867"/>
                  </a:lnTo>
                  <a:lnTo>
                    <a:pt x="382" y="860"/>
                  </a:lnTo>
                  <a:lnTo>
                    <a:pt x="385" y="854"/>
                  </a:lnTo>
                  <a:lnTo>
                    <a:pt x="387" y="847"/>
                  </a:lnTo>
                  <a:lnTo>
                    <a:pt x="389" y="841"/>
                  </a:lnTo>
                  <a:lnTo>
                    <a:pt x="391" y="827"/>
                  </a:lnTo>
                  <a:lnTo>
                    <a:pt x="394" y="812"/>
                  </a:lnTo>
                  <a:lnTo>
                    <a:pt x="389" y="796"/>
                  </a:lnTo>
                  <a:lnTo>
                    <a:pt x="382" y="777"/>
                  </a:lnTo>
                  <a:lnTo>
                    <a:pt x="377" y="769"/>
                  </a:lnTo>
                  <a:lnTo>
                    <a:pt x="375" y="760"/>
                  </a:lnTo>
                  <a:lnTo>
                    <a:pt x="373" y="751"/>
                  </a:lnTo>
                  <a:lnTo>
                    <a:pt x="373" y="743"/>
                  </a:lnTo>
                  <a:lnTo>
                    <a:pt x="375" y="739"/>
                  </a:lnTo>
                  <a:lnTo>
                    <a:pt x="376" y="736"/>
                  </a:lnTo>
                  <a:lnTo>
                    <a:pt x="378" y="734"/>
                  </a:lnTo>
                  <a:lnTo>
                    <a:pt x="382" y="733"/>
                  </a:lnTo>
                  <a:lnTo>
                    <a:pt x="385" y="733"/>
                  </a:lnTo>
                  <a:lnTo>
                    <a:pt x="389" y="733"/>
                  </a:lnTo>
                  <a:lnTo>
                    <a:pt x="393" y="734"/>
                  </a:lnTo>
                  <a:lnTo>
                    <a:pt x="399" y="736"/>
                  </a:lnTo>
                  <a:lnTo>
                    <a:pt x="422" y="749"/>
                  </a:lnTo>
                  <a:lnTo>
                    <a:pt x="450" y="765"/>
                  </a:lnTo>
                  <a:lnTo>
                    <a:pt x="465" y="773"/>
                  </a:lnTo>
                  <a:lnTo>
                    <a:pt x="479" y="780"/>
                  </a:lnTo>
                  <a:lnTo>
                    <a:pt x="495" y="786"/>
                  </a:lnTo>
                  <a:lnTo>
                    <a:pt x="509" y="791"/>
                  </a:lnTo>
                  <a:lnTo>
                    <a:pt x="515" y="792"/>
                  </a:lnTo>
                  <a:lnTo>
                    <a:pt x="522" y="792"/>
                  </a:lnTo>
                  <a:lnTo>
                    <a:pt x="529" y="792"/>
                  </a:lnTo>
                  <a:lnTo>
                    <a:pt x="535" y="791"/>
                  </a:lnTo>
                  <a:lnTo>
                    <a:pt x="541" y="789"/>
                  </a:lnTo>
                  <a:lnTo>
                    <a:pt x="547" y="785"/>
                  </a:lnTo>
                  <a:lnTo>
                    <a:pt x="552" y="780"/>
                  </a:lnTo>
                  <a:lnTo>
                    <a:pt x="556" y="775"/>
                  </a:lnTo>
                  <a:lnTo>
                    <a:pt x="559" y="770"/>
                  </a:lnTo>
                  <a:lnTo>
                    <a:pt x="561" y="765"/>
                  </a:lnTo>
                  <a:lnTo>
                    <a:pt x="562" y="761"/>
                  </a:lnTo>
                  <a:lnTo>
                    <a:pt x="562" y="756"/>
                  </a:lnTo>
                  <a:lnTo>
                    <a:pt x="562" y="748"/>
                  </a:lnTo>
                  <a:lnTo>
                    <a:pt x="562" y="741"/>
                  </a:lnTo>
                  <a:lnTo>
                    <a:pt x="563" y="739"/>
                  </a:lnTo>
                  <a:lnTo>
                    <a:pt x="563" y="735"/>
                  </a:lnTo>
                  <a:lnTo>
                    <a:pt x="566" y="733"/>
                  </a:lnTo>
                  <a:lnTo>
                    <a:pt x="568" y="730"/>
                  </a:lnTo>
                  <a:lnTo>
                    <a:pt x="573" y="729"/>
                  </a:lnTo>
                  <a:lnTo>
                    <a:pt x="577" y="727"/>
                  </a:lnTo>
                  <a:lnTo>
                    <a:pt x="584" y="726"/>
                  </a:lnTo>
                  <a:lnTo>
                    <a:pt x="592" y="725"/>
                  </a:lnTo>
                  <a:lnTo>
                    <a:pt x="599" y="723"/>
                  </a:lnTo>
                  <a:lnTo>
                    <a:pt x="605" y="722"/>
                  </a:lnTo>
                  <a:lnTo>
                    <a:pt x="611" y="720"/>
                  </a:lnTo>
                  <a:lnTo>
                    <a:pt x="614" y="718"/>
                  </a:lnTo>
                  <a:lnTo>
                    <a:pt x="619" y="714"/>
                  </a:lnTo>
                  <a:lnTo>
                    <a:pt x="621" y="711"/>
                  </a:lnTo>
                  <a:lnTo>
                    <a:pt x="624" y="706"/>
                  </a:lnTo>
                  <a:lnTo>
                    <a:pt x="626" y="701"/>
                  </a:lnTo>
                  <a:lnTo>
                    <a:pt x="627" y="691"/>
                  </a:lnTo>
                  <a:lnTo>
                    <a:pt x="627" y="678"/>
                  </a:lnTo>
                  <a:lnTo>
                    <a:pt x="626" y="666"/>
                  </a:lnTo>
                  <a:lnTo>
                    <a:pt x="623" y="652"/>
                  </a:lnTo>
                  <a:lnTo>
                    <a:pt x="619" y="638"/>
                  </a:lnTo>
                  <a:lnTo>
                    <a:pt x="613" y="625"/>
                  </a:lnTo>
                  <a:lnTo>
                    <a:pt x="607" y="611"/>
                  </a:lnTo>
                  <a:lnTo>
                    <a:pt x="602" y="598"/>
                  </a:lnTo>
                  <a:lnTo>
                    <a:pt x="591" y="574"/>
                  </a:lnTo>
                  <a:lnTo>
                    <a:pt x="582" y="557"/>
                  </a:lnTo>
                  <a:lnTo>
                    <a:pt x="576" y="548"/>
                  </a:lnTo>
                  <a:lnTo>
                    <a:pt x="568" y="540"/>
                  </a:lnTo>
                  <a:lnTo>
                    <a:pt x="559" y="533"/>
                  </a:lnTo>
                  <a:lnTo>
                    <a:pt x="549" y="527"/>
                  </a:lnTo>
                  <a:lnTo>
                    <a:pt x="539" y="521"/>
                  </a:lnTo>
                  <a:lnTo>
                    <a:pt x="529" y="515"/>
                  </a:lnTo>
                  <a:lnTo>
                    <a:pt x="520" y="509"/>
                  </a:lnTo>
                  <a:lnTo>
                    <a:pt x="511" y="502"/>
                  </a:lnTo>
                  <a:lnTo>
                    <a:pt x="496" y="491"/>
                  </a:lnTo>
                  <a:lnTo>
                    <a:pt x="485" y="483"/>
                  </a:lnTo>
                  <a:lnTo>
                    <a:pt x="484" y="481"/>
                  </a:lnTo>
                  <a:lnTo>
                    <a:pt x="484" y="480"/>
                  </a:lnTo>
                  <a:lnTo>
                    <a:pt x="485" y="479"/>
                  </a:lnTo>
                  <a:lnTo>
                    <a:pt x="488" y="478"/>
                  </a:lnTo>
                  <a:lnTo>
                    <a:pt x="497" y="477"/>
                  </a:lnTo>
                  <a:lnTo>
                    <a:pt x="513" y="477"/>
                  </a:lnTo>
                  <a:lnTo>
                    <a:pt x="528" y="476"/>
                  </a:lnTo>
                  <a:lnTo>
                    <a:pt x="539" y="474"/>
                  </a:lnTo>
                  <a:lnTo>
                    <a:pt x="542" y="473"/>
                  </a:lnTo>
                  <a:lnTo>
                    <a:pt x="546" y="472"/>
                  </a:lnTo>
                  <a:lnTo>
                    <a:pt x="548" y="471"/>
                  </a:lnTo>
                  <a:lnTo>
                    <a:pt x="550" y="469"/>
                  </a:lnTo>
                  <a:lnTo>
                    <a:pt x="553" y="463"/>
                  </a:lnTo>
                  <a:lnTo>
                    <a:pt x="554" y="456"/>
                  </a:lnTo>
                  <a:lnTo>
                    <a:pt x="554" y="446"/>
                  </a:lnTo>
                  <a:lnTo>
                    <a:pt x="555" y="435"/>
                  </a:lnTo>
                  <a:lnTo>
                    <a:pt x="556" y="432"/>
                  </a:lnTo>
                  <a:lnTo>
                    <a:pt x="557" y="430"/>
                  </a:lnTo>
                  <a:lnTo>
                    <a:pt x="560" y="428"/>
                  </a:lnTo>
                  <a:lnTo>
                    <a:pt x="563" y="427"/>
                  </a:lnTo>
                  <a:lnTo>
                    <a:pt x="573" y="422"/>
                  </a:lnTo>
                  <a:lnTo>
                    <a:pt x="583" y="417"/>
                  </a:lnTo>
                  <a:lnTo>
                    <a:pt x="592" y="412"/>
                  </a:lnTo>
                  <a:lnTo>
                    <a:pt x="603" y="405"/>
                  </a:lnTo>
                  <a:lnTo>
                    <a:pt x="606" y="400"/>
                  </a:lnTo>
                  <a:lnTo>
                    <a:pt x="610" y="395"/>
                  </a:lnTo>
                  <a:lnTo>
                    <a:pt x="613" y="389"/>
                  </a:lnTo>
                  <a:lnTo>
                    <a:pt x="614" y="384"/>
                  </a:lnTo>
                  <a:lnTo>
                    <a:pt x="616" y="374"/>
                  </a:lnTo>
                  <a:lnTo>
                    <a:pt x="616" y="364"/>
                  </a:lnTo>
                  <a:lnTo>
                    <a:pt x="614" y="356"/>
                  </a:lnTo>
                  <a:lnTo>
                    <a:pt x="612" y="346"/>
                  </a:lnTo>
                  <a:lnTo>
                    <a:pt x="610" y="338"/>
                  </a:lnTo>
                  <a:lnTo>
                    <a:pt x="609" y="329"/>
                  </a:lnTo>
                  <a:lnTo>
                    <a:pt x="607" y="321"/>
                  </a:lnTo>
                  <a:lnTo>
                    <a:pt x="609" y="311"/>
                  </a:lnTo>
                  <a:lnTo>
                    <a:pt x="621" y="313"/>
                  </a:lnTo>
                  <a:lnTo>
                    <a:pt x="633" y="314"/>
                  </a:lnTo>
                  <a:lnTo>
                    <a:pt x="645" y="316"/>
                  </a:lnTo>
                  <a:lnTo>
                    <a:pt x="658" y="320"/>
                  </a:lnTo>
                  <a:lnTo>
                    <a:pt x="669" y="321"/>
                  </a:lnTo>
                  <a:lnTo>
                    <a:pt x="682" y="322"/>
                  </a:lnTo>
                  <a:lnTo>
                    <a:pt x="688" y="322"/>
                  </a:lnTo>
                  <a:lnTo>
                    <a:pt x="695" y="321"/>
                  </a:lnTo>
                  <a:lnTo>
                    <a:pt x="701" y="320"/>
                  </a:lnTo>
                  <a:lnTo>
                    <a:pt x="706" y="317"/>
                  </a:lnTo>
                  <a:lnTo>
                    <a:pt x="722" y="310"/>
                  </a:lnTo>
                  <a:lnTo>
                    <a:pt x="742" y="300"/>
                  </a:lnTo>
                  <a:lnTo>
                    <a:pt x="766" y="286"/>
                  </a:lnTo>
                  <a:lnTo>
                    <a:pt x="788" y="271"/>
                  </a:lnTo>
                  <a:lnTo>
                    <a:pt x="797" y="264"/>
                  </a:lnTo>
                  <a:lnTo>
                    <a:pt x="804" y="258"/>
                  </a:lnTo>
                  <a:lnTo>
                    <a:pt x="807" y="254"/>
                  </a:lnTo>
                  <a:lnTo>
                    <a:pt x="808" y="252"/>
                  </a:lnTo>
                  <a:lnTo>
                    <a:pt x="809" y="250"/>
                  </a:lnTo>
                  <a:lnTo>
                    <a:pt x="808" y="247"/>
                  </a:lnTo>
                  <a:lnTo>
                    <a:pt x="808" y="245"/>
                  </a:lnTo>
                  <a:lnTo>
                    <a:pt x="805" y="244"/>
                  </a:lnTo>
                  <a:lnTo>
                    <a:pt x="802" y="243"/>
                  </a:lnTo>
                  <a:lnTo>
                    <a:pt x="797" y="243"/>
                  </a:lnTo>
                  <a:lnTo>
                    <a:pt x="784" y="243"/>
                  </a:lnTo>
                  <a:lnTo>
                    <a:pt x="767" y="245"/>
                  </a:lnTo>
                  <a:lnTo>
                    <a:pt x="746" y="247"/>
                  </a:lnTo>
                  <a:lnTo>
                    <a:pt x="727" y="249"/>
                  </a:lnTo>
                  <a:lnTo>
                    <a:pt x="709" y="247"/>
                  </a:lnTo>
                  <a:lnTo>
                    <a:pt x="688" y="244"/>
                  </a:lnTo>
                  <a:lnTo>
                    <a:pt x="683" y="243"/>
                  </a:lnTo>
                  <a:lnTo>
                    <a:pt x="678" y="244"/>
                  </a:lnTo>
                  <a:lnTo>
                    <a:pt x="674" y="245"/>
                  </a:lnTo>
                  <a:lnTo>
                    <a:pt x="669" y="247"/>
                  </a:lnTo>
                  <a:lnTo>
                    <a:pt x="659" y="254"/>
                  </a:lnTo>
                  <a:lnTo>
                    <a:pt x="647" y="261"/>
                  </a:lnTo>
                  <a:lnTo>
                    <a:pt x="635" y="268"/>
                  </a:lnTo>
                  <a:lnTo>
                    <a:pt x="624" y="275"/>
                  </a:lnTo>
                  <a:lnTo>
                    <a:pt x="617" y="279"/>
                  </a:lnTo>
                  <a:lnTo>
                    <a:pt x="611" y="280"/>
                  </a:lnTo>
                  <a:lnTo>
                    <a:pt x="604" y="282"/>
                  </a:lnTo>
                  <a:lnTo>
                    <a:pt x="597" y="282"/>
                  </a:lnTo>
                  <a:lnTo>
                    <a:pt x="586" y="281"/>
                  </a:lnTo>
                  <a:lnTo>
                    <a:pt x="577" y="279"/>
                  </a:lnTo>
                  <a:lnTo>
                    <a:pt x="568" y="275"/>
                  </a:lnTo>
                  <a:lnTo>
                    <a:pt x="561" y="270"/>
                  </a:lnTo>
                  <a:lnTo>
                    <a:pt x="559" y="267"/>
                  </a:lnTo>
                  <a:lnTo>
                    <a:pt x="556" y="264"/>
                  </a:lnTo>
                  <a:lnTo>
                    <a:pt x="554" y="259"/>
                  </a:lnTo>
                  <a:lnTo>
                    <a:pt x="554" y="256"/>
                  </a:lnTo>
                  <a:lnTo>
                    <a:pt x="553" y="251"/>
                  </a:lnTo>
                  <a:lnTo>
                    <a:pt x="554" y="245"/>
                  </a:lnTo>
                  <a:lnTo>
                    <a:pt x="555" y="240"/>
                  </a:lnTo>
                  <a:lnTo>
                    <a:pt x="557" y="235"/>
                  </a:lnTo>
                  <a:lnTo>
                    <a:pt x="563" y="217"/>
                  </a:lnTo>
                  <a:lnTo>
                    <a:pt x="568" y="208"/>
                  </a:lnTo>
                  <a:lnTo>
                    <a:pt x="570" y="203"/>
                  </a:lnTo>
                  <a:lnTo>
                    <a:pt x="575" y="200"/>
                  </a:lnTo>
                  <a:lnTo>
                    <a:pt x="581" y="195"/>
                  </a:lnTo>
                  <a:lnTo>
                    <a:pt x="591" y="190"/>
                  </a:lnTo>
                  <a:lnTo>
                    <a:pt x="598" y="186"/>
                  </a:lnTo>
                  <a:lnTo>
                    <a:pt x="603" y="182"/>
                  </a:lnTo>
                  <a:lnTo>
                    <a:pt x="605" y="179"/>
                  </a:lnTo>
                  <a:lnTo>
                    <a:pt x="607" y="175"/>
                  </a:lnTo>
                  <a:lnTo>
                    <a:pt x="607" y="173"/>
                  </a:lnTo>
                  <a:lnTo>
                    <a:pt x="606" y="171"/>
                  </a:lnTo>
                  <a:lnTo>
                    <a:pt x="604" y="167"/>
                  </a:lnTo>
                  <a:lnTo>
                    <a:pt x="602" y="165"/>
                  </a:lnTo>
                  <a:lnTo>
                    <a:pt x="595" y="160"/>
                  </a:lnTo>
                  <a:lnTo>
                    <a:pt x="586" y="154"/>
                  </a:lnTo>
                  <a:lnTo>
                    <a:pt x="580" y="149"/>
                  </a:lnTo>
                  <a:lnTo>
                    <a:pt x="574" y="143"/>
                  </a:lnTo>
                  <a:lnTo>
                    <a:pt x="571" y="136"/>
                  </a:lnTo>
                  <a:lnTo>
                    <a:pt x="570" y="129"/>
                  </a:lnTo>
                  <a:lnTo>
                    <a:pt x="570" y="123"/>
                  </a:lnTo>
                  <a:lnTo>
                    <a:pt x="573" y="117"/>
                  </a:lnTo>
                  <a:lnTo>
                    <a:pt x="575" y="112"/>
                  </a:lnTo>
                  <a:lnTo>
                    <a:pt x="578" y="107"/>
                  </a:lnTo>
                  <a:lnTo>
                    <a:pt x="582" y="102"/>
                  </a:lnTo>
                  <a:lnTo>
                    <a:pt x="586" y="97"/>
                  </a:lnTo>
                  <a:lnTo>
                    <a:pt x="598" y="89"/>
                  </a:lnTo>
                  <a:lnTo>
                    <a:pt x="610" y="82"/>
                  </a:lnTo>
                  <a:lnTo>
                    <a:pt x="621" y="75"/>
                  </a:lnTo>
                  <a:lnTo>
                    <a:pt x="632" y="69"/>
                  </a:lnTo>
                  <a:lnTo>
                    <a:pt x="699" y="47"/>
                  </a:lnTo>
                  <a:lnTo>
                    <a:pt x="710" y="47"/>
                  </a:lnTo>
                  <a:lnTo>
                    <a:pt x="722" y="46"/>
                  </a:lnTo>
                  <a:lnTo>
                    <a:pt x="732" y="44"/>
                  </a:lnTo>
                  <a:lnTo>
                    <a:pt x="742" y="41"/>
                  </a:lnTo>
                  <a:lnTo>
                    <a:pt x="763" y="34"/>
                  </a:lnTo>
                  <a:lnTo>
                    <a:pt x="786" y="25"/>
                  </a:lnTo>
                  <a:lnTo>
                    <a:pt x="807" y="16"/>
                  </a:lnTo>
                  <a:lnTo>
                    <a:pt x="827" y="8"/>
                  </a:lnTo>
                  <a:lnTo>
                    <a:pt x="838" y="4"/>
                  </a:lnTo>
                  <a:lnTo>
                    <a:pt x="848" y="2"/>
                  </a:lnTo>
                  <a:lnTo>
                    <a:pt x="859" y="1"/>
                  </a:lnTo>
                  <a:lnTo>
                    <a:pt x="869" y="0"/>
                  </a:lnTo>
                  <a:lnTo>
                    <a:pt x="872" y="3"/>
                  </a:lnTo>
                  <a:lnTo>
                    <a:pt x="874" y="7"/>
                  </a:lnTo>
                  <a:lnTo>
                    <a:pt x="876" y="10"/>
                  </a:lnTo>
                  <a:lnTo>
                    <a:pt x="880" y="12"/>
                  </a:lnTo>
                  <a:lnTo>
                    <a:pt x="888" y="17"/>
                  </a:lnTo>
                  <a:lnTo>
                    <a:pt x="896" y="21"/>
                  </a:lnTo>
                  <a:lnTo>
                    <a:pt x="904" y="24"/>
                  </a:lnTo>
                  <a:lnTo>
                    <a:pt x="911" y="28"/>
                  </a:lnTo>
                  <a:lnTo>
                    <a:pt x="916" y="30"/>
                  </a:lnTo>
                  <a:lnTo>
                    <a:pt x="918" y="33"/>
                  </a:lnTo>
                  <a:lnTo>
                    <a:pt x="917" y="78"/>
                  </a:lnTo>
                  <a:lnTo>
                    <a:pt x="917" y="124"/>
                  </a:lnTo>
                  <a:lnTo>
                    <a:pt x="918" y="135"/>
                  </a:lnTo>
                  <a:lnTo>
                    <a:pt x="921" y="145"/>
                  </a:lnTo>
                  <a:lnTo>
                    <a:pt x="924" y="156"/>
                  </a:lnTo>
                  <a:lnTo>
                    <a:pt x="930" y="166"/>
                  </a:lnTo>
                  <a:lnTo>
                    <a:pt x="937" y="174"/>
                  </a:lnTo>
                  <a:lnTo>
                    <a:pt x="946" y="183"/>
                  </a:lnTo>
                  <a:lnTo>
                    <a:pt x="958" y="190"/>
                  </a:lnTo>
                  <a:lnTo>
                    <a:pt x="971" y="197"/>
                  </a:lnTo>
                  <a:lnTo>
                    <a:pt x="994" y="206"/>
                  </a:lnTo>
                  <a:lnTo>
                    <a:pt x="1015" y="211"/>
                  </a:lnTo>
                  <a:lnTo>
                    <a:pt x="1033" y="215"/>
                  </a:lnTo>
                  <a:lnTo>
                    <a:pt x="1052" y="217"/>
                  </a:lnTo>
                  <a:lnTo>
                    <a:pt x="1091" y="220"/>
                  </a:lnTo>
                  <a:lnTo>
                    <a:pt x="1136" y="218"/>
                  </a:lnTo>
                  <a:lnTo>
                    <a:pt x="1146" y="220"/>
                  </a:lnTo>
                  <a:lnTo>
                    <a:pt x="1157" y="223"/>
                  </a:lnTo>
                  <a:lnTo>
                    <a:pt x="1166" y="228"/>
                  </a:lnTo>
                  <a:lnTo>
                    <a:pt x="1174" y="235"/>
                  </a:lnTo>
                  <a:lnTo>
                    <a:pt x="1191" y="251"/>
                  </a:lnTo>
                  <a:lnTo>
                    <a:pt x="1207" y="270"/>
                  </a:lnTo>
                  <a:lnTo>
                    <a:pt x="1216" y="279"/>
                  </a:lnTo>
                  <a:lnTo>
                    <a:pt x="1226" y="287"/>
                  </a:lnTo>
                  <a:lnTo>
                    <a:pt x="1235" y="296"/>
                  </a:lnTo>
                  <a:lnTo>
                    <a:pt x="1245" y="303"/>
                  </a:lnTo>
                  <a:lnTo>
                    <a:pt x="1257" y="310"/>
                  </a:lnTo>
                  <a:lnTo>
                    <a:pt x="1269" y="315"/>
                  </a:lnTo>
                  <a:lnTo>
                    <a:pt x="1283" y="318"/>
                  </a:lnTo>
                  <a:lnTo>
                    <a:pt x="1298" y="320"/>
                  </a:lnTo>
                  <a:lnTo>
                    <a:pt x="1315" y="321"/>
                  </a:lnTo>
                  <a:lnTo>
                    <a:pt x="1331" y="323"/>
                  </a:lnTo>
                  <a:lnTo>
                    <a:pt x="1349" y="328"/>
                  </a:lnTo>
                  <a:lnTo>
                    <a:pt x="1365" y="332"/>
                  </a:lnTo>
                  <a:lnTo>
                    <a:pt x="1382" y="336"/>
                  </a:lnTo>
                  <a:lnTo>
                    <a:pt x="1398" y="341"/>
                  </a:lnTo>
                  <a:lnTo>
                    <a:pt x="1415" y="343"/>
                  </a:lnTo>
                  <a:lnTo>
                    <a:pt x="1432" y="344"/>
                  </a:lnTo>
                  <a:lnTo>
                    <a:pt x="1612" y="342"/>
                  </a:lnTo>
                  <a:lnTo>
                    <a:pt x="1642" y="343"/>
                  </a:lnTo>
                  <a:lnTo>
                    <a:pt x="1668" y="343"/>
                  </a:lnTo>
                  <a:lnTo>
                    <a:pt x="1680" y="342"/>
                  </a:lnTo>
                  <a:lnTo>
                    <a:pt x="1689" y="343"/>
                  </a:lnTo>
                  <a:lnTo>
                    <a:pt x="1698" y="343"/>
                  </a:lnTo>
                  <a:lnTo>
                    <a:pt x="1706" y="345"/>
                  </a:lnTo>
                  <a:lnTo>
                    <a:pt x="1713" y="348"/>
                  </a:lnTo>
                  <a:lnTo>
                    <a:pt x="1720" y="352"/>
                  </a:lnTo>
                  <a:lnTo>
                    <a:pt x="1725" y="358"/>
                  </a:lnTo>
                  <a:lnTo>
                    <a:pt x="1731" y="365"/>
                  </a:lnTo>
                  <a:lnTo>
                    <a:pt x="1735" y="375"/>
                  </a:lnTo>
                  <a:lnTo>
                    <a:pt x="1739" y="387"/>
                  </a:lnTo>
                  <a:lnTo>
                    <a:pt x="1744" y="401"/>
                  </a:lnTo>
                  <a:lnTo>
                    <a:pt x="1747" y="419"/>
                  </a:lnTo>
                  <a:lnTo>
                    <a:pt x="1749" y="430"/>
                  </a:lnTo>
                  <a:lnTo>
                    <a:pt x="1752" y="442"/>
                  </a:lnTo>
                  <a:lnTo>
                    <a:pt x="1756" y="452"/>
                  </a:lnTo>
                  <a:lnTo>
                    <a:pt x="1760" y="463"/>
                  </a:lnTo>
                  <a:lnTo>
                    <a:pt x="1766" y="472"/>
                  </a:lnTo>
                  <a:lnTo>
                    <a:pt x="1771" y="481"/>
                  </a:lnTo>
                  <a:lnTo>
                    <a:pt x="1777" y="490"/>
                  </a:lnTo>
                  <a:lnTo>
                    <a:pt x="1784" y="497"/>
                  </a:lnTo>
                  <a:lnTo>
                    <a:pt x="1791" y="502"/>
                  </a:lnTo>
                  <a:lnTo>
                    <a:pt x="1799" y="507"/>
                  </a:lnTo>
                  <a:lnTo>
                    <a:pt x="1809" y="510"/>
                  </a:lnTo>
                  <a:lnTo>
                    <a:pt x="1817" y="513"/>
                  </a:lnTo>
                  <a:lnTo>
                    <a:pt x="1827" y="513"/>
                  </a:lnTo>
                  <a:lnTo>
                    <a:pt x="1838" y="512"/>
                  </a:lnTo>
                  <a:lnTo>
                    <a:pt x="1848" y="509"/>
                  </a:lnTo>
                  <a:lnTo>
                    <a:pt x="1860" y="505"/>
                  </a:lnTo>
                  <a:lnTo>
                    <a:pt x="1998" y="437"/>
                  </a:lnTo>
                  <a:lnTo>
                    <a:pt x="2009" y="431"/>
                  </a:lnTo>
                  <a:lnTo>
                    <a:pt x="2016" y="426"/>
                  </a:lnTo>
                  <a:lnTo>
                    <a:pt x="2018" y="423"/>
                  </a:lnTo>
                  <a:lnTo>
                    <a:pt x="2019" y="421"/>
                  </a:lnTo>
                  <a:lnTo>
                    <a:pt x="2019" y="417"/>
                  </a:lnTo>
                  <a:lnTo>
                    <a:pt x="2021" y="415"/>
                  </a:lnTo>
                  <a:lnTo>
                    <a:pt x="2018" y="409"/>
                  </a:lnTo>
                  <a:lnTo>
                    <a:pt x="2016" y="403"/>
                  </a:lnTo>
                  <a:lnTo>
                    <a:pt x="2012" y="398"/>
                  </a:lnTo>
                  <a:lnTo>
                    <a:pt x="2008" y="392"/>
                  </a:lnTo>
                  <a:lnTo>
                    <a:pt x="2003" y="386"/>
                  </a:lnTo>
                  <a:lnTo>
                    <a:pt x="2000" y="380"/>
                  </a:lnTo>
                  <a:lnTo>
                    <a:pt x="1997" y="374"/>
                  </a:lnTo>
                  <a:lnTo>
                    <a:pt x="1996" y="368"/>
                  </a:lnTo>
                  <a:lnTo>
                    <a:pt x="1997" y="365"/>
                  </a:lnTo>
                  <a:lnTo>
                    <a:pt x="1998" y="362"/>
                  </a:lnTo>
                  <a:lnTo>
                    <a:pt x="2000" y="358"/>
                  </a:lnTo>
                  <a:lnTo>
                    <a:pt x="2002" y="356"/>
                  </a:lnTo>
                  <a:lnTo>
                    <a:pt x="2010" y="349"/>
                  </a:lnTo>
                  <a:lnTo>
                    <a:pt x="2021" y="341"/>
                  </a:lnTo>
                  <a:lnTo>
                    <a:pt x="2038" y="330"/>
                  </a:lnTo>
                  <a:lnTo>
                    <a:pt x="2053" y="320"/>
                  </a:lnTo>
                  <a:lnTo>
                    <a:pt x="2066" y="307"/>
                  </a:lnTo>
                  <a:lnTo>
                    <a:pt x="2079" y="294"/>
                  </a:lnTo>
                  <a:lnTo>
                    <a:pt x="2101" y="268"/>
                  </a:lnTo>
                  <a:lnTo>
                    <a:pt x="2122" y="242"/>
                  </a:lnTo>
                  <a:lnTo>
                    <a:pt x="2132" y="229"/>
                  </a:lnTo>
                  <a:lnTo>
                    <a:pt x="2144" y="216"/>
                  </a:lnTo>
                  <a:lnTo>
                    <a:pt x="2158" y="204"/>
                  </a:lnTo>
                  <a:lnTo>
                    <a:pt x="2172" y="193"/>
                  </a:lnTo>
                  <a:lnTo>
                    <a:pt x="2188" y="182"/>
                  </a:lnTo>
                  <a:lnTo>
                    <a:pt x="2207" y="174"/>
                  </a:lnTo>
                  <a:lnTo>
                    <a:pt x="2229" y="166"/>
                  </a:lnTo>
                  <a:lnTo>
                    <a:pt x="2253" y="160"/>
                  </a:lnTo>
                  <a:lnTo>
                    <a:pt x="2276" y="154"/>
                  </a:lnTo>
                  <a:lnTo>
                    <a:pt x="2301" y="146"/>
                  </a:lnTo>
                  <a:lnTo>
                    <a:pt x="2329" y="139"/>
                  </a:lnTo>
                  <a:lnTo>
                    <a:pt x="2357" y="132"/>
                  </a:lnTo>
                  <a:lnTo>
                    <a:pt x="2371" y="131"/>
                  </a:lnTo>
                  <a:lnTo>
                    <a:pt x="2385" y="130"/>
                  </a:lnTo>
                  <a:lnTo>
                    <a:pt x="2398" y="131"/>
                  </a:lnTo>
                  <a:lnTo>
                    <a:pt x="2409" y="133"/>
                  </a:lnTo>
                  <a:lnTo>
                    <a:pt x="2415" y="135"/>
                  </a:lnTo>
                  <a:lnTo>
                    <a:pt x="2421" y="137"/>
                  </a:lnTo>
                  <a:lnTo>
                    <a:pt x="2426" y="140"/>
                  </a:lnTo>
                  <a:lnTo>
                    <a:pt x="2431" y="144"/>
                  </a:lnTo>
                  <a:lnTo>
                    <a:pt x="2435" y="147"/>
                  </a:lnTo>
                  <a:lnTo>
                    <a:pt x="2440" y="152"/>
                  </a:lnTo>
                  <a:lnTo>
                    <a:pt x="2443" y="158"/>
                  </a:lnTo>
                  <a:lnTo>
                    <a:pt x="2447" y="164"/>
                  </a:lnTo>
                  <a:lnTo>
                    <a:pt x="2456" y="183"/>
                  </a:lnTo>
                  <a:lnTo>
                    <a:pt x="2466" y="213"/>
                  </a:lnTo>
                  <a:lnTo>
                    <a:pt x="2470" y="227"/>
                  </a:lnTo>
                  <a:lnTo>
                    <a:pt x="2471" y="239"/>
                  </a:lnTo>
                  <a:lnTo>
                    <a:pt x="2471" y="244"/>
                  </a:lnTo>
                  <a:lnTo>
                    <a:pt x="2469" y="247"/>
                  </a:lnTo>
                  <a:lnTo>
                    <a:pt x="2468" y="250"/>
                  </a:lnTo>
                  <a:lnTo>
                    <a:pt x="2464" y="251"/>
                  </a:lnTo>
                  <a:lnTo>
                    <a:pt x="2451" y="251"/>
                  </a:lnTo>
                  <a:lnTo>
                    <a:pt x="2440" y="252"/>
                  </a:lnTo>
                  <a:lnTo>
                    <a:pt x="2430" y="253"/>
                  </a:lnTo>
                  <a:lnTo>
                    <a:pt x="2422" y="256"/>
                  </a:lnTo>
                  <a:lnTo>
                    <a:pt x="2416" y="258"/>
                  </a:lnTo>
                  <a:lnTo>
                    <a:pt x="2412" y="261"/>
                  </a:lnTo>
                  <a:lnTo>
                    <a:pt x="2407" y="265"/>
                  </a:lnTo>
                  <a:lnTo>
                    <a:pt x="2405" y="268"/>
                  </a:lnTo>
                  <a:lnTo>
                    <a:pt x="2404" y="272"/>
                  </a:lnTo>
                  <a:lnTo>
                    <a:pt x="2402" y="277"/>
                  </a:lnTo>
                  <a:lnTo>
                    <a:pt x="2404" y="281"/>
                  </a:lnTo>
                  <a:lnTo>
                    <a:pt x="2405" y="286"/>
                  </a:lnTo>
                  <a:lnTo>
                    <a:pt x="2411" y="296"/>
                  </a:lnTo>
                  <a:lnTo>
                    <a:pt x="2419" y="307"/>
                  </a:lnTo>
                  <a:lnTo>
                    <a:pt x="2429" y="317"/>
                  </a:lnTo>
                  <a:lnTo>
                    <a:pt x="2441" y="328"/>
                  </a:lnTo>
                  <a:lnTo>
                    <a:pt x="2454" y="337"/>
                  </a:lnTo>
                  <a:lnTo>
                    <a:pt x="2468" y="345"/>
                  </a:lnTo>
                  <a:lnTo>
                    <a:pt x="2480" y="352"/>
                  </a:lnTo>
                  <a:lnTo>
                    <a:pt x="2493" y="358"/>
                  </a:lnTo>
                  <a:lnTo>
                    <a:pt x="2504" y="362"/>
                  </a:lnTo>
                  <a:lnTo>
                    <a:pt x="2513" y="362"/>
                  </a:lnTo>
                  <a:lnTo>
                    <a:pt x="2556" y="360"/>
                  </a:lnTo>
                  <a:lnTo>
                    <a:pt x="2594" y="358"/>
                  </a:lnTo>
                  <a:lnTo>
                    <a:pt x="2613" y="356"/>
                  </a:lnTo>
                  <a:lnTo>
                    <a:pt x="2631" y="352"/>
                  </a:lnTo>
                  <a:lnTo>
                    <a:pt x="2647" y="349"/>
                  </a:lnTo>
                  <a:lnTo>
                    <a:pt x="2664" y="345"/>
                  </a:lnTo>
                  <a:lnTo>
                    <a:pt x="2681" y="341"/>
                  </a:lnTo>
                  <a:lnTo>
                    <a:pt x="2697" y="335"/>
                  </a:lnTo>
                  <a:lnTo>
                    <a:pt x="2713" y="328"/>
                  </a:lnTo>
                  <a:lnTo>
                    <a:pt x="2729" y="320"/>
                  </a:lnTo>
                  <a:lnTo>
                    <a:pt x="2746" y="310"/>
                  </a:lnTo>
                  <a:lnTo>
                    <a:pt x="2763" y="300"/>
                  </a:lnTo>
                  <a:lnTo>
                    <a:pt x="2781" y="288"/>
                  </a:lnTo>
                  <a:lnTo>
                    <a:pt x="2799" y="274"/>
                  </a:lnTo>
                  <a:lnTo>
                    <a:pt x="2824" y="261"/>
                  </a:lnTo>
                  <a:lnTo>
                    <a:pt x="2867" y="238"/>
                  </a:lnTo>
                  <a:lnTo>
                    <a:pt x="2878" y="233"/>
                  </a:lnTo>
                  <a:lnTo>
                    <a:pt x="2889" y="229"/>
                  </a:lnTo>
                  <a:lnTo>
                    <a:pt x="2899" y="225"/>
                  </a:lnTo>
                  <a:lnTo>
                    <a:pt x="2908" y="224"/>
                  </a:lnTo>
                  <a:lnTo>
                    <a:pt x="2916" y="224"/>
                  </a:lnTo>
                  <a:lnTo>
                    <a:pt x="2922" y="225"/>
                  </a:lnTo>
                  <a:lnTo>
                    <a:pt x="2924" y="228"/>
                  </a:lnTo>
                  <a:lnTo>
                    <a:pt x="2925" y="230"/>
                  </a:lnTo>
                  <a:lnTo>
                    <a:pt x="2926" y="233"/>
                  </a:lnTo>
                  <a:lnTo>
                    <a:pt x="2926" y="237"/>
                  </a:lnTo>
                  <a:lnTo>
                    <a:pt x="2927" y="246"/>
                  </a:lnTo>
                  <a:lnTo>
                    <a:pt x="2929" y="253"/>
                  </a:lnTo>
                  <a:lnTo>
                    <a:pt x="2932" y="260"/>
                  </a:lnTo>
                  <a:lnTo>
                    <a:pt x="2936" y="265"/>
                  </a:lnTo>
                  <a:lnTo>
                    <a:pt x="2941" y="268"/>
                  </a:lnTo>
                  <a:lnTo>
                    <a:pt x="2947" y="271"/>
                  </a:lnTo>
                  <a:lnTo>
                    <a:pt x="2953" y="272"/>
                  </a:lnTo>
                  <a:lnTo>
                    <a:pt x="2960" y="273"/>
                  </a:lnTo>
                  <a:lnTo>
                    <a:pt x="2976" y="273"/>
                  </a:lnTo>
                  <a:lnTo>
                    <a:pt x="2993" y="273"/>
                  </a:lnTo>
                  <a:lnTo>
                    <a:pt x="3002" y="274"/>
                  </a:lnTo>
                  <a:lnTo>
                    <a:pt x="3010" y="274"/>
                  </a:lnTo>
                  <a:lnTo>
                    <a:pt x="3019" y="277"/>
                  </a:lnTo>
                  <a:lnTo>
                    <a:pt x="3027" y="279"/>
                  </a:lnTo>
                  <a:lnTo>
                    <a:pt x="3040" y="281"/>
                  </a:lnTo>
                  <a:lnTo>
                    <a:pt x="3055" y="284"/>
                  </a:lnTo>
                  <a:lnTo>
                    <a:pt x="3073" y="286"/>
                  </a:lnTo>
                  <a:lnTo>
                    <a:pt x="3091" y="286"/>
                  </a:lnTo>
                  <a:lnTo>
                    <a:pt x="3110" y="285"/>
                  </a:lnTo>
                  <a:lnTo>
                    <a:pt x="3128" y="282"/>
                  </a:lnTo>
                  <a:lnTo>
                    <a:pt x="3135" y="280"/>
                  </a:lnTo>
                  <a:lnTo>
                    <a:pt x="3142" y="278"/>
                  </a:lnTo>
                  <a:lnTo>
                    <a:pt x="3147" y="275"/>
                  </a:lnTo>
                  <a:lnTo>
                    <a:pt x="3152" y="272"/>
                  </a:lnTo>
                  <a:lnTo>
                    <a:pt x="3165" y="260"/>
                  </a:lnTo>
                  <a:lnTo>
                    <a:pt x="3173" y="252"/>
                  </a:lnTo>
                  <a:lnTo>
                    <a:pt x="3180" y="247"/>
                  </a:lnTo>
                  <a:lnTo>
                    <a:pt x="3185" y="245"/>
                  </a:lnTo>
                  <a:lnTo>
                    <a:pt x="3197" y="240"/>
                  </a:lnTo>
                  <a:lnTo>
                    <a:pt x="3222" y="231"/>
                  </a:lnTo>
                  <a:lnTo>
                    <a:pt x="3243" y="221"/>
                  </a:lnTo>
                  <a:lnTo>
                    <a:pt x="3263" y="209"/>
                  </a:lnTo>
                  <a:lnTo>
                    <a:pt x="3279" y="197"/>
                  </a:lnTo>
                  <a:lnTo>
                    <a:pt x="3296" y="187"/>
                  </a:lnTo>
                  <a:lnTo>
                    <a:pt x="3305" y="183"/>
                  </a:lnTo>
                  <a:lnTo>
                    <a:pt x="3313" y="179"/>
                  </a:lnTo>
                  <a:lnTo>
                    <a:pt x="3322" y="176"/>
                  </a:lnTo>
                  <a:lnTo>
                    <a:pt x="3331" y="175"/>
                  </a:lnTo>
                  <a:lnTo>
                    <a:pt x="3341" y="174"/>
                  </a:lnTo>
                  <a:lnTo>
                    <a:pt x="3350" y="175"/>
                  </a:lnTo>
                  <a:lnTo>
                    <a:pt x="3362" y="178"/>
                  </a:lnTo>
                  <a:lnTo>
                    <a:pt x="3372" y="181"/>
                  </a:lnTo>
                  <a:lnTo>
                    <a:pt x="3389" y="187"/>
                  </a:lnTo>
                  <a:lnTo>
                    <a:pt x="3403" y="189"/>
                  </a:lnTo>
                  <a:lnTo>
                    <a:pt x="3415" y="189"/>
                  </a:lnTo>
                  <a:lnTo>
                    <a:pt x="3427" y="190"/>
                  </a:lnTo>
                  <a:lnTo>
                    <a:pt x="3431" y="192"/>
                  </a:lnTo>
                  <a:lnTo>
                    <a:pt x="3436" y="193"/>
                  </a:lnTo>
                  <a:lnTo>
                    <a:pt x="3441" y="194"/>
                  </a:lnTo>
                  <a:lnTo>
                    <a:pt x="3447" y="197"/>
                  </a:lnTo>
                  <a:lnTo>
                    <a:pt x="3452" y="201"/>
                  </a:lnTo>
                  <a:lnTo>
                    <a:pt x="3458" y="207"/>
                  </a:lnTo>
                  <a:lnTo>
                    <a:pt x="3464" y="213"/>
                  </a:lnTo>
                  <a:lnTo>
                    <a:pt x="3471" y="221"/>
                  </a:lnTo>
                  <a:lnTo>
                    <a:pt x="3480" y="231"/>
                  </a:lnTo>
                  <a:lnTo>
                    <a:pt x="3490" y="239"/>
                  </a:lnTo>
                  <a:lnTo>
                    <a:pt x="3498" y="244"/>
                  </a:lnTo>
                  <a:lnTo>
                    <a:pt x="3506" y="245"/>
                  </a:lnTo>
                  <a:lnTo>
                    <a:pt x="3514" y="245"/>
                  </a:lnTo>
                  <a:lnTo>
                    <a:pt x="3522" y="244"/>
                  </a:lnTo>
                  <a:lnTo>
                    <a:pt x="3530" y="242"/>
                  </a:lnTo>
                  <a:lnTo>
                    <a:pt x="3538" y="238"/>
                  </a:lnTo>
                  <a:lnTo>
                    <a:pt x="3547" y="235"/>
                  </a:lnTo>
                  <a:lnTo>
                    <a:pt x="3556" y="231"/>
                  </a:lnTo>
                  <a:lnTo>
                    <a:pt x="3566" y="229"/>
                  </a:lnTo>
                  <a:lnTo>
                    <a:pt x="3577" y="228"/>
                  </a:lnTo>
                  <a:lnTo>
                    <a:pt x="3589" y="228"/>
                  </a:lnTo>
                  <a:lnTo>
                    <a:pt x="3601" y="230"/>
                  </a:lnTo>
                  <a:lnTo>
                    <a:pt x="3615" y="236"/>
                  </a:lnTo>
                  <a:lnTo>
                    <a:pt x="3630" y="244"/>
                  </a:lnTo>
                  <a:lnTo>
                    <a:pt x="3640" y="247"/>
                  </a:lnTo>
                  <a:lnTo>
                    <a:pt x="3651" y="250"/>
                  </a:lnTo>
                  <a:lnTo>
                    <a:pt x="3665" y="251"/>
                  </a:lnTo>
                  <a:lnTo>
                    <a:pt x="3682" y="251"/>
                  </a:lnTo>
                  <a:lnTo>
                    <a:pt x="3713" y="251"/>
                  </a:lnTo>
                  <a:lnTo>
                    <a:pt x="3739" y="252"/>
                  </a:lnTo>
                  <a:lnTo>
                    <a:pt x="3747" y="253"/>
                  </a:lnTo>
                  <a:lnTo>
                    <a:pt x="3754" y="252"/>
                  </a:lnTo>
                  <a:lnTo>
                    <a:pt x="3761" y="250"/>
                  </a:lnTo>
                  <a:lnTo>
                    <a:pt x="3767" y="247"/>
                  </a:lnTo>
                  <a:lnTo>
                    <a:pt x="3778" y="238"/>
                  </a:lnTo>
                  <a:lnTo>
                    <a:pt x="3789" y="229"/>
                  </a:lnTo>
                  <a:lnTo>
                    <a:pt x="3799" y="218"/>
                  </a:lnTo>
                  <a:lnTo>
                    <a:pt x="3811" y="210"/>
                  </a:lnTo>
                  <a:lnTo>
                    <a:pt x="3818" y="207"/>
                  </a:lnTo>
                  <a:lnTo>
                    <a:pt x="3826" y="203"/>
                  </a:lnTo>
                  <a:lnTo>
                    <a:pt x="3834" y="202"/>
                  </a:lnTo>
                  <a:lnTo>
                    <a:pt x="3845" y="201"/>
                  </a:lnTo>
                  <a:lnTo>
                    <a:pt x="3855" y="206"/>
                  </a:lnTo>
                  <a:lnTo>
                    <a:pt x="3864" y="211"/>
                  </a:lnTo>
                  <a:lnTo>
                    <a:pt x="3873" y="216"/>
                  </a:lnTo>
                  <a:lnTo>
                    <a:pt x="3880" y="222"/>
                  </a:lnTo>
                  <a:lnTo>
                    <a:pt x="3887" y="228"/>
                  </a:lnTo>
                  <a:lnTo>
                    <a:pt x="3894" y="235"/>
                  </a:lnTo>
                  <a:lnTo>
                    <a:pt x="3900" y="243"/>
                  </a:lnTo>
                  <a:lnTo>
                    <a:pt x="3906" y="252"/>
                  </a:lnTo>
                  <a:lnTo>
                    <a:pt x="3912" y="263"/>
                  </a:lnTo>
                  <a:lnTo>
                    <a:pt x="3916" y="272"/>
                  </a:lnTo>
                  <a:lnTo>
                    <a:pt x="3920" y="282"/>
                  </a:lnTo>
                  <a:lnTo>
                    <a:pt x="3926" y="292"/>
                  </a:lnTo>
                  <a:lnTo>
                    <a:pt x="3932" y="299"/>
                  </a:lnTo>
                  <a:lnTo>
                    <a:pt x="3939" y="304"/>
                  </a:lnTo>
                  <a:lnTo>
                    <a:pt x="3946" y="311"/>
                  </a:lnTo>
                  <a:lnTo>
                    <a:pt x="3954" y="317"/>
                  </a:lnTo>
                  <a:lnTo>
                    <a:pt x="3971" y="328"/>
                  </a:lnTo>
                  <a:lnTo>
                    <a:pt x="3990" y="338"/>
                  </a:lnTo>
                  <a:lnTo>
                    <a:pt x="4010" y="348"/>
                  </a:lnTo>
                  <a:lnTo>
                    <a:pt x="4030" y="356"/>
                  </a:lnTo>
                  <a:lnTo>
                    <a:pt x="4048" y="362"/>
                  </a:lnTo>
                  <a:lnTo>
                    <a:pt x="4067" y="367"/>
                  </a:lnTo>
                  <a:lnTo>
                    <a:pt x="4065" y="374"/>
                  </a:lnTo>
                  <a:lnTo>
                    <a:pt x="4061" y="381"/>
                  </a:lnTo>
                  <a:lnTo>
                    <a:pt x="4058" y="388"/>
                  </a:lnTo>
                  <a:lnTo>
                    <a:pt x="4053" y="394"/>
                  </a:lnTo>
                  <a:lnTo>
                    <a:pt x="4041" y="406"/>
                  </a:lnTo>
                  <a:lnTo>
                    <a:pt x="4027" y="417"/>
                  </a:lnTo>
                  <a:lnTo>
                    <a:pt x="4013" y="428"/>
                  </a:lnTo>
                  <a:lnTo>
                    <a:pt x="3999" y="438"/>
                  </a:lnTo>
                  <a:lnTo>
                    <a:pt x="3987" y="449"/>
                  </a:lnTo>
                  <a:lnTo>
                    <a:pt x="3976" y="460"/>
                  </a:lnTo>
                  <a:lnTo>
                    <a:pt x="3969" y="471"/>
                  </a:lnTo>
                  <a:lnTo>
                    <a:pt x="3965" y="481"/>
                  </a:lnTo>
                  <a:lnTo>
                    <a:pt x="3962" y="491"/>
                  </a:lnTo>
                  <a:lnTo>
                    <a:pt x="3960" y="500"/>
                  </a:lnTo>
                  <a:lnTo>
                    <a:pt x="3960" y="520"/>
                  </a:lnTo>
                  <a:lnTo>
                    <a:pt x="3959" y="542"/>
                  </a:lnTo>
                  <a:lnTo>
                    <a:pt x="3956" y="550"/>
                  </a:lnTo>
                  <a:lnTo>
                    <a:pt x="3954" y="558"/>
                  </a:lnTo>
                  <a:lnTo>
                    <a:pt x="3953" y="563"/>
                  </a:lnTo>
                  <a:lnTo>
                    <a:pt x="3953" y="567"/>
                  </a:lnTo>
                  <a:lnTo>
                    <a:pt x="3954" y="571"/>
                  </a:lnTo>
                  <a:lnTo>
                    <a:pt x="3955" y="576"/>
                  </a:lnTo>
                  <a:lnTo>
                    <a:pt x="3958" y="579"/>
                  </a:lnTo>
                  <a:lnTo>
                    <a:pt x="3960" y="581"/>
                  </a:lnTo>
                  <a:lnTo>
                    <a:pt x="3962" y="583"/>
                  </a:lnTo>
                  <a:lnTo>
                    <a:pt x="3966" y="585"/>
                  </a:lnTo>
                  <a:lnTo>
                    <a:pt x="3973" y="587"/>
                  </a:lnTo>
                  <a:lnTo>
                    <a:pt x="3980" y="590"/>
                  </a:lnTo>
                  <a:lnTo>
                    <a:pt x="3987" y="592"/>
                  </a:lnTo>
                  <a:lnTo>
                    <a:pt x="3992" y="595"/>
                  </a:lnTo>
                  <a:lnTo>
                    <a:pt x="3995" y="599"/>
                  </a:lnTo>
                  <a:lnTo>
                    <a:pt x="3996" y="601"/>
                  </a:lnTo>
                  <a:lnTo>
                    <a:pt x="3997" y="606"/>
                  </a:lnTo>
                  <a:lnTo>
                    <a:pt x="3998" y="611"/>
                  </a:lnTo>
                  <a:lnTo>
                    <a:pt x="3997" y="622"/>
                  </a:lnTo>
                  <a:lnTo>
                    <a:pt x="3996" y="635"/>
                  </a:lnTo>
                  <a:lnTo>
                    <a:pt x="3994" y="649"/>
                  </a:lnTo>
                  <a:lnTo>
                    <a:pt x="3990" y="662"/>
                  </a:lnTo>
                  <a:lnTo>
                    <a:pt x="3983" y="689"/>
                  </a:lnTo>
                  <a:lnTo>
                    <a:pt x="3976" y="713"/>
                  </a:lnTo>
                  <a:lnTo>
                    <a:pt x="3973" y="725"/>
                  </a:lnTo>
                  <a:lnTo>
                    <a:pt x="3970" y="735"/>
                  </a:lnTo>
                  <a:lnTo>
                    <a:pt x="3970" y="742"/>
                  </a:lnTo>
                  <a:lnTo>
                    <a:pt x="3969" y="748"/>
                  </a:lnTo>
                  <a:lnTo>
                    <a:pt x="3970" y="753"/>
                  </a:lnTo>
                  <a:lnTo>
                    <a:pt x="3973" y="756"/>
                  </a:lnTo>
                  <a:lnTo>
                    <a:pt x="3975" y="757"/>
                  </a:lnTo>
                  <a:lnTo>
                    <a:pt x="3978" y="757"/>
                  </a:lnTo>
                  <a:lnTo>
                    <a:pt x="3987" y="755"/>
                  </a:lnTo>
                  <a:lnTo>
                    <a:pt x="3997" y="750"/>
                  </a:lnTo>
                  <a:lnTo>
                    <a:pt x="4009" y="744"/>
                  </a:lnTo>
                  <a:lnTo>
                    <a:pt x="4022" y="737"/>
                  </a:lnTo>
                  <a:lnTo>
                    <a:pt x="4024" y="760"/>
                  </a:lnTo>
                  <a:lnTo>
                    <a:pt x="4026" y="778"/>
                  </a:lnTo>
                  <a:lnTo>
                    <a:pt x="4027" y="798"/>
                  </a:lnTo>
                  <a:lnTo>
                    <a:pt x="4029" y="815"/>
                  </a:lnTo>
                  <a:lnTo>
                    <a:pt x="4027" y="834"/>
                  </a:lnTo>
                  <a:lnTo>
                    <a:pt x="4027" y="853"/>
                  </a:lnTo>
                  <a:lnTo>
                    <a:pt x="4025" y="872"/>
                  </a:lnTo>
                  <a:lnTo>
                    <a:pt x="4023" y="895"/>
                  </a:lnTo>
                  <a:lnTo>
                    <a:pt x="4022" y="903"/>
                  </a:lnTo>
                  <a:lnTo>
                    <a:pt x="4019" y="910"/>
                  </a:lnTo>
                  <a:lnTo>
                    <a:pt x="4017" y="917"/>
                  </a:lnTo>
                  <a:lnTo>
                    <a:pt x="4015" y="921"/>
                  </a:lnTo>
                  <a:lnTo>
                    <a:pt x="4011" y="926"/>
                  </a:lnTo>
                  <a:lnTo>
                    <a:pt x="4008" y="931"/>
                  </a:lnTo>
                  <a:lnTo>
                    <a:pt x="4003" y="934"/>
                  </a:lnTo>
                  <a:lnTo>
                    <a:pt x="3999" y="938"/>
                  </a:lnTo>
                  <a:lnTo>
                    <a:pt x="3978" y="949"/>
                  </a:lnTo>
                  <a:lnTo>
                    <a:pt x="3953" y="964"/>
                  </a:lnTo>
                  <a:lnTo>
                    <a:pt x="3940" y="975"/>
                  </a:lnTo>
                  <a:lnTo>
                    <a:pt x="3933" y="984"/>
                  </a:lnTo>
                  <a:lnTo>
                    <a:pt x="3931" y="989"/>
                  </a:lnTo>
                  <a:lnTo>
                    <a:pt x="3928" y="992"/>
                  </a:lnTo>
                  <a:lnTo>
                    <a:pt x="3928" y="996"/>
                  </a:lnTo>
                  <a:lnTo>
                    <a:pt x="3928" y="999"/>
                  </a:lnTo>
                  <a:lnTo>
                    <a:pt x="3930" y="1002"/>
                  </a:lnTo>
                  <a:lnTo>
                    <a:pt x="3932" y="1005"/>
                  </a:lnTo>
                  <a:lnTo>
                    <a:pt x="3934" y="1007"/>
                  </a:lnTo>
                  <a:lnTo>
                    <a:pt x="3937" y="1010"/>
                  </a:lnTo>
                  <a:lnTo>
                    <a:pt x="3944" y="1014"/>
                  </a:lnTo>
                  <a:lnTo>
                    <a:pt x="3953" y="1019"/>
                  </a:lnTo>
                  <a:lnTo>
                    <a:pt x="3961" y="1024"/>
                  </a:lnTo>
                  <a:lnTo>
                    <a:pt x="3970" y="1028"/>
                  </a:lnTo>
                  <a:lnTo>
                    <a:pt x="3980" y="1034"/>
                  </a:lnTo>
                  <a:lnTo>
                    <a:pt x="3988" y="1040"/>
                  </a:lnTo>
                  <a:lnTo>
                    <a:pt x="3991" y="1043"/>
                  </a:lnTo>
                  <a:lnTo>
                    <a:pt x="3994" y="1048"/>
                  </a:lnTo>
                  <a:lnTo>
                    <a:pt x="3996" y="1052"/>
                  </a:lnTo>
                  <a:lnTo>
                    <a:pt x="3998" y="1056"/>
                  </a:lnTo>
                  <a:lnTo>
                    <a:pt x="3998" y="1061"/>
                  </a:lnTo>
                  <a:lnTo>
                    <a:pt x="3999" y="1066"/>
                  </a:lnTo>
                  <a:lnTo>
                    <a:pt x="3998" y="1071"/>
                  </a:lnTo>
                  <a:lnTo>
                    <a:pt x="3997" y="1077"/>
                  </a:lnTo>
                  <a:lnTo>
                    <a:pt x="3995" y="1090"/>
                  </a:lnTo>
                  <a:lnTo>
                    <a:pt x="3992" y="1106"/>
                  </a:lnTo>
                  <a:lnTo>
                    <a:pt x="3991" y="1114"/>
                  </a:lnTo>
                  <a:lnTo>
                    <a:pt x="3990" y="1123"/>
                  </a:lnTo>
                  <a:lnTo>
                    <a:pt x="3989" y="1128"/>
                  </a:lnTo>
                  <a:lnTo>
                    <a:pt x="3987" y="1133"/>
                  </a:lnTo>
                  <a:lnTo>
                    <a:pt x="3985" y="1134"/>
                  </a:lnTo>
                  <a:lnTo>
                    <a:pt x="3983" y="1135"/>
                  </a:lnTo>
                  <a:lnTo>
                    <a:pt x="3981" y="1135"/>
                  </a:lnTo>
                  <a:lnTo>
                    <a:pt x="3977" y="1135"/>
                  </a:lnTo>
                  <a:lnTo>
                    <a:pt x="3970" y="1133"/>
                  </a:lnTo>
                  <a:lnTo>
                    <a:pt x="3962" y="1132"/>
                  </a:lnTo>
                  <a:lnTo>
                    <a:pt x="3955" y="1131"/>
                  </a:lnTo>
                  <a:lnTo>
                    <a:pt x="3948" y="1133"/>
                  </a:lnTo>
                  <a:lnTo>
                    <a:pt x="3946" y="1134"/>
                  </a:lnTo>
                  <a:lnTo>
                    <a:pt x="3944" y="1137"/>
                  </a:lnTo>
                  <a:lnTo>
                    <a:pt x="3942" y="1140"/>
                  </a:lnTo>
                  <a:lnTo>
                    <a:pt x="3941" y="1145"/>
                  </a:lnTo>
                  <a:lnTo>
                    <a:pt x="3948" y="1156"/>
                  </a:lnTo>
                  <a:lnTo>
                    <a:pt x="3955" y="1168"/>
                  </a:lnTo>
                  <a:lnTo>
                    <a:pt x="3954" y="1173"/>
                  </a:lnTo>
                  <a:lnTo>
                    <a:pt x="3953" y="1177"/>
                  </a:lnTo>
                  <a:lnTo>
                    <a:pt x="3951" y="1181"/>
                  </a:lnTo>
                  <a:lnTo>
                    <a:pt x="3947" y="1184"/>
                  </a:lnTo>
                  <a:lnTo>
                    <a:pt x="3945" y="1189"/>
                  </a:lnTo>
                  <a:lnTo>
                    <a:pt x="3944" y="1194"/>
                  </a:lnTo>
                  <a:lnTo>
                    <a:pt x="3942" y="1199"/>
                  </a:lnTo>
                  <a:lnTo>
                    <a:pt x="3944" y="1205"/>
                  </a:lnTo>
                  <a:lnTo>
                    <a:pt x="3945" y="1209"/>
                  </a:lnTo>
                  <a:lnTo>
                    <a:pt x="3947" y="1210"/>
                  </a:lnTo>
                  <a:lnTo>
                    <a:pt x="3951" y="1210"/>
                  </a:lnTo>
                  <a:lnTo>
                    <a:pt x="3954" y="1210"/>
                  </a:lnTo>
                  <a:lnTo>
                    <a:pt x="3962" y="1206"/>
                  </a:lnTo>
                  <a:lnTo>
                    <a:pt x="3973" y="1203"/>
                  </a:lnTo>
                  <a:lnTo>
                    <a:pt x="3983" y="1199"/>
                  </a:lnTo>
                  <a:lnTo>
                    <a:pt x="3994" y="1197"/>
                  </a:lnTo>
                  <a:lnTo>
                    <a:pt x="3998" y="1198"/>
                  </a:lnTo>
                  <a:lnTo>
                    <a:pt x="4003" y="1201"/>
                  </a:lnTo>
                  <a:lnTo>
                    <a:pt x="4006" y="1203"/>
                  </a:lnTo>
                  <a:lnTo>
                    <a:pt x="4010" y="1209"/>
                  </a:lnTo>
                  <a:lnTo>
                    <a:pt x="4016" y="1217"/>
                  </a:lnTo>
                  <a:lnTo>
                    <a:pt x="4022" y="1224"/>
                  </a:lnTo>
                  <a:lnTo>
                    <a:pt x="4030" y="1231"/>
                  </a:lnTo>
                  <a:lnTo>
                    <a:pt x="4037" y="1237"/>
                  </a:lnTo>
                  <a:lnTo>
                    <a:pt x="4053" y="1249"/>
                  </a:lnTo>
                  <a:lnTo>
                    <a:pt x="4068" y="1262"/>
                  </a:lnTo>
                  <a:lnTo>
                    <a:pt x="4072" y="1267"/>
                  </a:lnTo>
                  <a:lnTo>
                    <a:pt x="4073" y="1270"/>
                  </a:lnTo>
                  <a:lnTo>
                    <a:pt x="4072" y="1275"/>
                  </a:lnTo>
                  <a:lnTo>
                    <a:pt x="4069" y="1279"/>
                  </a:lnTo>
                  <a:lnTo>
                    <a:pt x="4063" y="1287"/>
                  </a:lnTo>
                  <a:lnTo>
                    <a:pt x="4058" y="1294"/>
                  </a:lnTo>
                  <a:lnTo>
                    <a:pt x="4055" y="1298"/>
                  </a:lnTo>
                  <a:lnTo>
                    <a:pt x="4054" y="1302"/>
                  </a:lnTo>
                  <a:lnTo>
                    <a:pt x="4055" y="1305"/>
                  </a:lnTo>
                  <a:lnTo>
                    <a:pt x="4056" y="1309"/>
                  </a:lnTo>
                  <a:lnTo>
                    <a:pt x="4060" y="1311"/>
                  </a:lnTo>
                  <a:lnTo>
                    <a:pt x="4065" y="1312"/>
                  </a:lnTo>
                  <a:lnTo>
                    <a:pt x="4069" y="1315"/>
                  </a:lnTo>
                  <a:lnTo>
                    <a:pt x="4074" y="1316"/>
                  </a:lnTo>
                  <a:lnTo>
                    <a:pt x="4096" y="1319"/>
                  </a:lnTo>
                  <a:lnTo>
                    <a:pt x="4111" y="1320"/>
                  </a:lnTo>
                  <a:lnTo>
                    <a:pt x="4122" y="1323"/>
                  </a:lnTo>
                  <a:lnTo>
                    <a:pt x="4130" y="1326"/>
                  </a:lnTo>
                  <a:lnTo>
                    <a:pt x="4137" y="1331"/>
                  </a:lnTo>
                  <a:lnTo>
                    <a:pt x="4143" y="1336"/>
                  </a:lnTo>
                  <a:lnTo>
                    <a:pt x="4147" y="1341"/>
                  </a:lnTo>
                  <a:lnTo>
                    <a:pt x="4152" y="1348"/>
                  </a:lnTo>
                  <a:lnTo>
                    <a:pt x="4157" y="1357"/>
                  </a:lnTo>
                  <a:lnTo>
                    <a:pt x="4161" y="1366"/>
                  </a:lnTo>
                  <a:lnTo>
                    <a:pt x="4164" y="1374"/>
                  </a:lnTo>
                  <a:lnTo>
                    <a:pt x="4165" y="1381"/>
                  </a:lnTo>
                  <a:lnTo>
                    <a:pt x="4165" y="1389"/>
                  </a:lnTo>
                  <a:lnTo>
                    <a:pt x="4164" y="1396"/>
                  </a:lnTo>
                  <a:lnTo>
                    <a:pt x="4161" y="1403"/>
                  </a:lnTo>
                  <a:lnTo>
                    <a:pt x="4159" y="1411"/>
                  </a:lnTo>
                  <a:lnTo>
                    <a:pt x="4154" y="1418"/>
                  </a:lnTo>
                  <a:lnTo>
                    <a:pt x="4150" y="1425"/>
                  </a:lnTo>
                  <a:lnTo>
                    <a:pt x="4139" y="1438"/>
                  </a:lnTo>
                  <a:lnTo>
                    <a:pt x="4126" y="1450"/>
                  </a:lnTo>
                  <a:lnTo>
                    <a:pt x="4112" y="1459"/>
                  </a:lnTo>
                  <a:lnTo>
                    <a:pt x="4098" y="1466"/>
                  </a:lnTo>
                  <a:lnTo>
                    <a:pt x="4089" y="1469"/>
                  </a:lnTo>
                  <a:lnTo>
                    <a:pt x="4082" y="1473"/>
                  </a:lnTo>
                  <a:lnTo>
                    <a:pt x="4076" y="1474"/>
                  </a:lnTo>
                  <a:lnTo>
                    <a:pt x="4072" y="1475"/>
                  </a:lnTo>
                  <a:lnTo>
                    <a:pt x="4067" y="1474"/>
                  </a:lnTo>
                  <a:lnTo>
                    <a:pt x="4062" y="1471"/>
                  </a:lnTo>
                  <a:lnTo>
                    <a:pt x="4058" y="1465"/>
                  </a:lnTo>
                  <a:lnTo>
                    <a:pt x="4051" y="1457"/>
                  </a:lnTo>
                  <a:lnTo>
                    <a:pt x="4040" y="1446"/>
                  </a:lnTo>
                  <a:lnTo>
                    <a:pt x="4026" y="1436"/>
                  </a:lnTo>
                  <a:lnTo>
                    <a:pt x="4020" y="1430"/>
                  </a:lnTo>
                  <a:lnTo>
                    <a:pt x="4015" y="1424"/>
                  </a:lnTo>
                  <a:lnTo>
                    <a:pt x="4011" y="1417"/>
                  </a:lnTo>
                  <a:lnTo>
                    <a:pt x="4008" y="1410"/>
                  </a:lnTo>
                  <a:lnTo>
                    <a:pt x="3998" y="1419"/>
                  </a:lnTo>
                  <a:lnTo>
                    <a:pt x="3977" y="1440"/>
                  </a:lnTo>
                  <a:lnTo>
                    <a:pt x="3956" y="1462"/>
                  </a:lnTo>
                  <a:lnTo>
                    <a:pt x="3944" y="1476"/>
                  </a:lnTo>
                  <a:lnTo>
                    <a:pt x="3935" y="1485"/>
                  </a:lnTo>
                  <a:lnTo>
                    <a:pt x="3928" y="1493"/>
                  </a:lnTo>
                  <a:lnTo>
                    <a:pt x="3921" y="1501"/>
                  </a:lnTo>
                  <a:lnTo>
                    <a:pt x="3917" y="1509"/>
                  </a:lnTo>
                  <a:lnTo>
                    <a:pt x="3907" y="1526"/>
                  </a:lnTo>
                  <a:lnTo>
                    <a:pt x="3900" y="1544"/>
                  </a:lnTo>
                  <a:lnTo>
                    <a:pt x="3890" y="1580"/>
                  </a:lnTo>
                  <a:lnTo>
                    <a:pt x="3878" y="1620"/>
                  </a:lnTo>
                  <a:lnTo>
                    <a:pt x="3876" y="1629"/>
                  </a:lnTo>
                  <a:lnTo>
                    <a:pt x="3874" y="1637"/>
                  </a:lnTo>
                  <a:lnTo>
                    <a:pt x="3873" y="1645"/>
                  </a:lnTo>
                  <a:lnTo>
                    <a:pt x="3873" y="1652"/>
                  </a:lnTo>
                  <a:lnTo>
                    <a:pt x="3873" y="1660"/>
                  </a:lnTo>
                  <a:lnTo>
                    <a:pt x="3875" y="1667"/>
                  </a:lnTo>
                  <a:lnTo>
                    <a:pt x="3878" y="1675"/>
                  </a:lnTo>
                  <a:lnTo>
                    <a:pt x="3884" y="1682"/>
                  </a:lnTo>
                  <a:lnTo>
                    <a:pt x="3891" y="1693"/>
                  </a:lnTo>
                  <a:lnTo>
                    <a:pt x="3895" y="1700"/>
                  </a:lnTo>
                  <a:lnTo>
                    <a:pt x="3897" y="1706"/>
                  </a:lnTo>
                  <a:lnTo>
                    <a:pt x="3896" y="1711"/>
                  </a:lnTo>
                  <a:lnTo>
                    <a:pt x="3889" y="1722"/>
                  </a:lnTo>
                  <a:lnTo>
                    <a:pt x="3880" y="1739"/>
                  </a:lnTo>
                  <a:lnTo>
                    <a:pt x="3871" y="1780"/>
                  </a:lnTo>
                  <a:lnTo>
                    <a:pt x="3849" y="1781"/>
                  </a:lnTo>
                  <a:lnTo>
                    <a:pt x="3826" y="1785"/>
                  </a:lnTo>
                  <a:lnTo>
                    <a:pt x="3816" y="1787"/>
                  </a:lnTo>
                  <a:lnTo>
                    <a:pt x="3804" y="1788"/>
                  </a:lnTo>
                  <a:lnTo>
                    <a:pt x="3792" y="1789"/>
                  </a:lnTo>
                  <a:lnTo>
                    <a:pt x="3781" y="1789"/>
                  </a:lnTo>
                  <a:lnTo>
                    <a:pt x="3774" y="1787"/>
                  </a:lnTo>
                  <a:lnTo>
                    <a:pt x="3768" y="1785"/>
                  </a:lnTo>
                  <a:lnTo>
                    <a:pt x="3762" y="1780"/>
                  </a:lnTo>
                  <a:lnTo>
                    <a:pt x="3756" y="1775"/>
                  </a:lnTo>
                  <a:lnTo>
                    <a:pt x="3750" y="1770"/>
                  </a:lnTo>
                  <a:lnTo>
                    <a:pt x="3746" y="1765"/>
                  </a:lnTo>
                  <a:lnTo>
                    <a:pt x="3740" y="1760"/>
                  </a:lnTo>
                  <a:lnTo>
                    <a:pt x="3734" y="1757"/>
                  </a:lnTo>
                  <a:lnTo>
                    <a:pt x="3726" y="1755"/>
                  </a:lnTo>
                  <a:lnTo>
                    <a:pt x="3718" y="1751"/>
                  </a:lnTo>
                  <a:lnTo>
                    <a:pt x="3711" y="1748"/>
                  </a:lnTo>
                  <a:lnTo>
                    <a:pt x="3704" y="1742"/>
                  </a:lnTo>
                  <a:lnTo>
                    <a:pt x="3700" y="1737"/>
                  </a:lnTo>
                  <a:lnTo>
                    <a:pt x="3699" y="1730"/>
                  </a:lnTo>
                  <a:lnTo>
                    <a:pt x="3698" y="1721"/>
                  </a:lnTo>
                  <a:lnTo>
                    <a:pt x="3697" y="1711"/>
                  </a:lnTo>
                  <a:lnTo>
                    <a:pt x="3698" y="1692"/>
                  </a:lnTo>
                  <a:lnTo>
                    <a:pt x="3698" y="1677"/>
                  </a:lnTo>
                  <a:lnTo>
                    <a:pt x="3697" y="1653"/>
                  </a:lnTo>
                  <a:lnTo>
                    <a:pt x="3694" y="1630"/>
                  </a:lnTo>
                  <a:lnTo>
                    <a:pt x="3691" y="1608"/>
                  </a:lnTo>
                  <a:lnTo>
                    <a:pt x="3687" y="1585"/>
                  </a:lnTo>
                  <a:lnTo>
                    <a:pt x="3685" y="1563"/>
                  </a:lnTo>
                  <a:lnTo>
                    <a:pt x="3683" y="1540"/>
                  </a:lnTo>
                  <a:lnTo>
                    <a:pt x="3682" y="1529"/>
                  </a:lnTo>
                  <a:lnTo>
                    <a:pt x="3682" y="1518"/>
                  </a:lnTo>
                  <a:lnTo>
                    <a:pt x="3683" y="1507"/>
                  </a:lnTo>
                  <a:lnTo>
                    <a:pt x="3684" y="1496"/>
                  </a:lnTo>
                  <a:lnTo>
                    <a:pt x="3694" y="1455"/>
                  </a:lnTo>
                  <a:lnTo>
                    <a:pt x="3703" y="1419"/>
                  </a:lnTo>
                  <a:lnTo>
                    <a:pt x="3703" y="1411"/>
                  </a:lnTo>
                  <a:lnTo>
                    <a:pt x="3703" y="1404"/>
                  </a:lnTo>
                  <a:lnTo>
                    <a:pt x="3700" y="1396"/>
                  </a:lnTo>
                  <a:lnTo>
                    <a:pt x="3697" y="1389"/>
                  </a:lnTo>
                  <a:lnTo>
                    <a:pt x="3692" y="1383"/>
                  </a:lnTo>
                  <a:lnTo>
                    <a:pt x="3686" y="1376"/>
                  </a:lnTo>
                  <a:lnTo>
                    <a:pt x="3677" y="1372"/>
                  </a:lnTo>
                  <a:lnTo>
                    <a:pt x="3667" y="1366"/>
                  </a:lnTo>
                  <a:lnTo>
                    <a:pt x="3657" y="1361"/>
                  </a:lnTo>
                  <a:lnTo>
                    <a:pt x="3649" y="1352"/>
                  </a:lnTo>
                  <a:lnTo>
                    <a:pt x="3640" y="1343"/>
                  </a:lnTo>
                  <a:lnTo>
                    <a:pt x="3630" y="1336"/>
                  </a:lnTo>
                  <a:lnTo>
                    <a:pt x="3611" y="1320"/>
                  </a:lnTo>
                  <a:lnTo>
                    <a:pt x="3587" y="1306"/>
                  </a:lnTo>
                  <a:lnTo>
                    <a:pt x="3582" y="1304"/>
                  </a:lnTo>
                  <a:lnTo>
                    <a:pt x="3576" y="1302"/>
                  </a:lnTo>
                  <a:lnTo>
                    <a:pt x="3570" y="1302"/>
                  </a:lnTo>
                  <a:lnTo>
                    <a:pt x="3564" y="1302"/>
                  </a:lnTo>
                  <a:lnTo>
                    <a:pt x="3558" y="1303"/>
                  </a:lnTo>
                  <a:lnTo>
                    <a:pt x="3554" y="1305"/>
                  </a:lnTo>
                  <a:lnTo>
                    <a:pt x="3548" y="1310"/>
                  </a:lnTo>
                  <a:lnTo>
                    <a:pt x="3542" y="1316"/>
                  </a:lnTo>
                  <a:lnTo>
                    <a:pt x="3533" y="1326"/>
                  </a:lnTo>
                  <a:lnTo>
                    <a:pt x="3518" y="1339"/>
                  </a:lnTo>
                  <a:lnTo>
                    <a:pt x="3509" y="1345"/>
                  </a:lnTo>
                  <a:lnTo>
                    <a:pt x="3501" y="1348"/>
                  </a:lnTo>
                  <a:lnTo>
                    <a:pt x="3498" y="1350"/>
                  </a:lnTo>
                  <a:lnTo>
                    <a:pt x="3494" y="1351"/>
                  </a:lnTo>
                  <a:lnTo>
                    <a:pt x="3491" y="1351"/>
                  </a:lnTo>
                  <a:lnTo>
                    <a:pt x="3487" y="1350"/>
                  </a:lnTo>
                  <a:lnTo>
                    <a:pt x="3474" y="1344"/>
                  </a:lnTo>
                  <a:lnTo>
                    <a:pt x="3466" y="1341"/>
                  </a:lnTo>
                  <a:lnTo>
                    <a:pt x="3464" y="1341"/>
                  </a:lnTo>
                  <a:lnTo>
                    <a:pt x="3462" y="1343"/>
                  </a:lnTo>
                  <a:lnTo>
                    <a:pt x="3459" y="1344"/>
                  </a:lnTo>
                  <a:lnTo>
                    <a:pt x="3458" y="1345"/>
                  </a:lnTo>
                  <a:lnTo>
                    <a:pt x="3455" y="1350"/>
                  </a:lnTo>
                  <a:lnTo>
                    <a:pt x="3450" y="1355"/>
                  </a:lnTo>
                  <a:lnTo>
                    <a:pt x="3442" y="1361"/>
                  </a:lnTo>
                  <a:lnTo>
                    <a:pt x="3431" y="1366"/>
                  </a:lnTo>
                  <a:lnTo>
                    <a:pt x="3424" y="1363"/>
                  </a:lnTo>
                  <a:lnTo>
                    <a:pt x="3417" y="1359"/>
                  </a:lnTo>
                  <a:lnTo>
                    <a:pt x="3409" y="1352"/>
                  </a:lnTo>
                  <a:lnTo>
                    <a:pt x="3400" y="1345"/>
                  </a:lnTo>
                  <a:lnTo>
                    <a:pt x="3379" y="1329"/>
                  </a:lnTo>
                  <a:lnTo>
                    <a:pt x="3359" y="1313"/>
                  </a:lnTo>
                  <a:lnTo>
                    <a:pt x="3349" y="1308"/>
                  </a:lnTo>
                  <a:lnTo>
                    <a:pt x="3339" y="1303"/>
                  </a:lnTo>
                  <a:lnTo>
                    <a:pt x="3335" y="1302"/>
                  </a:lnTo>
                  <a:lnTo>
                    <a:pt x="3331" y="1301"/>
                  </a:lnTo>
                  <a:lnTo>
                    <a:pt x="3328" y="1301"/>
                  </a:lnTo>
                  <a:lnTo>
                    <a:pt x="3323" y="1302"/>
                  </a:lnTo>
                  <a:lnTo>
                    <a:pt x="3321" y="1303"/>
                  </a:lnTo>
                  <a:lnTo>
                    <a:pt x="3317" y="1305"/>
                  </a:lnTo>
                  <a:lnTo>
                    <a:pt x="3315" y="1308"/>
                  </a:lnTo>
                  <a:lnTo>
                    <a:pt x="3313" y="1312"/>
                  </a:lnTo>
                  <a:lnTo>
                    <a:pt x="3311" y="1317"/>
                  </a:lnTo>
                  <a:lnTo>
                    <a:pt x="3310" y="1323"/>
                  </a:lnTo>
                  <a:lnTo>
                    <a:pt x="3309" y="1330"/>
                  </a:lnTo>
                  <a:lnTo>
                    <a:pt x="3309" y="1339"/>
                  </a:lnTo>
                  <a:lnTo>
                    <a:pt x="3308" y="1348"/>
                  </a:lnTo>
                  <a:lnTo>
                    <a:pt x="3307" y="1358"/>
                  </a:lnTo>
                  <a:lnTo>
                    <a:pt x="3305" y="1366"/>
                  </a:lnTo>
                  <a:lnTo>
                    <a:pt x="3302" y="1373"/>
                  </a:lnTo>
                  <a:lnTo>
                    <a:pt x="3298" y="1379"/>
                  </a:lnTo>
                  <a:lnTo>
                    <a:pt x="3293" y="1383"/>
                  </a:lnTo>
                  <a:lnTo>
                    <a:pt x="3288" y="1388"/>
                  </a:lnTo>
                  <a:lnTo>
                    <a:pt x="3282" y="1390"/>
                  </a:lnTo>
                  <a:lnTo>
                    <a:pt x="3275" y="1393"/>
                  </a:lnTo>
                  <a:lnTo>
                    <a:pt x="3268" y="1394"/>
                  </a:lnTo>
                  <a:lnTo>
                    <a:pt x="3260" y="1394"/>
                  </a:lnTo>
                  <a:lnTo>
                    <a:pt x="3251" y="1393"/>
                  </a:lnTo>
                  <a:lnTo>
                    <a:pt x="3232" y="1389"/>
                  </a:lnTo>
                  <a:lnTo>
                    <a:pt x="3211" y="1383"/>
                  </a:lnTo>
                  <a:lnTo>
                    <a:pt x="3206" y="1381"/>
                  </a:lnTo>
                  <a:lnTo>
                    <a:pt x="3200" y="1377"/>
                  </a:lnTo>
                  <a:lnTo>
                    <a:pt x="3196" y="1373"/>
                  </a:lnTo>
                  <a:lnTo>
                    <a:pt x="3192" y="1368"/>
                  </a:lnTo>
                  <a:lnTo>
                    <a:pt x="3189" y="1363"/>
                  </a:lnTo>
                  <a:lnTo>
                    <a:pt x="3187" y="1358"/>
                  </a:lnTo>
                  <a:lnTo>
                    <a:pt x="3185" y="1352"/>
                  </a:lnTo>
                  <a:lnTo>
                    <a:pt x="3183" y="1346"/>
                  </a:lnTo>
                  <a:lnTo>
                    <a:pt x="3180" y="1320"/>
                  </a:lnTo>
                  <a:lnTo>
                    <a:pt x="3178" y="1298"/>
                  </a:lnTo>
                  <a:lnTo>
                    <a:pt x="3175" y="1290"/>
                  </a:lnTo>
                  <a:lnTo>
                    <a:pt x="3172" y="1283"/>
                  </a:lnTo>
                  <a:lnTo>
                    <a:pt x="3168" y="1277"/>
                  </a:lnTo>
                  <a:lnTo>
                    <a:pt x="3162" y="1272"/>
                  </a:lnTo>
                  <a:lnTo>
                    <a:pt x="3157" y="1268"/>
                  </a:lnTo>
                  <a:lnTo>
                    <a:pt x="3151" y="1265"/>
                  </a:lnTo>
                  <a:lnTo>
                    <a:pt x="3144" y="1261"/>
                  </a:lnTo>
                  <a:lnTo>
                    <a:pt x="3137" y="1259"/>
                  </a:lnTo>
                  <a:lnTo>
                    <a:pt x="3122" y="1255"/>
                  </a:lnTo>
                  <a:lnTo>
                    <a:pt x="3107" y="1251"/>
                  </a:lnTo>
                  <a:lnTo>
                    <a:pt x="3100" y="1248"/>
                  </a:lnTo>
                  <a:lnTo>
                    <a:pt x="3093" y="1245"/>
                  </a:lnTo>
                  <a:lnTo>
                    <a:pt x="3087" y="1241"/>
                  </a:lnTo>
                  <a:lnTo>
                    <a:pt x="3080" y="1237"/>
                  </a:lnTo>
                  <a:lnTo>
                    <a:pt x="3065" y="1222"/>
                  </a:lnTo>
                  <a:lnTo>
                    <a:pt x="3052" y="1205"/>
                  </a:lnTo>
                  <a:lnTo>
                    <a:pt x="3045" y="1198"/>
                  </a:lnTo>
                  <a:lnTo>
                    <a:pt x="3037" y="1192"/>
                  </a:lnTo>
                  <a:lnTo>
                    <a:pt x="3032" y="1190"/>
                  </a:lnTo>
                  <a:lnTo>
                    <a:pt x="3026" y="1188"/>
                  </a:lnTo>
                  <a:lnTo>
                    <a:pt x="3020" y="1187"/>
                  </a:lnTo>
                  <a:lnTo>
                    <a:pt x="3015" y="1185"/>
                  </a:lnTo>
                  <a:lnTo>
                    <a:pt x="2986" y="1183"/>
                  </a:lnTo>
                  <a:lnTo>
                    <a:pt x="2961" y="1181"/>
                  </a:lnTo>
                  <a:lnTo>
                    <a:pt x="2949" y="1178"/>
                  </a:lnTo>
                  <a:lnTo>
                    <a:pt x="2938" y="1175"/>
                  </a:lnTo>
                  <a:lnTo>
                    <a:pt x="2925" y="1169"/>
                  </a:lnTo>
                  <a:lnTo>
                    <a:pt x="2911" y="1160"/>
                  </a:lnTo>
                  <a:lnTo>
                    <a:pt x="2895" y="1148"/>
                  </a:lnTo>
                  <a:lnTo>
                    <a:pt x="2882" y="1140"/>
                  </a:lnTo>
                  <a:lnTo>
                    <a:pt x="2877" y="1138"/>
                  </a:lnTo>
                  <a:lnTo>
                    <a:pt x="2873" y="1137"/>
                  </a:lnTo>
                  <a:lnTo>
                    <a:pt x="2869" y="1137"/>
                  </a:lnTo>
                  <a:lnTo>
                    <a:pt x="2866" y="1137"/>
                  </a:lnTo>
                  <a:lnTo>
                    <a:pt x="2863" y="1138"/>
                  </a:lnTo>
                  <a:lnTo>
                    <a:pt x="2862" y="1140"/>
                  </a:lnTo>
                  <a:lnTo>
                    <a:pt x="2861" y="1142"/>
                  </a:lnTo>
                  <a:lnTo>
                    <a:pt x="2860" y="1146"/>
                  </a:lnTo>
                  <a:lnTo>
                    <a:pt x="2860" y="1154"/>
                  </a:lnTo>
                  <a:lnTo>
                    <a:pt x="2860" y="1163"/>
                  </a:lnTo>
                  <a:lnTo>
                    <a:pt x="2862" y="1189"/>
                  </a:lnTo>
                  <a:lnTo>
                    <a:pt x="2865" y="1217"/>
                  </a:lnTo>
                  <a:lnTo>
                    <a:pt x="2865" y="1231"/>
                  </a:lnTo>
                  <a:lnTo>
                    <a:pt x="2862" y="1245"/>
                  </a:lnTo>
                  <a:lnTo>
                    <a:pt x="2861" y="1252"/>
                  </a:lnTo>
                  <a:lnTo>
                    <a:pt x="2859" y="1258"/>
                  </a:lnTo>
                  <a:lnTo>
                    <a:pt x="2856" y="1265"/>
                  </a:lnTo>
                  <a:lnTo>
                    <a:pt x="2853" y="1270"/>
                  </a:lnTo>
                  <a:lnTo>
                    <a:pt x="2844" y="1284"/>
                  </a:lnTo>
                  <a:lnTo>
                    <a:pt x="2835" y="1296"/>
                  </a:lnTo>
                  <a:lnTo>
                    <a:pt x="2831" y="1306"/>
                  </a:lnTo>
                  <a:lnTo>
                    <a:pt x="2827" y="1317"/>
                  </a:lnTo>
                  <a:lnTo>
                    <a:pt x="2827" y="1322"/>
                  </a:lnTo>
                  <a:lnTo>
                    <a:pt x="2828" y="1326"/>
                  </a:lnTo>
                  <a:lnTo>
                    <a:pt x="2830" y="1331"/>
                  </a:lnTo>
                  <a:lnTo>
                    <a:pt x="2832" y="1337"/>
                  </a:lnTo>
                  <a:lnTo>
                    <a:pt x="2840" y="1348"/>
                  </a:lnTo>
                  <a:lnTo>
                    <a:pt x="2853" y="1362"/>
                  </a:lnTo>
                  <a:lnTo>
                    <a:pt x="2860" y="1370"/>
                  </a:lnTo>
                  <a:lnTo>
                    <a:pt x="2863" y="1377"/>
                  </a:lnTo>
                  <a:lnTo>
                    <a:pt x="2865" y="1381"/>
                  </a:lnTo>
                  <a:lnTo>
                    <a:pt x="2865" y="1384"/>
                  </a:lnTo>
                  <a:lnTo>
                    <a:pt x="2863" y="1388"/>
                  </a:lnTo>
                  <a:lnTo>
                    <a:pt x="2862" y="1390"/>
                  </a:lnTo>
                  <a:lnTo>
                    <a:pt x="2858" y="1396"/>
                  </a:lnTo>
                  <a:lnTo>
                    <a:pt x="2852" y="1401"/>
                  </a:lnTo>
                  <a:lnTo>
                    <a:pt x="2845" y="1404"/>
                  </a:lnTo>
                  <a:lnTo>
                    <a:pt x="2837" y="1409"/>
                  </a:lnTo>
                  <a:lnTo>
                    <a:pt x="2818" y="1416"/>
                  </a:lnTo>
                  <a:lnTo>
                    <a:pt x="2800" y="1423"/>
                  </a:lnTo>
                  <a:lnTo>
                    <a:pt x="2792" y="1426"/>
                  </a:lnTo>
                  <a:lnTo>
                    <a:pt x="2787" y="1431"/>
                  </a:lnTo>
                  <a:lnTo>
                    <a:pt x="2782" y="1434"/>
                  </a:lnTo>
                  <a:lnTo>
                    <a:pt x="2778" y="1439"/>
                  </a:lnTo>
                  <a:lnTo>
                    <a:pt x="2777" y="1446"/>
                  </a:lnTo>
                  <a:lnTo>
                    <a:pt x="2778" y="1455"/>
                  </a:lnTo>
                  <a:lnTo>
                    <a:pt x="2780" y="1466"/>
                  </a:lnTo>
                  <a:lnTo>
                    <a:pt x="2782" y="1476"/>
                  </a:lnTo>
                  <a:lnTo>
                    <a:pt x="2784" y="1487"/>
                  </a:lnTo>
                  <a:lnTo>
                    <a:pt x="2785" y="1496"/>
                  </a:lnTo>
                  <a:lnTo>
                    <a:pt x="2785" y="1500"/>
                  </a:lnTo>
                  <a:lnTo>
                    <a:pt x="2785" y="1503"/>
                  </a:lnTo>
                  <a:lnTo>
                    <a:pt x="2784" y="1505"/>
                  </a:lnTo>
                  <a:lnTo>
                    <a:pt x="2783" y="1508"/>
                  </a:lnTo>
                  <a:lnTo>
                    <a:pt x="2780" y="1509"/>
                  </a:lnTo>
                  <a:lnTo>
                    <a:pt x="2776" y="1510"/>
                  </a:lnTo>
                  <a:lnTo>
                    <a:pt x="2771" y="1510"/>
                  </a:lnTo>
                  <a:lnTo>
                    <a:pt x="2767" y="1510"/>
                  </a:lnTo>
                  <a:lnTo>
                    <a:pt x="2757" y="1509"/>
                  </a:lnTo>
                  <a:lnTo>
                    <a:pt x="2747" y="1505"/>
                  </a:lnTo>
                  <a:lnTo>
                    <a:pt x="2728" y="1497"/>
                  </a:lnTo>
                  <a:lnTo>
                    <a:pt x="2714" y="1490"/>
                  </a:lnTo>
                  <a:lnTo>
                    <a:pt x="2697" y="1483"/>
                  </a:lnTo>
                  <a:lnTo>
                    <a:pt x="2682" y="1478"/>
                  </a:lnTo>
                  <a:lnTo>
                    <a:pt x="2670" y="1474"/>
                  </a:lnTo>
                  <a:lnTo>
                    <a:pt x="2660" y="1472"/>
                  </a:lnTo>
                  <a:lnTo>
                    <a:pt x="2651" y="1471"/>
                  </a:lnTo>
                  <a:lnTo>
                    <a:pt x="2646" y="1472"/>
                  </a:lnTo>
                  <a:lnTo>
                    <a:pt x="2640" y="1474"/>
                  </a:lnTo>
                  <a:lnTo>
                    <a:pt x="2636" y="1479"/>
                  </a:lnTo>
                  <a:lnTo>
                    <a:pt x="2625" y="1510"/>
                  </a:lnTo>
                  <a:lnTo>
                    <a:pt x="2606" y="1566"/>
                  </a:lnTo>
                  <a:lnTo>
                    <a:pt x="2587" y="1576"/>
                  </a:lnTo>
                  <a:lnTo>
                    <a:pt x="2573" y="1587"/>
                  </a:lnTo>
                  <a:lnTo>
                    <a:pt x="2567" y="1592"/>
                  </a:lnTo>
                  <a:lnTo>
                    <a:pt x="2562" y="1596"/>
                  </a:lnTo>
                  <a:lnTo>
                    <a:pt x="2557" y="1602"/>
                  </a:lnTo>
                  <a:lnTo>
                    <a:pt x="2554" y="1607"/>
                  </a:lnTo>
                  <a:lnTo>
                    <a:pt x="2551" y="1613"/>
                  </a:lnTo>
                  <a:lnTo>
                    <a:pt x="2550" y="1620"/>
                  </a:lnTo>
                  <a:lnTo>
                    <a:pt x="2551" y="1625"/>
                  </a:lnTo>
                  <a:lnTo>
                    <a:pt x="2553" y="1632"/>
                  </a:lnTo>
                  <a:lnTo>
                    <a:pt x="2556" y="1640"/>
                  </a:lnTo>
                  <a:lnTo>
                    <a:pt x="2561" y="1649"/>
                  </a:lnTo>
                  <a:lnTo>
                    <a:pt x="2567" y="1657"/>
                  </a:lnTo>
                  <a:lnTo>
                    <a:pt x="2573" y="1667"/>
                  </a:lnTo>
                  <a:lnTo>
                    <a:pt x="2582" y="1673"/>
                  </a:lnTo>
                  <a:lnTo>
                    <a:pt x="2594" y="1680"/>
                  </a:lnTo>
                  <a:lnTo>
                    <a:pt x="2610" y="1687"/>
                  </a:lnTo>
                  <a:lnTo>
                    <a:pt x="2626" y="1694"/>
                  </a:lnTo>
                  <a:lnTo>
                    <a:pt x="2640" y="1701"/>
                  </a:lnTo>
                  <a:lnTo>
                    <a:pt x="2651" y="1708"/>
                  </a:lnTo>
                  <a:lnTo>
                    <a:pt x="2655" y="1710"/>
                  </a:lnTo>
                  <a:lnTo>
                    <a:pt x="2657" y="1714"/>
                  </a:lnTo>
                  <a:lnTo>
                    <a:pt x="2658" y="1716"/>
                  </a:lnTo>
                  <a:lnTo>
                    <a:pt x="2657" y="1718"/>
                  </a:lnTo>
                  <a:lnTo>
                    <a:pt x="2642" y="1732"/>
                  </a:lnTo>
                  <a:lnTo>
                    <a:pt x="2628" y="1748"/>
                  </a:lnTo>
                  <a:lnTo>
                    <a:pt x="2613" y="1762"/>
                  </a:lnTo>
                  <a:lnTo>
                    <a:pt x="2598" y="1775"/>
                  </a:lnTo>
                  <a:lnTo>
                    <a:pt x="2589" y="1784"/>
                  </a:lnTo>
                  <a:lnTo>
                    <a:pt x="2580" y="1793"/>
                  </a:lnTo>
                  <a:lnTo>
                    <a:pt x="2576" y="1800"/>
                  </a:lnTo>
                  <a:lnTo>
                    <a:pt x="2572" y="1808"/>
                  </a:lnTo>
                  <a:lnTo>
                    <a:pt x="2568" y="1827"/>
                  </a:lnTo>
                  <a:lnTo>
                    <a:pt x="2561" y="1850"/>
                  </a:lnTo>
                  <a:lnTo>
                    <a:pt x="2557" y="1860"/>
                  </a:lnTo>
                  <a:lnTo>
                    <a:pt x="2553" y="1869"/>
                  </a:lnTo>
                  <a:lnTo>
                    <a:pt x="2547" y="1877"/>
                  </a:lnTo>
                  <a:lnTo>
                    <a:pt x="2541" y="1883"/>
                  </a:lnTo>
                  <a:lnTo>
                    <a:pt x="2535" y="1888"/>
                  </a:lnTo>
                  <a:lnTo>
                    <a:pt x="2528" y="1892"/>
                  </a:lnTo>
                  <a:lnTo>
                    <a:pt x="2521" y="1896"/>
                  </a:lnTo>
                  <a:lnTo>
                    <a:pt x="2514" y="1900"/>
                  </a:lnTo>
                  <a:lnTo>
                    <a:pt x="2500" y="1906"/>
                  </a:lnTo>
                  <a:lnTo>
                    <a:pt x="2486" y="1914"/>
                  </a:lnTo>
                  <a:lnTo>
                    <a:pt x="2479" y="1919"/>
                  </a:lnTo>
                  <a:lnTo>
                    <a:pt x="2473" y="1924"/>
                  </a:lnTo>
                  <a:lnTo>
                    <a:pt x="2468" y="1931"/>
                  </a:lnTo>
                  <a:lnTo>
                    <a:pt x="2463" y="1941"/>
                  </a:lnTo>
                  <a:lnTo>
                    <a:pt x="2459" y="1949"/>
                  </a:lnTo>
                  <a:lnTo>
                    <a:pt x="2458" y="1958"/>
                  </a:lnTo>
                  <a:lnTo>
                    <a:pt x="2457" y="1967"/>
                  </a:lnTo>
                  <a:lnTo>
                    <a:pt x="2458" y="1978"/>
                  </a:lnTo>
                  <a:lnTo>
                    <a:pt x="2459" y="1987"/>
                  </a:lnTo>
                  <a:lnTo>
                    <a:pt x="2459" y="1998"/>
                  </a:lnTo>
                  <a:lnTo>
                    <a:pt x="2459" y="2007"/>
                  </a:lnTo>
                  <a:lnTo>
                    <a:pt x="2458" y="2016"/>
                  </a:lnTo>
                  <a:lnTo>
                    <a:pt x="2434" y="2015"/>
                  </a:lnTo>
                  <a:lnTo>
                    <a:pt x="2405" y="2013"/>
                  </a:lnTo>
                  <a:lnTo>
                    <a:pt x="2398" y="2012"/>
                  </a:lnTo>
                  <a:lnTo>
                    <a:pt x="2391" y="2011"/>
                  </a:lnTo>
                  <a:lnTo>
                    <a:pt x="2385" y="2008"/>
                  </a:lnTo>
                  <a:lnTo>
                    <a:pt x="2379" y="2005"/>
                  </a:lnTo>
                  <a:lnTo>
                    <a:pt x="2374" y="2001"/>
                  </a:lnTo>
                  <a:lnTo>
                    <a:pt x="2370" y="1997"/>
                  </a:lnTo>
                  <a:lnTo>
                    <a:pt x="2366" y="1991"/>
                  </a:lnTo>
                  <a:lnTo>
                    <a:pt x="2364" y="1985"/>
                  </a:lnTo>
                  <a:lnTo>
                    <a:pt x="2362" y="1959"/>
                  </a:lnTo>
                  <a:lnTo>
                    <a:pt x="2356" y="1929"/>
                  </a:lnTo>
                  <a:lnTo>
                    <a:pt x="2353" y="1923"/>
                  </a:lnTo>
                  <a:lnTo>
                    <a:pt x="2350" y="1919"/>
                  </a:lnTo>
                  <a:lnTo>
                    <a:pt x="2347" y="1915"/>
                  </a:lnTo>
                  <a:lnTo>
                    <a:pt x="2342" y="1914"/>
                  </a:lnTo>
                  <a:lnTo>
                    <a:pt x="2337" y="1914"/>
                  </a:lnTo>
                  <a:lnTo>
                    <a:pt x="2330" y="1917"/>
                  </a:lnTo>
                  <a:lnTo>
                    <a:pt x="2322" y="1923"/>
                  </a:lnTo>
                  <a:lnTo>
                    <a:pt x="2314" y="1933"/>
                  </a:lnTo>
                  <a:lnTo>
                    <a:pt x="2309" y="1937"/>
                  </a:lnTo>
                  <a:lnTo>
                    <a:pt x="2307" y="1942"/>
                  </a:lnTo>
                  <a:lnTo>
                    <a:pt x="2303" y="1948"/>
                  </a:lnTo>
                  <a:lnTo>
                    <a:pt x="2302" y="1954"/>
                  </a:lnTo>
                  <a:lnTo>
                    <a:pt x="2299" y="1966"/>
                  </a:lnTo>
                  <a:lnTo>
                    <a:pt x="2298" y="1979"/>
                  </a:lnTo>
                  <a:lnTo>
                    <a:pt x="2299" y="2006"/>
                  </a:lnTo>
                  <a:lnTo>
                    <a:pt x="2299" y="2030"/>
                  </a:lnTo>
                  <a:lnTo>
                    <a:pt x="2298" y="2040"/>
                  </a:lnTo>
                  <a:lnTo>
                    <a:pt x="2295" y="2048"/>
                  </a:lnTo>
                  <a:lnTo>
                    <a:pt x="2292" y="2055"/>
                  </a:lnTo>
                  <a:lnTo>
                    <a:pt x="2287" y="2061"/>
                  </a:lnTo>
                  <a:lnTo>
                    <a:pt x="2282" y="2065"/>
                  </a:lnTo>
                  <a:lnTo>
                    <a:pt x="2276" y="2069"/>
                  </a:lnTo>
                  <a:lnTo>
                    <a:pt x="2269" y="2071"/>
                  </a:lnTo>
                  <a:lnTo>
                    <a:pt x="2262" y="2073"/>
                  </a:lnTo>
                  <a:lnTo>
                    <a:pt x="2230" y="2079"/>
                  </a:lnTo>
                  <a:lnTo>
                    <a:pt x="2201" y="2086"/>
                  </a:lnTo>
                  <a:lnTo>
                    <a:pt x="2193" y="2091"/>
                  </a:lnTo>
                  <a:lnTo>
                    <a:pt x="2185" y="2098"/>
                  </a:lnTo>
                  <a:lnTo>
                    <a:pt x="2177" y="2105"/>
                  </a:lnTo>
                  <a:lnTo>
                    <a:pt x="2170" y="2113"/>
                  </a:lnTo>
                  <a:lnTo>
                    <a:pt x="2158" y="2132"/>
                  </a:lnTo>
                  <a:lnTo>
                    <a:pt x="2147" y="2149"/>
                  </a:lnTo>
                  <a:lnTo>
                    <a:pt x="2143" y="2172"/>
                  </a:lnTo>
                  <a:lnTo>
                    <a:pt x="2140" y="2198"/>
                  </a:lnTo>
                  <a:lnTo>
                    <a:pt x="2138" y="2210"/>
                  </a:lnTo>
                  <a:lnTo>
                    <a:pt x="2135" y="2220"/>
                  </a:lnTo>
                  <a:lnTo>
                    <a:pt x="2131" y="2225"/>
                  </a:lnTo>
                  <a:lnTo>
                    <a:pt x="2128" y="2228"/>
                  </a:lnTo>
                  <a:lnTo>
                    <a:pt x="2123" y="2233"/>
                  </a:lnTo>
                  <a:lnTo>
                    <a:pt x="2117" y="2235"/>
                  </a:lnTo>
                  <a:lnTo>
                    <a:pt x="2096" y="2242"/>
                  </a:lnTo>
                  <a:lnTo>
                    <a:pt x="2072" y="2248"/>
                  </a:lnTo>
                  <a:lnTo>
                    <a:pt x="2061" y="2253"/>
                  </a:lnTo>
                  <a:lnTo>
                    <a:pt x="2052" y="2258"/>
                  </a:lnTo>
                  <a:lnTo>
                    <a:pt x="2049" y="2262"/>
                  </a:lnTo>
                  <a:lnTo>
                    <a:pt x="2045" y="2265"/>
                  </a:lnTo>
                  <a:lnTo>
                    <a:pt x="2044" y="2271"/>
                  </a:lnTo>
                  <a:lnTo>
                    <a:pt x="2043" y="2276"/>
                  </a:lnTo>
                  <a:lnTo>
                    <a:pt x="2042" y="2293"/>
                  </a:lnTo>
                  <a:lnTo>
                    <a:pt x="2038" y="2306"/>
                  </a:lnTo>
                  <a:lnTo>
                    <a:pt x="2036" y="2312"/>
                  </a:lnTo>
                  <a:lnTo>
                    <a:pt x="2033" y="2315"/>
                  </a:lnTo>
                  <a:lnTo>
                    <a:pt x="2031" y="2319"/>
                  </a:lnTo>
                  <a:lnTo>
                    <a:pt x="2028" y="2321"/>
                  </a:lnTo>
                  <a:lnTo>
                    <a:pt x="2025" y="2324"/>
                  </a:lnTo>
                  <a:lnTo>
                    <a:pt x="2021" y="2325"/>
                  </a:lnTo>
                  <a:lnTo>
                    <a:pt x="2017" y="2326"/>
                  </a:lnTo>
                  <a:lnTo>
                    <a:pt x="2014" y="2326"/>
                  </a:lnTo>
                  <a:lnTo>
                    <a:pt x="2004" y="2325"/>
                  </a:lnTo>
                  <a:lnTo>
                    <a:pt x="1995" y="2324"/>
                  </a:lnTo>
                  <a:lnTo>
                    <a:pt x="1975" y="2317"/>
                  </a:lnTo>
                  <a:lnTo>
                    <a:pt x="1954" y="2311"/>
                  </a:lnTo>
                  <a:lnTo>
                    <a:pt x="1944" y="2310"/>
                  </a:lnTo>
                  <a:lnTo>
                    <a:pt x="1933" y="2310"/>
                  </a:lnTo>
                  <a:lnTo>
                    <a:pt x="1927" y="2310"/>
                  </a:lnTo>
                  <a:lnTo>
                    <a:pt x="1923" y="2311"/>
                  </a:lnTo>
                  <a:lnTo>
                    <a:pt x="1918" y="2313"/>
                  </a:lnTo>
                  <a:lnTo>
                    <a:pt x="1913" y="2315"/>
                  </a:lnTo>
                  <a:lnTo>
                    <a:pt x="1904" y="2321"/>
                  </a:lnTo>
                  <a:lnTo>
                    <a:pt x="1897" y="2327"/>
                  </a:lnTo>
                  <a:lnTo>
                    <a:pt x="1893" y="2334"/>
                  </a:lnTo>
                  <a:lnTo>
                    <a:pt x="1888" y="2340"/>
                  </a:lnTo>
                  <a:lnTo>
                    <a:pt x="1886" y="2347"/>
                  </a:lnTo>
                  <a:lnTo>
                    <a:pt x="1884" y="2354"/>
                  </a:lnTo>
                  <a:lnTo>
                    <a:pt x="1883" y="2361"/>
                  </a:lnTo>
                  <a:lnTo>
                    <a:pt x="1883" y="2368"/>
                  </a:lnTo>
                  <a:lnTo>
                    <a:pt x="1884" y="2382"/>
                  </a:lnTo>
                  <a:lnTo>
                    <a:pt x="1887" y="2397"/>
                  </a:lnTo>
                  <a:lnTo>
                    <a:pt x="1887" y="2404"/>
                  </a:lnTo>
                  <a:lnTo>
                    <a:pt x="1886" y="2411"/>
                  </a:lnTo>
                  <a:lnTo>
                    <a:pt x="1884" y="2418"/>
                  </a:lnTo>
                  <a:lnTo>
                    <a:pt x="1883" y="2426"/>
                  </a:lnTo>
                  <a:lnTo>
                    <a:pt x="1881" y="2431"/>
                  </a:lnTo>
                  <a:lnTo>
                    <a:pt x="1880" y="2436"/>
                  </a:lnTo>
                  <a:lnTo>
                    <a:pt x="1879" y="2441"/>
                  </a:lnTo>
                  <a:lnTo>
                    <a:pt x="1880" y="2447"/>
                  </a:lnTo>
                  <a:lnTo>
                    <a:pt x="1881" y="2456"/>
                  </a:lnTo>
                  <a:lnTo>
                    <a:pt x="1884" y="2464"/>
                  </a:lnTo>
                  <a:lnTo>
                    <a:pt x="1890" y="2473"/>
                  </a:lnTo>
                  <a:lnTo>
                    <a:pt x="1896" y="2480"/>
                  </a:lnTo>
                  <a:lnTo>
                    <a:pt x="1903" y="2485"/>
                  </a:lnTo>
                  <a:lnTo>
                    <a:pt x="1911" y="2492"/>
                  </a:lnTo>
                  <a:lnTo>
                    <a:pt x="1926" y="2503"/>
                  </a:lnTo>
                  <a:lnTo>
                    <a:pt x="1939" y="2512"/>
                  </a:lnTo>
                  <a:lnTo>
                    <a:pt x="1944" y="2517"/>
                  </a:lnTo>
                  <a:lnTo>
                    <a:pt x="1946" y="2521"/>
                  </a:lnTo>
                  <a:lnTo>
                    <a:pt x="1947" y="2524"/>
                  </a:lnTo>
                  <a:lnTo>
                    <a:pt x="1947" y="2526"/>
                  </a:lnTo>
                  <a:lnTo>
                    <a:pt x="1946" y="2528"/>
                  </a:lnTo>
                  <a:lnTo>
                    <a:pt x="1945" y="2531"/>
                  </a:lnTo>
                  <a:lnTo>
                    <a:pt x="1941" y="2533"/>
                  </a:lnTo>
                  <a:lnTo>
                    <a:pt x="1934" y="2535"/>
                  </a:lnTo>
                  <a:lnTo>
                    <a:pt x="1924" y="2538"/>
                  </a:lnTo>
                  <a:lnTo>
                    <a:pt x="1910" y="2540"/>
                  </a:lnTo>
                  <a:lnTo>
                    <a:pt x="1876" y="2544"/>
                  </a:lnTo>
                  <a:lnTo>
                    <a:pt x="1838" y="2548"/>
                  </a:lnTo>
                  <a:lnTo>
                    <a:pt x="1799" y="2551"/>
                  </a:lnTo>
                  <a:lnTo>
                    <a:pt x="1763" y="2552"/>
                  </a:lnTo>
                  <a:lnTo>
                    <a:pt x="1749" y="2551"/>
                  </a:lnTo>
                  <a:lnTo>
                    <a:pt x="1737" y="2551"/>
                  </a:lnTo>
                  <a:lnTo>
                    <a:pt x="1727" y="2549"/>
                  </a:lnTo>
                  <a:lnTo>
                    <a:pt x="1721" y="2547"/>
                  </a:lnTo>
                  <a:lnTo>
                    <a:pt x="1711" y="2539"/>
                  </a:lnTo>
                  <a:lnTo>
                    <a:pt x="1704" y="2532"/>
                  </a:lnTo>
                  <a:lnTo>
                    <a:pt x="1699" y="2525"/>
                  </a:lnTo>
                  <a:lnTo>
                    <a:pt x="1695" y="2518"/>
                  </a:lnTo>
                  <a:lnTo>
                    <a:pt x="1692" y="2516"/>
                  </a:lnTo>
                  <a:lnTo>
                    <a:pt x="1690" y="2513"/>
                  </a:lnTo>
                  <a:lnTo>
                    <a:pt x="1688" y="2511"/>
                  </a:lnTo>
                  <a:lnTo>
                    <a:pt x="1684" y="2510"/>
                  </a:lnTo>
                  <a:lnTo>
                    <a:pt x="1680" y="2510"/>
                  </a:lnTo>
                  <a:lnTo>
                    <a:pt x="1675" y="2509"/>
                  </a:lnTo>
                  <a:lnTo>
                    <a:pt x="1669" y="2510"/>
                  </a:lnTo>
                  <a:lnTo>
                    <a:pt x="1661" y="2511"/>
                  </a:lnTo>
                  <a:lnTo>
                    <a:pt x="1653" y="2512"/>
                  </a:lnTo>
                  <a:lnTo>
                    <a:pt x="1643" y="2512"/>
                  </a:lnTo>
                  <a:lnTo>
                    <a:pt x="1635" y="2512"/>
                  </a:lnTo>
                  <a:lnTo>
                    <a:pt x="1627" y="2510"/>
                  </a:lnTo>
                  <a:lnTo>
                    <a:pt x="1611" y="2505"/>
                  </a:lnTo>
                  <a:lnTo>
                    <a:pt x="1596" y="2498"/>
                  </a:lnTo>
                  <a:lnTo>
                    <a:pt x="1579" y="2489"/>
                  </a:lnTo>
                  <a:lnTo>
                    <a:pt x="1564" y="2481"/>
                  </a:lnTo>
                  <a:lnTo>
                    <a:pt x="1547" y="2473"/>
                  </a:lnTo>
                  <a:lnTo>
                    <a:pt x="1529" y="2467"/>
                  </a:lnTo>
                  <a:lnTo>
                    <a:pt x="1525" y="2480"/>
                  </a:lnTo>
                  <a:lnTo>
                    <a:pt x="1520" y="2494"/>
                  </a:lnTo>
                  <a:lnTo>
                    <a:pt x="1518" y="2509"/>
                  </a:lnTo>
                  <a:lnTo>
                    <a:pt x="1515" y="2526"/>
                  </a:lnTo>
                  <a:lnTo>
                    <a:pt x="1514" y="2564"/>
                  </a:lnTo>
                  <a:lnTo>
                    <a:pt x="1514" y="2605"/>
                  </a:lnTo>
                  <a:lnTo>
                    <a:pt x="1517" y="2647"/>
                  </a:lnTo>
                  <a:lnTo>
                    <a:pt x="1519" y="2687"/>
                  </a:lnTo>
                  <a:lnTo>
                    <a:pt x="1520" y="2724"/>
                  </a:lnTo>
                  <a:lnTo>
                    <a:pt x="1521" y="2753"/>
                  </a:lnTo>
                  <a:lnTo>
                    <a:pt x="1517" y="2755"/>
                  </a:lnTo>
                  <a:lnTo>
                    <a:pt x="1512" y="2755"/>
                  </a:lnTo>
                  <a:lnTo>
                    <a:pt x="1507" y="2753"/>
                  </a:lnTo>
                  <a:lnTo>
                    <a:pt x="1500" y="2751"/>
                  </a:lnTo>
                  <a:lnTo>
                    <a:pt x="1487" y="2744"/>
                  </a:lnTo>
                  <a:lnTo>
                    <a:pt x="1472" y="2734"/>
                  </a:lnTo>
                  <a:lnTo>
                    <a:pt x="1456" y="2725"/>
                  </a:lnTo>
                  <a:lnTo>
                    <a:pt x="1439" y="2718"/>
                  </a:lnTo>
                  <a:lnTo>
                    <a:pt x="1430" y="2716"/>
                  </a:lnTo>
                  <a:lnTo>
                    <a:pt x="1422" y="2715"/>
                  </a:lnTo>
                  <a:lnTo>
                    <a:pt x="1413" y="2715"/>
                  </a:lnTo>
                  <a:lnTo>
                    <a:pt x="1405" y="2717"/>
                  </a:lnTo>
                  <a:lnTo>
                    <a:pt x="1366" y="2734"/>
                  </a:lnTo>
                  <a:lnTo>
                    <a:pt x="1322" y="2757"/>
                  </a:lnTo>
                  <a:lnTo>
                    <a:pt x="1311" y="2761"/>
                  </a:lnTo>
                  <a:lnTo>
                    <a:pt x="1300" y="2766"/>
                  </a:lnTo>
                  <a:lnTo>
                    <a:pt x="1290" y="2769"/>
                  </a:lnTo>
                  <a:lnTo>
                    <a:pt x="1279" y="2772"/>
                  </a:lnTo>
                  <a:lnTo>
                    <a:pt x="1269" y="2773"/>
                  </a:lnTo>
                  <a:lnTo>
                    <a:pt x="1259" y="2772"/>
                  </a:lnTo>
                  <a:lnTo>
                    <a:pt x="1250" y="2770"/>
                  </a:lnTo>
                  <a:lnTo>
                    <a:pt x="1242" y="2767"/>
                  </a:lnTo>
                  <a:lnTo>
                    <a:pt x="1226" y="2753"/>
                  </a:lnTo>
                  <a:lnTo>
                    <a:pt x="1203" y="2734"/>
                  </a:lnTo>
                  <a:lnTo>
                    <a:pt x="1192" y="2725"/>
                  </a:lnTo>
                  <a:lnTo>
                    <a:pt x="1181" y="2717"/>
                  </a:lnTo>
                  <a:lnTo>
                    <a:pt x="1177" y="2715"/>
                  </a:lnTo>
                  <a:lnTo>
                    <a:pt x="1172" y="2712"/>
                  </a:lnTo>
                  <a:lnTo>
                    <a:pt x="1167" y="2710"/>
                  </a:lnTo>
                  <a:lnTo>
                    <a:pt x="1164" y="2710"/>
                  </a:lnTo>
                  <a:lnTo>
                    <a:pt x="1153" y="2722"/>
                  </a:lnTo>
                  <a:lnTo>
                    <a:pt x="1146" y="2734"/>
                  </a:lnTo>
                  <a:lnTo>
                    <a:pt x="1139" y="2746"/>
                  </a:lnTo>
                  <a:lnTo>
                    <a:pt x="1134" y="2759"/>
                  </a:lnTo>
                  <a:lnTo>
                    <a:pt x="1128" y="2772"/>
                  </a:lnTo>
                  <a:lnTo>
                    <a:pt x="1120" y="2783"/>
                  </a:lnTo>
                  <a:lnTo>
                    <a:pt x="1116" y="2789"/>
                  </a:lnTo>
                  <a:lnTo>
                    <a:pt x="1110" y="2795"/>
                  </a:lnTo>
                  <a:lnTo>
                    <a:pt x="1104" y="2801"/>
                  </a:lnTo>
                  <a:lnTo>
                    <a:pt x="1099" y="2805"/>
                  </a:lnTo>
                  <a:lnTo>
                    <a:pt x="1008" y="2868"/>
                  </a:lnTo>
                  <a:lnTo>
                    <a:pt x="1003" y="2873"/>
                  </a:lnTo>
                  <a:lnTo>
                    <a:pt x="999" y="2879"/>
                  </a:lnTo>
                  <a:lnTo>
                    <a:pt x="996" y="2886"/>
                  </a:lnTo>
                  <a:lnTo>
                    <a:pt x="994" y="2893"/>
                  </a:lnTo>
                  <a:lnTo>
                    <a:pt x="992" y="2900"/>
                  </a:lnTo>
                  <a:lnTo>
                    <a:pt x="989" y="2907"/>
                  </a:lnTo>
                  <a:lnTo>
                    <a:pt x="986" y="2912"/>
                  </a:lnTo>
                  <a:lnTo>
                    <a:pt x="980" y="2917"/>
                  </a:lnTo>
                  <a:lnTo>
                    <a:pt x="976" y="2918"/>
                  </a:lnTo>
                  <a:lnTo>
                    <a:pt x="972" y="2919"/>
                  </a:lnTo>
                  <a:lnTo>
                    <a:pt x="968" y="2919"/>
                  </a:lnTo>
                  <a:lnTo>
                    <a:pt x="965" y="2919"/>
                  </a:lnTo>
                  <a:lnTo>
                    <a:pt x="958" y="2916"/>
                  </a:lnTo>
                  <a:lnTo>
                    <a:pt x="951" y="2910"/>
                  </a:lnTo>
                  <a:lnTo>
                    <a:pt x="945" y="2904"/>
                  </a:lnTo>
                  <a:lnTo>
                    <a:pt x="939" y="2898"/>
                  </a:lnTo>
                  <a:lnTo>
                    <a:pt x="932" y="2895"/>
                  </a:lnTo>
                  <a:lnTo>
                    <a:pt x="926" y="2893"/>
                  </a:lnTo>
                  <a:lnTo>
                    <a:pt x="919" y="2893"/>
                  </a:lnTo>
                  <a:lnTo>
                    <a:pt x="912" y="2894"/>
                  </a:lnTo>
                  <a:lnTo>
                    <a:pt x="905" y="2896"/>
                  </a:lnTo>
                  <a:lnTo>
                    <a:pt x="900" y="2900"/>
                  </a:lnTo>
                  <a:lnTo>
                    <a:pt x="889" y="2909"/>
                  </a:lnTo>
                  <a:lnTo>
                    <a:pt x="880" y="2919"/>
                  </a:lnTo>
                  <a:lnTo>
                    <a:pt x="871" y="2932"/>
                  </a:lnTo>
                  <a:lnTo>
                    <a:pt x="861" y="2944"/>
                  </a:lnTo>
                  <a:lnTo>
                    <a:pt x="852" y="2954"/>
                  </a:lnTo>
                  <a:lnTo>
                    <a:pt x="841" y="2964"/>
                  </a:lnTo>
                  <a:lnTo>
                    <a:pt x="834" y="2966"/>
                  </a:lnTo>
                  <a:lnTo>
                    <a:pt x="827" y="2967"/>
                  </a:lnTo>
                  <a:lnTo>
                    <a:pt x="819" y="2967"/>
                  </a:lnTo>
                  <a:lnTo>
                    <a:pt x="812" y="2965"/>
                  </a:lnTo>
                  <a:lnTo>
                    <a:pt x="805" y="2964"/>
                  </a:lnTo>
                  <a:lnTo>
                    <a:pt x="798" y="2964"/>
                  </a:lnTo>
                  <a:lnTo>
                    <a:pt x="793" y="2964"/>
                  </a:lnTo>
                  <a:lnTo>
                    <a:pt x="788" y="2965"/>
                  </a:lnTo>
                  <a:lnTo>
                    <a:pt x="788" y="2969"/>
                  </a:lnTo>
                  <a:lnTo>
                    <a:pt x="789" y="2973"/>
                  </a:lnTo>
                  <a:lnTo>
                    <a:pt x="791" y="2976"/>
                  </a:lnTo>
                  <a:lnTo>
                    <a:pt x="794" y="2980"/>
                  </a:lnTo>
                  <a:lnTo>
                    <a:pt x="800" y="2987"/>
                  </a:lnTo>
                  <a:lnTo>
                    <a:pt x="808" y="2994"/>
                  </a:lnTo>
                  <a:lnTo>
                    <a:pt x="816" y="3000"/>
                  </a:lnTo>
                  <a:lnTo>
                    <a:pt x="823" y="3007"/>
                  </a:lnTo>
                  <a:lnTo>
                    <a:pt x="830" y="3013"/>
                  </a:lnTo>
                  <a:lnTo>
                    <a:pt x="836" y="3020"/>
                  </a:lnTo>
                  <a:lnTo>
                    <a:pt x="844" y="3038"/>
                  </a:lnTo>
                  <a:lnTo>
                    <a:pt x="851" y="3059"/>
                  </a:lnTo>
                  <a:lnTo>
                    <a:pt x="855" y="3070"/>
                  </a:lnTo>
                  <a:lnTo>
                    <a:pt x="860" y="3079"/>
                  </a:lnTo>
                  <a:lnTo>
                    <a:pt x="866" y="3087"/>
                  </a:lnTo>
                  <a:lnTo>
                    <a:pt x="873" y="3095"/>
                  </a:lnTo>
                  <a:lnTo>
                    <a:pt x="875" y="3101"/>
                  </a:lnTo>
                  <a:lnTo>
                    <a:pt x="880" y="3108"/>
                  </a:lnTo>
                  <a:lnTo>
                    <a:pt x="886" y="3115"/>
                  </a:lnTo>
                  <a:lnTo>
                    <a:pt x="891" y="3122"/>
                  </a:lnTo>
                  <a:lnTo>
                    <a:pt x="896" y="3129"/>
                  </a:lnTo>
                  <a:lnTo>
                    <a:pt x="900" y="3136"/>
                  </a:lnTo>
                  <a:lnTo>
                    <a:pt x="901" y="3139"/>
                  </a:lnTo>
                  <a:lnTo>
                    <a:pt x="901" y="3143"/>
                  </a:lnTo>
                  <a:lnTo>
                    <a:pt x="901" y="3146"/>
                  </a:lnTo>
                  <a:lnTo>
                    <a:pt x="898" y="3150"/>
                  </a:lnTo>
                  <a:lnTo>
                    <a:pt x="894" y="3157"/>
                  </a:lnTo>
                  <a:lnTo>
                    <a:pt x="889" y="3163"/>
                  </a:lnTo>
                  <a:lnTo>
                    <a:pt x="884" y="3165"/>
                  </a:lnTo>
                  <a:lnTo>
                    <a:pt x="880" y="3168"/>
                  </a:lnTo>
                  <a:lnTo>
                    <a:pt x="876" y="3171"/>
                  </a:lnTo>
                  <a:lnTo>
                    <a:pt x="875" y="3175"/>
                  </a:lnTo>
                  <a:lnTo>
                    <a:pt x="875" y="3182"/>
                  </a:lnTo>
                  <a:lnTo>
                    <a:pt x="876" y="3193"/>
                  </a:lnTo>
                  <a:lnTo>
                    <a:pt x="879" y="3202"/>
                  </a:lnTo>
                  <a:lnTo>
                    <a:pt x="879" y="3208"/>
                  </a:lnTo>
                  <a:lnTo>
                    <a:pt x="879" y="3214"/>
                  </a:lnTo>
                  <a:lnTo>
                    <a:pt x="876" y="3217"/>
                  </a:lnTo>
                  <a:lnTo>
                    <a:pt x="874" y="3220"/>
                  </a:lnTo>
                  <a:lnTo>
                    <a:pt x="871" y="3222"/>
                  </a:lnTo>
                  <a:lnTo>
                    <a:pt x="867" y="3222"/>
                  </a:lnTo>
                  <a:lnTo>
                    <a:pt x="862" y="3223"/>
                  </a:lnTo>
                  <a:lnTo>
                    <a:pt x="853" y="3224"/>
                  </a:lnTo>
                  <a:lnTo>
                    <a:pt x="844" y="3227"/>
                  </a:lnTo>
                  <a:lnTo>
                    <a:pt x="840" y="3229"/>
                  </a:lnTo>
                  <a:lnTo>
                    <a:pt x="837" y="3232"/>
                  </a:lnTo>
                  <a:lnTo>
                    <a:pt x="833" y="3237"/>
                  </a:lnTo>
                  <a:lnTo>
                    <a:pt x="831" y="3244"/>
                  </a:lnTo>
                  <a:lnTo>
                    <a:pt x="829" y="3259"/>
                  </a:lnTo>
                  <a:lnTo>
                    <a:pt x="826" y="3278"/>
                  </a:lnTo>
                  <a:lnTo>
                    <a:pt x="825" y="3296"/>
                  </a:lnTo>
                  <a:lnTo>
                    <a:pt x="824" y="3312"/>
                  </a:lnTo>
                  <a:lnTo>
                    <a:pt x="824" y="3320"/>
                  </a:lnTo>
                  <a:lnTo>
                    <a:pt x="823" y="3327"/>
                  </a:lnTo>
                  <a:lnTo>
                    <a:pt x="822" y="3333"/>
                  </a:lnTo>
                  <a:lnTo>
                    <a:pt x="819" y="3338"/>
                  </a:lnTo>
                  <a:lnTo>
                    <a:pt x="816" y="3342"/>
                  </a:lnTo>
                  <a:lnTo>
                    <a:pt x="812" y="3345"/>
                  </a:lnTo>
                  <a:lnTo>
                    <a:pt x="809" y="3348"/>
                  </a:lnTo>
                  <a:lnTo>
                    <a:pt x="805" y="3350"/>
                  </a:lnTo>
                  <a:lnTo>
                    <a:pt x="784" y="3356"/>
                  </a:lnTo>
                  <a:lnTo>
                    <a:pt x="760" y="3360"/>
                  </a:lnTo>
                  <a:lnTo>
                    <a:pt x="753" y="3362"/>
                  </a:lnTo>
                  <a:lnTo>
                    <a:pt x="746" y="3364"/>
                  </a:lnTo>
                  <a:lnTo>
                    <a:pt x="741" y="3367"/>
                  </a:lnTo>
                  <a:lnTo>
                    <a:pt x="737" y="3373"/>
                  </a:lnTo>
                  <a:lnTo>
                    <a:pt x="729" y="3387"/>
                  </a:lnTo>
                  <a:lnTo>
                    <a:pt x="720" y="3402"/>
                  </a:lnTo>
                  <a:lnTo>
                    <a:pt x="717" y="3409"/>
                  </a:lnTo>
                  <a:lnTo>
                    <a:pt x="712" y="3418"/>
                  </a:lnTo>
                  <a:lnTo>
                    <a:pt x="708" y="3425"/>
                  </a:lnTo>
                  <a:lnTo>
                    <a:pt x="703" y="3430"/>
                  </a:lnTo>
                  <a:lnTo>
                    <a:pt x="697" y="3435"/>
                  </a:lnTo>
                  <a:lnTo>
                    <a:pt x="690" y="3438"/>
                  </a:lnTo>
                  <a:lnTo>
                    <a:pt x="683" y="3441"/>
                  </a:lnTo>
                  <a:lnTo>
                    <a:pt x="674" y="3442"/>
                  </a:lnTo>
                  <a:lnTo>
                    <a:pt x="667" y="3441"/>
                  </a:lnTo>
                  <a:lnTo>
                    <a:pt x="660" y="3438"/>
                  </a:lnTo>
                  <a:lnTo>
                    <a:pt x="653" y="3435"/>
                  </a:lnTo>
                  <a:lnTo>
                    <a:pt x="647" y="3430"/>
                  </a:lnTo>
                  <a:lnTo>
                    <a:pt x="642" y="3425"/>
                  </a:lnTo>
                  <a:lnTo>
                    <a:pt x="638" y="3419"/>
                  </a:lnTo>
                  <a:lnTo>
                    <a:pt x="633" y="3412"/>
                  </a:lnTo>
                  <a:lnTo>
                    <a:pt x="630" y="3405"/>
                  </a:lnTo>
                  <a:lnTo>
                    <a:pt x="621" y="3388"/>
                  </a:lnTo>
                  <a:lnTo>
                    <a:pt x="616" y="3373"/>
                  </a:lnTo>
                  <a:lnTo>
                    <a:pt x="609" y="3359"/>
                  </a:lnTo>
                  <a:lnTo>
                    <a:pt x="600" y="3348"/>
                  </a:lnTo>
                  <a:lnTo>
                    <a:pt x="591" y="3337"/>
                  </a:lnTo>
                  <a:lnTo>
                    <a:pt x="583" y="3331"/>
                  </a:lnTo>
                  <a:lnTo>
                    <a:pt x="581" y="3330"/>
                  </a:lnTo>
                  <a:lnTo>
                    <a:pt x="577" y="3330"/>
                  </a:lnTo>
                  <a:lnTo>
                    <a:pt x="575" y="3330"/>
                  </a:lnTo>
                  <a:lnTo>
                    <a:pt x="573" y="3331"/>
                  </a:lnTo>
                  <a:lnTo>
                    <a:pt x="567" y="3336"/>
                  </a:lnTo>
                  <a:lnTo>
                    <a:pt x="560" y="3341"/>
                  </a:lnTo>
                  <a:lnTo>
                    <a:pt x="552" y="3347"/>
                  </a:lnTo>
                  <a:lnTo>
                    <a:pt x="540" y="3350"/>
                  </a:lnTo>
                  <a:lnTo>
                    <a:pt x="498" y="338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sz="1200" dirty="0"/>
            </a:p>
          </p:txBody>
        </p:sp>
        <p:sp>
          <p:nvSpPr>
            <p:cNvPr id="13" name="Freeform 106"/>
            <p:cNvSpPr>
              <a:spLocks/>
            </p:cNvSpPr>
            <p:nvPr/>
          </p:nvSpPr>
          <p:spPr bwMode="auto">
            <a:xfrm>
              <a:off x="4145734" y="3979510"/>
              <a:ext cx="1373544" cy="1159137"/>
            </a:xfrm>
            <a:custGeom>
              <a:avLst/>
              <a:gdLst>
                <a:gd name="T0" fmla="*/ 2789 w 4100"/>
                <a:gd name="T1" fmla="*/ 622 h 3461"/>
                <a:gd name="T2" fmla="*/ 2902 w 4100"/>
                <a:gd name="T3" fmla="*/ 371 h 3461"/>
                <a:gd name="T4" fmla="*/ 2998 w 4100"/>
                <a:gd name="T5" fmla="*/ 439 h 3461"/>
                <a:gd name="T6" fmla="*/ 3122 w 4100"/>
                <a:gd name="T7" fmla="*/ 401 h 3461"/>
                <a:gd name="T8" fmla="*/ 3234 w 4100"/>
                <a:gd name="T9" fmla="*/ 305 h 3461"/>
                <a:gd name="T10" fmla="*/ 3394 w 4100"/>
                <a:gd name="T11" fmla="*/ 148 h 3461"/>
                <a:gd name="T12" fmla="*/ 3445 w 4100"/>
                <a:gd name="T13" fmla="*/ 59 h 3461"/>
                <a:gd name="T14" fmla="*/ 3527 w 4100"/>
                <a:gd name="T15" fmla="*/ 0 h 3461"/>
                <a:gd name="T16" fmla="*/ 3631 w 4100"/>
                <a:gd name="T17" fmla="*/ 144 h 3461"/>
                <a:gd name="T18" fmla="*/ 3892 w 4100"/>
                <a:gd name="T19" fmla="*/ 123 h 3461"/>
                <a:gd name="T20" fmla="*/ 4089 w 4100"/>
                <a:gd name="T21" fmla="*/ 22 h 3461"/>
                <a:gd name="T22" fmla="*/ 3793 w 4100"/>
                <a:gd name="T23" fmla="*/ 437 h 3461"/>
                <a:gd name="T24" fmla="*/ 3256 w 4100"/>
                <a:gd name="T25" fmla="*/ 854 h 3461"/>
                <a:gd name="T26" fmla="*/ 2842 w 4100"/>
                <a:gd name="T27" fmla="*/ 1308 h 3461"/>
                <a:gd name="T28" fmla="*/ 2590 w 4100"/>
                <a:gd name="T29" fmla="*/ 1474 h 3461"/>
                <a:gd name="T30" fmla="*/ 2405 w 4100"/>
                <a:gd name="T31" fmla="*/ 1489 h 3461"/>
                <a:gd name="T32" fmla="*/ 2257 w 4100"/>
                <a:gd name="T33" fmla="*/ 1697 h 3461"/>
                <a:gd name="T34" fmla="*/ 2126 w 4100"/>
                <a:gd name="T35" fmla="*/ 1812 h 3461"/>
                <a:gd name="T36" fmla="*/ 1827 w 4100"/>
                <a:gd name="T37" fmla="*/ 1826 h 3461"/>
                <a:gd name="T38" fmla="*/ 1703 w 4100"/>
                <a:gd name="T39" fmla="*/ 2140 h 3461"/>
                <a:gd name="T40" fmla="*/ 1744 w 4100"/>
                <a:gd name="T41" fmla="*/ 2593 h 3461"/>
                <a:gd name="T42" fmla="*/ 1788 w 4100"/>
                <a:gd name="T43" fmla="*/ 2943 h 3461"/>
                <a:gd name="T44" fmla="*/ 1729 w 4100"/>
                <a:gd name="T45" fmla="*/ 2994 h 3461"/>
                <a:gd name="T46" fmla="*/ 1474 w 4100"/>
                <a:gd name="T47" fmla="*/ 3125 h 3461"/>
                <a:gd name="T48" fmla="*/ 1236 w 4100"/>
                <a:gd name="T49" fmla="*/ 3226 h 3461"/>
                <a:gd name="T50" fmla="*/ 983 w 4100"/>
                <a:gd name="T51" fmla="*/ 3239 h 3461"/>
                <a:gd name="T52" fmla="*/ 919 w 4100"/>
                <a:gd name="T53" fmla="*/ 3390 h 3461"/>
                <a:gd name="T54" fmla="*/ 812 w 4100"/>
                <a:gd name="T55" fmla="*/ 3311 h 3461"/>
                <a:gd name="T56" fmla="*/ 914 w 4100"/>
                <a:gd name="T57" fmla="*/ 3093 h 3461"/>
                <a:gd name="T58" fmla="*/ 823 w 4100"/>
                <a:gd name="T59" fmla="*/ 2922 h 3461"/>
                <a:gd name="T60" fmla="*/ 689 w 4100"/>
                <a:gd name="T61" fmla="*/ 2818 h 3461"/>
                <a:gd name="T62" fmla="*/ 628 w 4100"/>
                <a:gd name="T63" fmla="*/ 2756 h 3461"/>
                <a:gd name="T64" fmla="*/ 483 w 4100"/>
                <a:gd name="T65" fmla="*/ 2859 h 3461"/>
                <a:gd name="T66" fmla="*/ 290 w 4100"/>
                <a:gd name="T67" fmla="*/ 2816 h 3461"/>
                <a:gd name="T68" fmla="*/ 175 w 4100"/>
                <a:gd name="T69" fmla="*/ 2860 h 3461"/>
                <a:gd name="T70" fmla="*/ 101 w 4100"/>
                <a:gd name="T71" fmla="*/ 2663 h 3461"/>
                <a:gd name="T72" fmla="*/ 160 w 4100"/>
                <a:gd name="T73" fmla="*/ 2701 h 3461"/>
                <a:gd name="T74" fmla="*/ 335 w 4100"/>
                <a:gd name="T75" fmla="*/ 2788 h 3461"/>
                <a:gd name="T76" fmla="*/ 331 w 4100"/>
                <a:gd name="T77" fmla="*/ 2671 h 3461"/>
                <a:gd name="T78" fmla="*/ 278 w 4100"/>
                <a:gd name="T79" fmla="*/ 2572 h 3461"/>
                <a:gd name="T80" fmla="*/ 110 w 4100"/>
                <a:gd name="T81" fmla="*/ 2516 h 3461"/>
                <a:gd name="T82" fmla="*/ 44 w 4100"/>
                <a:gd name="T83" fmla="*/ 2303 h 3461"/>
                <a:gd name="T84" fmla="*/ 58 w 4100"/>
                <a:gd name="T85" fmla="*/ 2211 h 3461"/>
                <a:gd name="T86" fmla="*/ 176 w 4100"/>
                <a:gd name="T87" fmla="*/ 2022 h 3461"/>
                <a:gd name="T88" fmla="*/ 167 w 4100"/>
                <a:gd name="T89" fmla="*/ 1863 h 3461"/>
                <a:gd name="T90" fmla="*/ 264 w 4100"/>
                <a:gd name="T91" fmla="*/ 1708 h 3461"/>
                <a:gd name="T92" fmla="*/ 558 w 4100"/>
                <a:gd name="T93" fmla="*/ 1740 h 3461"/>
                <a:gd name="T94" fmla="*/ 773 w 4100"/>
                <a:gd name="T95" fmla="*/ 1711 h 3461"/>
                <a:gd name="T96" fmla="*/ 941 w 4100"/>
                <a:gd name="T97" fmla="*/ 1638 h 3461"/>
                <a:gd name="T98" fmla="*/ 1085 w 4100"/>
                <a:gd name="T99" fmla="*/ 1614 h 3461"/>
                <a:gd name="T100" fmla="*/ 1183 w 4100"/>
                <a:gd name="T101" fmla="*/ 1544 h 3461"/>
                <a:gd name="T102" fmla="*/ 1283 w 4100"/>
                <a:gd name="T103" fmla="*/ 1487 h 3461"/>
                <a:gd name="T104" fmla="*/ 1352 w 4100"/>
                <a:gd name="T105" fmla="*/ 1365 h 3461"/>
                <a:gd name="T106" fmla="*/ 1503 w 4100"/>
                <a:gd name="T107" fmla="*/ 1316 h 3461"/>
                <a:gd name="T108" fmla="*/ 1697 w 4100"/>
                <a:gd name="T109" fmla="*/ 1278 h 3461"/>
                <a:gd name="T110" fmla="*/ 1786 w 4100"/>
                <a:gd name="T111" fmla="*/ 1133 h 3461"/>
                <a:gd name="T112" fmla="*/ 1886 w 4100"/>
                <a:gd name="T113" fmla="*/ 1211 h 3461"/>
                <a:gd name="T114" fmla="*/ 1971 w 4100"/>
                <a:gd name="T115" fmla="*/ 1186 h 3461"/>
                <a:gd name="T116" fmla="*/ 1889 w 4100"/>
                <a:gd name="T117" fmla="*/ 1105 h 3461"/>
                <a:gd name="T118" fmla="*/ 1993 w 4100"/>
                <a:gd name="T119" fmla="*/ 1071 h 3461"/>
                <a:gd name="T120" fmla="*/ 2148 w 4100"/>
                <a:gd name="T121" fmla="*/ 1037 h 3461"/>
                <a:gd name="T122" fmla="*/ 2333 w 4100"/>
                <a:gd name="T123" fmla="*/ 954 h 3461"/>
                <a:gd name="T124" fmla="*/ 2463 w 4100"/>
                <a:gd name="T125" fmla="*/ 819 h 3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00" h="3461">
                  <a:moveTo>
                    <a:pt x="2559" y="686"/>
                  </a:moveTo>
                  <a:lnTo>
                    <a:pt x="2569" y="681"/>
                  </a:lnTo>
                  <a:lnTo>
                    <a:pt x="2579" y="674"/>
                  </a:lnTo>
                  <a:lnTo>
                    <a:pt x="2591" y="664"/>
                  </a:lnTo>
                  <a:lnTo>
                    <a:pt x="2605" y="657"/>
                  </a:lnTo>
                  <a:lnTo>
                    <a:pt x="2619" y="649"/>
                  </a:lnTo>
                  <a:lnTo>
                    <a:pt x="2634" y="642"/>
                  </a:lnTo>
                  <a:lnTo>
                    <a:pt x="2650" y="634"/>
                  </a:lnTo>
                  <a:lnTo>
                    <a:pt x="2663" y="627"/>
                  </a:lnTo>
                  <a:lnTo>
                    <a:pt x="2677" y="619"/>
                  </a:lnTo>
                  <a:lnTo>
                    <a:pt x="2691" y="610"/>
                  </a:lnTo>
                  <a:lnTo>
                    <a:pt x="2703" y="604"/>
                  </a:lnTo>
                  <a:lnTo>
                    <a:pt x="2714" y="599"/>
                  </a:lnTo>
                  <a:lnTo>
                    <a:pt x="2723" y="598"/>
                  </a:lnTo>
                  <a:lnTo>
                    <a:pt x="2732" y="598"/>
                  </a:lnTo>
                  <a:lnTo>
                    <a:pt x="2741" y="600"/>
                  </a:lnTo>
                  <a:lnTo>
                    <a:pt x="2750" y="604"/>
                  </a:lnTo>
                  <a:lnTo>
                    <a:pt x="2758" y="607"/>
                  </a:lnTo>
                  <a:lnTo>
                    <a:pt x="2766" y="611"/>
                  </a:lnTo>
                  <a:lnTo>
                    <a:pt x="2773" y="616"/>
                  </a:lnTo>
                  <a:lnTo>
                    <a:pt x="2781" y="619"/>
                  </a:lnTo>
                  <a:lnTo>
                    <a:pt x="2789" y="622"/>
                  </a:lnTo>
                  <a:lnTo>
                    <a:pt x="2796" y="624"/>
                  </a:lnTo>
                  <a:lnTo>
                    <a:pt x="2804" y="625"/>
                  </a:lnTo>
                  <a:lnTo>
                    <a:pt x="2812" y="622"/>
                  </a:lnTo>
                  <a:lnTo>
                    <a:pt x="2822" y="619"/>
                  </a:lnTo>
                  <a:lnTo>
                    <a:pt x="2831" y="612"/>
                  </a:lnTo>
                  <a:lnTo>
                    <a:pt x="2843" y="600"/>
                  </a:lnTo>
                  <a:lnTo>
                    <a:pt x="2851" y="590"/>
                  </a:lnTo>
                  <a:lnTo>
                    <a:pt x="2857" y="579"/>
                  </a:lnTo>
                  <a:lnTo>
                    <a:pt x="2861" y="568"/>
                  </a:lnTo>
                  <a:lnTo>
                    <a:pt x="2864" y="557"/>
                  </a:lnTo>
                  <a:lnTo>
                    <a:pt x="2865" y="547"/>
                  </a:lnTo>
                  <a:lnTo>
                    <a:pt x="2864" y="536"/>
                  </a:lnTo>
                  <a:lnTo>
                    <a:pt x="2864" y="526"/>
                  </a:lnTo>
                  <a:lnTo>
                    <a:pt x="2860" y="504"/>
                  </a:lnTo>
                  <a:lnTo>
                    <a:pt x="2858" y="481"/>
                  </a:lnTo>
                  <a:lnTo>
                    <a:pt x="2859" y="468"/>
                  </a:lnTo>
                  <a:lnTo>
                    <a:pt x="2860" y="455"/>
                  </a:lnTo>
                  <a:lnTo>
                    <a:pt x="2864" y="442"/>
                  </a:lnTo>
                  <a:lnTo>
                    <a:pt x="2868" y="428"/>
                  </a:lnTo>
                  <a:lnTo>
                    <a:pt x="2878" y="415"/>
                  </a:lnTo>
                  <a:lnTo>
                    <a:pt x="2889" y="394"/>
                  </a:lnTo>
                  <a:lnTo>
                    <a:pt x="2902" y="371"/>
                  </a:lnTo>
                  <a:lnTo>
                    <a:pt x="2916" y="349"/>
                  </a:lnTo>
                  <a:lnTo>
                    <a:pt x="2924" y="341"/>
                  </a:lnTo>
                  <a:lnTo>
                    <a:pt x="2931" y="334"/>
                  </a:lnTo>
                  <a:lnTo>
                    <a:pt x="2935" y="333"/>
                  </a:lnTo>
                  <a:lnTo>
                    <a:pt x="2937" y="332"/>
                  </a:lnTo>
                  <a:lnTo>
                    <a:pt x="2941" y="330"/>
                  </a:lnTo>
                  <a:lnTo>
                    <a:pt x="2944" y="332"/>
                  </a:lnTo>
                  <a:lnTo>
                    <a:pt x="2948" y="334"/>
                  </a:lnTo>
                  <a:lnTo>
                    <a:pt x="2950" y="336"/>
                  </a:lnTo>
                  <a:lnTo>
                    <a:pt x="2953" y="341"/>
                  </a:lnTo>
                  <a:lnTo>
                    <a:pt x="2956" y="346"/>
                  </a:lnTo>
                  <a:lnTo>
                    <a:pt x="2960" y="361"/>
                  </a:lnTo>
                  <a:lnTo>
                    <a:pt x="2965" y="383"/>
                  </a:lnTo>
                  <a:lnTo>
                    <a:pt x="2967" y="390"/>
                  </a:lnTo>
                  <a:lnTo>
                    <a:pt x="2971" y="396"/>
                  </a:lnTo>
                  <a:lnTo>
                    <a:pt x="2975" y="400"/>
                  </a:lnTo>
                  <a:lnTo>
                    <a:pt x="2981" y="404"/>
                  </a:lnTo>
                  <a:lnTo>
                    <a:pt x="2986" y="408"/>
                  </a:lnTo>
                  <a:lnTo>
                    <a:pt x="2992" y="412"/>
                  </a:lnTo>
                  <a:lnTo>
                    <a:pt x="2995" y="417"/>
                  </a:lnTo>
                  <a:lnTo>
                    <a:pt x="2996" y="423"/>
                  </a:lnTo>
                  <a:lnTo>
                    <a:pt x="2998" y="439"/>
                  </a:lnTo>
                  <a:lnTo>
                    <a:pt x="2999" y="454"/>
                  </a:lnTo>
                  <a:lnTo>
                    <a:pt x="2999" y="469"/>
                  </a:lnTo>
                  <a:lnTo>
                    <a:pt x="3001" y="485"/>
                  </a:lnTo>
                  <a:lnTo>
                    <a:pt x="3007" y="485"/>
                  </a:lnTo>
                  <a:lnTo>
                    <a:pt x="3012" y="484"/>
                  </a:lnTo>
                  <a:lnTo>
                    <a:pt x="3015" y="483"/>
                  </a:lnTo>
                  <a:lnTo>
                    <a:pt x="3020" y="482"/>
                  </a:lnTo>
                  <a:lnTo>
                    <a:pt x="3027" y="476"/>
                  </a:lnTo>
                  <a:lnTo>
                    <a:pt x="3032" y="468"/>
                  </a:lnTo>
                  <a:lnTo>
                    <a:pt x="3044" y="449"/>
                  </a:lnTo>
                  <a:lnTo>
                    <a:pt x="3055" y="428"/>
                  </a:lnTo>
                  <a:lnTo>
                    <a:pt x="3060" y="418"/>
                  </a:lnTo>
                  <a:lnTo>
                    <a:pt x="3067" y="410"/>
                  </a:lnTo>
                  <a:lnTo>
                    <a:pt x="3074" y="401"/>
                  </a:lnTo>
                  <a:lnTo>
                    <a:pt x="3083" y="397"/>
                  </a:lnTo>
                  <a:lnTo>
                    <a:pt x="3087" y="394"/>
                  </a:lnTo>
                  <a:lnTo>
                    <a:pt x="3092" y="394"/>
                  </a:lnTo>
                  <a:lnTo>
                    <a:pt x="3098" y="393"/>
                  </a:lnTo>
                  <a:lnTo>
                    <a:pt x="3102" y="394"/>
                  </a:lnTo>
                  <a:lnTo>
                    <a:pt x="3109" y="396"/>
                  </a:lnTo>
                  <a:lnTo>
                    <a:pt x="3115" y="398"/>
                  </a:lnTo>
                  <a:lnTo>
                    <a:pt x="3122" y="401"/>
                  </a:lnTo>
                  <a:lnTo>
                    <a:pt x="3130" y="406"/>
                  </a:lnTo>
                  <a:lnTo>
                    <a:pt x="3142" y="412"/>
                  </a:lnTo>
                  <a:lnTo>
                    <a:pt x="3161" y="419"/>
                  </a:lnTo>
                  <a:lnTo>
                    <a:pt x="3183" y="425"/>
                  </a:lnTo>
                  <a:lnTo>
                    <a:pt x="3206" y="428"/>
                  </a:lnTo>
                  <a:lnTo>
                    <a:pt x="3218" y="429"/>
                  </a:lnTo>
                  <a:lnTo>
                    <a:pt x="3228" y="428"/>
                  </a:lnTo>
                  <a:lnTo>
                    <a:pt x="3237" y="427"/>
                  </a:lnTo>
                  <a:lnTo>
                    <a:pt x="3245" y="423"/>
                  </a:lnTo>
                  <a:lnTo>
                    <a:pt x="3249" y="422"/>
                  </a:lnTo>
                  <a:lnTo>
                    <a:pt x="3252" y="419"/>
                  </a:lnTo>
                  <a:lnTo>
                    <a:pt x="3255" y="417"/>
                  </a:lnTo>
                  <a:lnTo>
                    <a:pt x="3256" y="413"/>
                  </a:lnTo>
                  <a:lnTo>
                    <a:pt x="3257" y="410"/>
                  </a:lnTo>
                  <a:lnTo>
                    <a:pt x="3258" y="405"/>
                  </a:lnTo>
                  <a:lnTo>
                    <a:pt x="3258" y="400"/>
                  </a:lnTo>
                  <a:lnTo>
                    <a:pt x="3257" y="394"/>
                  </a:lnTo>
                  <a:lnTo>
                    <a:pt x="3250" y="370"/>
                  </a:lnTo>
                  <a:lnTo>
                    <a:pt x="3243" y="343"/>
                  </a:lnTo>
                  <a:lnTo>
                    <a:pt x="3240" y="330"/>
                  </a:lnTo>
                  <a:lnTo>
                    <a:pt x="3236" y="318"/>
                  </a:lnTo>
                  <a:lnTo>
                    <a:pt x="3234" y="305"/>
                  </a:lnTo>
                  <a:lnTo>
                    <a:pt x="3233" y="293"/>
                  </a:lnTo>
                  <a:lnTo>
                    <a:pt x="3233" y="280"/>
                  </a:lnTo>
                  <a:lnTo>
                    <a:pt x="3234" y="269"/>
                  </a:lnTo>
                  <a:lnTo>
                    <a:pt x="3237" y="258"/>
                  </a:lnTo>
                  <a:lnTo>
                    <a:pt x="3242" y="248"/>
                  </a:lnTo>
                  <a:lnTo>
                    <a:pt x="3245" y="243"/>
                  </a:lnTo>
                  <a:lnTo>
                    <a:pt x="3250" y="238"/>
                  </a:lnTo>
                  <a:lnTo>
                    <a:pt x="3255" y="235"/>
                  </a:lnTo>
                  <a:lnTo>
                    <a:pt x="3259" y="230"/>
                  </a:lnTo>
                  <a:lnTo>
                    <a:pt x="3265" y="227"/>
                  </a:lnTo>
                  <a:lnTo>
                    <a:pt x="3272" y="223"/>
                  </a:lnTo>
                  <a:lnTo>
                    <a:pt x="3279" y="220"/>
                  </a:lnTo>
                  <a:lnTo>
                    <a:pt x="3287" y="218"/>
                  </a:lnTo>
                  <a:lnTo>
                    <a:pt x="3315" y="208"/>
                  </a:lnTo>
                  <a:lnTo>
                    <a:pt x="3341" y="198"/>
                  </a:lnTo>
                  <a:lnTo>
                    <a:pt x="3353" y="192"/>
                  </a:lnTo>
                  <a:lnTo>
                    <a:pt x="3364" y="184"/>
                  </a:lnTo>
                  <a:lnTo>
                    <a:pt x="3375" y="174"/>
                  </a:lnTo>
                  <a:lnTo>
                    <a:pt x="3386" y="164"/>
                  </a:lnTo>
                  <a:lnTo>
                    <a:pt x="3390" y="158"/>
                  </a:lnTo>
                  <a:lnTo>
                    <a:pt x="3392" y="152"/>
                  </a:lnTo>
                  <a:lnTo>
                    <a:pt x="3394" y="148"/>
                  </a:lnTo>
                  <a:lnTo>
                    <a:pt x="3394" y="143"/>
                  </a:lnTo>
                  <a:lnTo>
                    <a:pt x="3394" y="138"/>
                  </a:lnTo>
                  <a:lnTo>
                    <a:pt x="3393" y="134"/>
                  </a:lnTo>
                  <a:lnTo>
                    <a:pt x="3391" y="129"/>
                  </a:lnTo>
                  <a:lnTo>
                    <a:pt x="3389" y="124"/>
                  </a:lnTo>
                  <a:lnTo>
                    <a:pt x="3384" y="115"/>
                  </a:lnTo>
                  <a:lnTo>
                    <a:pt x="3378" y="106"/>
                  </a:lnTo>
                  <a:lnTo>
                    <a:pt x="3376" y="101"/>
                  </a:lnTo>
                  <a:lnTo>
                    <a:pt x="3375" y="95"/>
                  </a:lnTo>
                  <a:lnTo>
                    <a:pt x="3374" y="89"/>
                  </a:lnTo>
                  <a:lnTo>
                    <a:pt x="3374" y="84"/>
                  </a:lnTo>
                  <a:lnTo>
                    <a:pt x="3379" y="80"/>
                  </a:lnTo>
                  <a:lnTo>
                    <a:pt x="3386" y="79"/>
                  </a:lnTo>
                  <a:lnTo>
                    <a:pt x="3394" y="79"/>
                  </a:lnTo>
                  <a:lnTo>
                    <a:pt x="3404" y="79"/>
                  </a:lnTo>
                  <a:lnTo>
                    <a:pt x="3412" y="79"/>
                  </a:lnTo>
                  <a:lnTo>
                    <a:pt x="3421" y="78"/>
                  </a:lnTo>
                  <a:lnTo>
                    <a:pt x="3426" y="77"/>
                  </a:lnTo>
                  <a:lnTo>
                    <a:pt x="3429" y="74"/>
                  </a:lnTo>
                  <a:lnTo>
                    <a:pt x="3434" y="73"/>
                  </a:lnTo>
                  <a:lnTo>
                    <a:pt x="3438" y="70"/>
                  </a:lnTo>
                  <a:lnTo>
                    <a:pt x="3445" y="59"/>
                  </a:lnTo>
                  <a:lnTo>
                    <a:pt x="3453" y="48"/>
                  </a:lnTo>
                  <a:lnTo>
                    <a:pt x="3456" y="43"/>
                  </a:lnTo>
                  <a:lnTo>
                    <a:pt x="3461" y="41"/>
                  </a:lnTo>
                  <a:lnTo>
                    <a:pt x="3463" y="41"/>
                  </a:lnTo>
                  <a:lnTo>
                    <a:pt x="3465" y="42"/>
                  </a:lnTo>
                  <a:lnTo>
                    <a:pt x="3469" y="44"/>
                  </a:lnTo>
                  <a:lnTo>
                    <a:pt x="3471" y="48"/>
                  </a:lnTo>
                  <a:lnTo>
                    <a:pt x="3479" y="57"/>
                  </a:lnTo>
                  <a:lnTo>
                    <a:pt x="3485" y="63"/>
                  </a:lnTo>
                  <a:lnTo>
                    <a:pt x="3491" y="66"/>
                  </a:lnTo>
                  <a:lnTo>
                    <a:pt x="3496" y="66"/>
                  </a:lnTo>
                  <a:lnTo>
                    <a:pt x="3499" y="65"/>
                  </a:lnTo>
                  <a:lnTo>
                    <a:pt x="3502" y="62"/>
                  </a:lnTo>
                  <a:lnTo>
                    <a:pt x="3504" y="56"/>
                  </a:lnTo>
                  <a:lnTo>
                    <a:pt x="3506" y="50"/>
                  </a:lnTo>
                  <a:lnTo>
                    <a:pt x="3510" y="35"/>
                  </a:lnTo>
                  <a:lnTo>
                    <a:pt x="3513" y="20"/>
                  </a:lnTo>
                  <a:lnTo>
                    <a:pt x="3516" y="13"/>
                  </a:lnTo>
                  <a:lnTo>
                    <a:pt x="3518" y="7"/>
                  </a:lnTo>
                  <a:lnTo>
                    <a:pt x="3521" y="3"/>
                  </a:lnTo>
                  <a:lnTo>
                    <a:pt x="3525" y="0"/>
                  </a:lnTo>
                  <a:lnTo>
                    <a:pt x="3527" y="0"/>
                  </a:lnTo>
                  <a:lnTo>
                    <a:pt x="3528" y="2"/>
                  </a:lnTo>
                  <a:lnTo>
                    <a:pt x="3531" y="5"/>
                  </a:lnTo>
                  <a:lnTo>
                    <a:pt x="3532" y="8"/>
                  </a:lnTo>
                  <a:lnTo>
                    <a:pt x="3535" y="19"/>
                  </a:lnTo>
                  <a:lnTo>
                    <a:pt x="3539" y="30"/>
                  </a:lnTo>
                  <a:lnTo>
                    <a:pt x="3541" y="44"/>
                  </a:lnTo>
                  <a:lnTo>
                    <a:pt x="3545" y="56"/>
                  </a:lnTo>
                  <a:lnTo>
                    <a:pt x="3548" y="66"/>
                  </a:lnTo>
                  <a:lnTo>
                    <a:pt x="3553" y="73"/>
                  </a:lnTo>
                  <a:lnTo>
                    <a:pt x="3560" y="79"/>
                  </a:lnTo>
                  <a:lnTo>
                    <a:pt x="3566" y="83"/>
                  </a:lnTo>
                  <a:lnTo>
                    <a:pt x="3571" y="86"/>
                  </a:lnTo>
                  <a:lnTo>
                    <a:pt x="3577" y="88"/>
                  </a:lnTo>
                  <a:lnTo>
                    <a:pt x="3590" y="92"/>
                  </a:lnTo>
                  <a:lnTo>
                    <a:pt x="3603" y="98"/>
                  </a:lnTo>
                  <a:lnTo>
                    <a:pt x="3608" y="100"/>
                  </a:lnTo>
                  <a:lnTo>
                    <a:pt x="3610" y="103"/>
                  </a:lnTo>
                  <a:lnTo>
                    <a:pt x="3613" y="107"/>
                  </a:lnTo>
                  <a:lnTo>
                    <a:pt x="3616" y="112"/>
                  </a:lnTo>
                  <a:lnTo>
                    <a:pt x="3621" y="121"/>
                  </a:lnTo>
                  <a:lnTo>
                    <a:pt x="3626" y="133"/>
                  </a:lnTo>
                  <a:lnTo>
                    <a:pt x="3631" y="144"/>
                  </a:lnTo>
                  <a:lnTo>
                    <a:pt x="3637" y="156"/>
                  </a:lnTo>
                  <a:lnTo>
                    <a:pt x="3644" y="166"/>
                  </a:lnTo>
                  <a:lnTo>
                    <a:pt x="3651" y="174"/>
                  </a:lnTo>
                  <a:lnTo>
                    <a:pt x="3658" y="179"/>
                  </a:lnTo>
                  <a:lnTo>
                    <a:pt x="3665" y="184"/>
                  </a:lnTo>
                  <a:lnTo>
                    <a:pt x="3673" y="187"/>
                  </a:lnTo>
                  <a:lnTo>
                    <a:pt x="3681" y="191"/>
                  </a:lnTo>
                  <a:lnTo>
                    <a:pt x="3699" y="195"/>
                  </a:lnTo>
                  <a:lnTo>
                    <a:pt x="3719" y="199"/>
                  </a:lnTo>
                  <a:lnTo>
                    <a:pt x="3759" y="204"/>
                  </a:lnTo>
                  <a:lnTo>
                    <a:pt x="3793" y="205"/>
                  </a:lnTo>
                  <a:lnTo>
                    <a:pt x="3823" y="206"/>
                  </a:lnTo>
                  <a:lnTo>
                    <a:pt x="3843" y="205"/>
                  </a:lnTo>
                  <a:lnTo>
                    <a:pt x="3847" y="204"/>
                  </a:lnTo>
                  <a:lnTo>
                    <a:pt x="3851" y="201"/>
                  </a:lnTo>
                  <a:lnTo>
                    <a:pt x="3854" y="199"/>
                  </a:lnTo>
                  <a:lnTo>
                    <a:pt x="3858" y="195"/>
                  </a:lnTo>
                  <a:lnTo>
                    <a:pt x="3864" y="185"/>
                  </a:lnTo>
                  <a:lnTo>
                    <a:pt x="3871" y="170"/>
                  </a:lnTo>
                  <a:lnTo>
                    <a:pt x="3878" y="151"/>
                  </a:lnTo>
                  <a:lnTo>
                    <a:pt x="3887" y="133"/>
                  </a:lnTo>
                  <a:lnTo>
                    <a:pt x="3892" y="123"/>
                  </a:lnTo>
                  <a:lnTo>
                    <a:pt x="3896" y="115"/>
                  </a:lnTo>
                  <a:lnTo>
                    <a:pt x="3902" y="107"/>
                  </a:lnTo>
                  <a:lnTo>
                    <a:pt x="3908" y="101"/>
                  </a:lnTo>
                  <a:lnTo>
                    <a:pt x="3914" y="96"/>
                  </a:lnTo>
                  <a:lnTo>
                    <a:pt x="3919" y="93"/>
                  </a:lnTo>
                  <a:lnTo>
                    <a:pt x="3925" y="91"/>
                  </a:lnTo>
                  <a:lnTo>
                    <a:pt x="3930" y="89"/>
                  </a:lnTo>
                  <a:lnTo>
                    <a:pt x="3942" y="88"/>
                  </a:lnTo>
                  <a:lnTo>
                    <a:pt x="3954" y="86"/>
                  </a:lnTo>
                  <a:lnTo>
                    <a:pt x="3963" y="83"/>
                  </a:lnTo>
                  <a:lnTo>
                    <a:pt x="3971" y="78"/>
                  </a:lnTo>
                  <a:lnTo>
                    <a:pt x="3978" y="72"/>
                  </a:lnTo>
                  <a:lnTo>
                    <a:pt x="3985" y="64"/>
                  </a:lnTo>
                  <a:lnTo>
                    <a:pt x="3997" y="49"/>
                  </a:lnTo>
                  <a:lnTo>
                    <a:pt x="4009" y="35"/>
                  </a:lnTo>
                  <a:lnTo>
                    <a:pt x="4018" y="29"/>
                  </a:lnTo>
                  <a:lnTo>
                    <a:pt x="4028" y="24"/>
                  </a:lnTo>
                  <a:lnTo>
                    <a:pt x="4039" y="22"/>
                  </a:lnTo>
                  <a:lnTo>
                    <a:pt x="4052" y="20"/>
                  </a:lnTo>
                  <a:lnTo>
                    <a:pt x="4065" y="20"/>
                  </a:lnTo>
                  <a:lnTo>
                    <a:pt x="4078" y="20"/>
                  </a:lnTo>
                  <a:lnTo>
                    <a:pt x="4089" y="22"/>
                  </a:lnTo>
                  <a:lnTo>
                    <a:pt x="4100" y="24"/>
                  </a:lnTo>
                  <a:lnTo>
                    <a:pt x="4087" y="48"/>
                  </a:lnTo>
                  <a:lnTo>
                    <a:pt x="4073" y="72"/>
                  </a:lnTo>
                  <a:lnTo>
                    <a:pt x="4059" y="94"/>
                  </a:lnTo>
                  <a:lnTo>
                    <a:pt x="4042" y="117"/>
                  </a:lnTo>
                  <a:lnTo>
                    <a:pt x="3907" y="287"/>
                  </a:lnTo>
                  <a:lnTo>
                    <a:pt x="3896" y="300"/>
                  </a:lnTo>
                  <a:lnTo>
                    <a:pt x="3888" y="309"/>
                  </a:lnTo>
                  <a:lnTo>
                    <a:pt x="3881" y="315"/>
                  </a:lnTo>
                  <a:lnTo>
                    <a:pt x="3876" y="319"/>
                  </a:lnTo>
                  <a:lnTo>
                    <a:pt x="3864" y="323"/>
                  </a:lnTo>
                  <a:lnTo>
                    <a:pt x="3845" y="333"/>
                  </a:lnTo>
                  <a:lnTo>
                    <a:pt x="3840" y="337"/>
                  </a:lnTo>
                  <a:lnTo>
                    <a:pt x="3837" y="342"/>
                  </a:lnTo>
                  <a:lnTo>
                    <a:pt x="3833" y="348"/>
                  </a:lnTo>
                  <a:lnTo>
                    <a:pt x="3831" y="354"/>
                  </a:lnTo>
                  <a:lnTo>
                    <a:pt x="3825" y="370"/>
                  </a:lnTo>
                  <a:lnTo>
                    <a:pt x="3819" y="387"/>
                  </a:lnTo>
                  <a:lnTo>
                    <a:pt x="3814" y="405"/>
                  </a:lnTo>
                  <a:lnTo>
                    <a:pt x="3804" y="422"/>
                  </a:lnTo>
                  <a:lnTo>
                    <a:pt x="3800" y="430"/>
                  </a:lnTo>
                  <a:lnTo>
                    <a:pt x="3793" y="437"/>
                  </a:lnTo>
                  <a:lnTo>
                    <a:pt x="3786" y="443"/>
                  </a:lnTo>
                  <a:lnTo>
                    <a:pt x="3776" y="449"/>
                  </a:lnTo>
                  <a:lnTo>
                    <a:pt x="3543" y="568"/>
                  </a:lnTo>
                  <a:lnTo>
                    <a:pt x="3535" y="572"/>
                  </a:lnTo>
                  <a:lnTo>
                    <a:pt x="3526" y="578"/>
                  </a:lnTo>
                  <a:lnTo>
                    <a:pt x="3518" y="585"/>
                  </a:lnTo>
                  <a:lnTo>
                    <a:pt x="3510" y="591"/>
                  </a:lnTo>
                  <a:lnTo>
                    <a:pt x="3496" y="605"/>
                  </a:lnTo>
                  <a:lnTo>
                    <a:pt x="3482" y="620"/>
                  </a:lnTo>
                  <a:lnTo>
                    <a:pt x="3468" y="634"/>
                  </a:lnTo>
                  <a:lnTo>
                    <a:pt x="3454" y="649"/>
                  </a:lnTo>
                  <a:lnTo>
                    <a:pt x="3439" y="662"/>
                  </a:lnTo>
                  <a:lnTo>
                    <a:pt x="3424" y="674"/>
                  </a:lnTo>
                  <a:lnTo>
                    <a:pt x="3401" y="706"/>
                  </a:lnTo>
                  <a:lnTo>
                    <a:pt x="3379" y="737"/>
                  </a:lnTo>
                  <a:lnTo>
                    <a:pt x="3358" y="763"/>
                  </a:lnTo>
                  <a:lnTo>
                    <a:pt x="3336" y="788"/>
                  </a:lnTo>
                  <a:lnTo>
                    <a:pt x="3325" y="799"/>
                  </a:lnTo>
                  <a:lnTo>
                    <a:pt x="3312" y="811"/>
                  </a:lnTo>
                  <a:lnTo>
                    <a:pt x="3299" y="821"/>
                  </a:lnTo>
                  <a:lnTo>
                    <a:pt x="3286" y="833"/>
                  </a:lnTo>
                  <a:lnTo>
                    <a:pt x="3256" y="854"/>
                  </a:lnTo>
                  <a:lnTo>
                    <a:pt x="3222" y="876"/>
                  </a:lnTo>
                  <a:lnTo>
                    <a:pt x="2908" y="1065"/>
                  </a:lnTo>
                  <a:lnTo>
                    <a:pt x="2902" y="1069"/>
                  </a:lnTo>
                  <a:lnTo>
                    <a:pt x="2895" y="1075"/>
                  </a:lnTo>
                  <a:lnTo>
                    <a:pt x="2888" y="1083"/>
                  </a:lnTo>
                  <a:lnTo>
                    <a:pt x="2880" y="1093"/>
                  </a:lnTo>
                  <a:lnTo>
                    <a:pt x="2864" y="1115"/>
                  </a:lnTo>
                  <a:lnTo>
                    <a:pt x="2847" y="1140"/>
                  </a:lnTo>
                  <a:lnTo>
                    <a:pt x="2833" y="1166"/>
                  </a:lnTo>
                  <a:lnTo>
                    <a:pt x="2822" y="1190"/>
                  </a:lnTo>
                  <a:lnTo>
                    <a:pt x="2818" y="1202"/>
                  </a:lnTo>
                  <a:lnTo>
                    <a:pt x="2816" y="1213"/>
                  </a:lnTo>
                  <a:lnTo>
                    <a:pt x="2814" y="1221"/>
                  </a:lnTo>
                  <a:lnTo>
                    <a:pt x="2815" y="1228"/>
                  </a:lnTo>
                  <a:lnTo>
                    <a:pt x="2817" y="1239"/>
                  </a:lnTo>
                  <a:lnTo>
                    <a:pt x="2822" y="1251"/>
                  </a:lnTo>
                  <a:lnTo>
                    <a:pt x="2826" y="1263"/>
                  </a:lnTo>
                  <a:lnTo>
                    <a:pt x="2832" y="1274"/>
                  </a:lnTo>
                  <a:lnTo>
                    <a:pt x="2837" y="1286"/>
                  </a:lnTo>
                  <a:lnTo>
                    <a:pt x="2839" y="1297"/>
                  </a:lnTo>
                  <a:lnTo>
                    <a:pt x="2840" y="1302"/>
                  </a:lnTo>
                  <a:lnTo>
                    <a:pt x="2842" y="1308"/>
                  </a:lnTo>
                  <a:lnTo>
                    <a:pt x="2842" y="1314"/>
                  </a:lnTo>
                  <a:lnTo>
                    <a:pt x="2840" y="1318"/>
                  </a:lnTo>
                  <a:lnTo>
                    <a:pt x="2838" y="1323"/>
                  </a:lnTo>
                  <a:lnTo>
                    <a:pt x="2836" y="1328"/>
                  </a:lnTo>
                  <a:lnTo>
                    <a:pt x="2831" y="1331"/>
                  </a:lnTo>
                  <a:lnTo>
                    <a:pt x="2826" y="1336"/>
                  </a:lnTo>
                  <a:lnTo>
                    <a:pt x="2814" y="1343"/>
                  </a:lnTo>
                  <a:lnTo>
                    <a:pt x="2799" y="1350"/>
                  </a:lnTo>
                  <a:lnTo>
                    <a:pt x="2767" y="1360"/>
                  </a:lnTo>
                  <a:lnTo>
                    <a:pt x="2743" y="1366"/>
                  </a:lnTo>
                  <a:lnTo>
                    <a:pt x="2723" y="1393"/>
                  </a:lnTo>
                  <a:lnTo>
                    <a:pt x="2702" y="1421"/>
                  </a:lnTo>
                  <a:lnTo>
                    <a:pt x="2690" y="1434"/>
                  </a:lnTo>
                  <a:lnTo>
                    <a:pt x="2677" y="1446"/>
                  </a:lnTo>
                  <a:lnTo>
                    <a:pt x="2665" y="1457"/>
                  </a:lnTo>
                  <a:lnTo>
                    <a:pt x="2651" y="1466"/>
                  </a:lnTo>
                  <a:lnTo>
                    <a:pt x="2644" y="1470"/>
                  </a:lnTo>
                  <a:lnTo>
                    <a:pt x="2638" y="1472"/>
                  </a:lnTo>
                  <a:lnTo>
                    <a:pt x="2631" y="1473"/>
                  </a:lnTo>
                  <a:lnTo>
                    <a:pt x="2623" y="1474"/>
                  </a:lnTo>
                  <a:lnTo>
                    <a:pt x="2606" y="1474"/>
                  </a:lnTo>
                  <a:lnTo>
                    <a:pt x="2590" y="1474"/>
                  </a:lnTo>
                  <a:lnTo>
                    <a:pt x="2573" y="1474"/>
                  </a:lnTo>
                  <a:lnTo>
                    <a:pt x="2556" y="1474"/>
                  </a:lnTo>
                  <a:lnTo>
                    <a:pt x="2548" y="1476"/>
                  </a:lnTo>
                  <a:lnTo>
                    <a:pt x="2540" y="1477"/>
                  </a:lnTo>
                  <a:lnTo>
                    <a:pt x="2532" y="1478"/>
                  </a:lnTo>
                  <a:lnTo>
                    <a:pt x="2525" y="1480"/>
                  </a:lnTo>
                  <a:lnTo>
                    <a:pt x="2520" y="1481"/>
                  </a:lnTo>
                  <a:lnTo>
                    <a:pt x="2516" y="1482"/>
                  </a:lnTo>
                  <a:lnTo>
                    <a:pt x="2511" y="1482"/>
                  </a:lnTo>
                  <a:lnTo>
                    <a:pt x="2508" y="1482"/>
                  </a:lnTo>
                  <a:lnTo>
                    <a:pt x="2501" y="1480"/>
                  </a:lnTo>
                  <a:lnTo>
                    <a:pt x="2494" y="1477"/>
                  </a:lnTo>
                  <a:lnTo>
                    <a:pt x="2487" y="1473"/>
                  </a:lnTo>
                  <a:lnTo>
                    <a:pt x="2481" y="1471"/>
                  </a:lnTo>
                  <a:lnTo>
                    <a:pt x="2474" y="1469"/>
                  </a:lnTo>
                  <a:lnTo>
                    <a:pt x="2466" y="1470"/>
                  </a:lnTo>
                  <a:lnTo>
                    <a:pt x="2449" y="1476"/>
                  </a:lnTo>
                  <a:lnTo>
                    <a:pt x="2435" y="1481"/>
                  </a:lnTo>
                  <a:lnTo>
                    <a:pt x="2428" y="1485"/>
                  </a:lnTo>
                  <a:lnTo>
                    <a:pt x="2421" y="1487"/>
                  </a:lnTo>
                  <a:lnTo>
                    <a:pt x="2413" y="1488"/>
                  </a:lnTo>
                  <a:lnTo>
                    <a:pt x="2405" y="1489"/>
                  </a:lnTo>
                  <a:lnTo>
                    <a:pt x="2397" y="1488"/>
                  </a:lnTo>
                  <a:lnTo>
                    <a:pt x="2389" y="1487"/>
                  </a:lnTo>
                  <a:lnTo>
                    <a:pt x="2382" y="1485"/>
                  </a:lnTo>
                  <a:lnTo>
                    <a:pt x="2375" y="1482"/>
                  </a:lnTo>
                  <a:lnTo>
                    <a:pt x="2364" y="1477"/>
                  </a:lnTo>
                  <a:lnTo>
                    <a:pt x="2355" y="1472"/>
                  </a:lnTo>
                  <a:lnTo>
                    <a:pt x="2352" y="1472"/>
                  </a:lnTo>
                  <a:lnTo>
                    <a:pt x="2347" y="1472"/>
                  </a:lnTo>
                  <a:lnTo>
                    <a:pt x="2342" y="1473"/>
                  </a:lnTo>
                  <a:lnTo>
                    <a:pt x="2339" y="1477"/>
                  </a:lnTo>
                  <a:lnTo>
                    <a:pt x="2334" y="1482"/>
                  </a:lnTo>
                  <a:lnTo>
                    <a:pt x="2328" y="1491"/>
                  </a:lnTo>
                  <a:lnTo>
                    <a:pt x="2322" y="1500"/>
                  </a:lnTo>
                  <a:lnTo>
                    <a:pt x="2317" y="1513"/>
                  </a:lnTo>
                  <a:lnTo>
                    <a:pt x="2306" y="1537"/>
                  </a:lnTo>
                  <a:lnTo>
                    <a:pt x="2298" y="1563"/>
                  </a:lnTo>
                  <a:lnTo>
                    <a:pt x="2290" y="1590"/>
                  </a:lnTo>
                  <a:lnTo>
                    <a:pt x="2283" y="1617"/>
                  </a:lnTo>
                  <a:lnTo>
                    <a:pt x="2276" y="1644"/>
                  </a:lnTo>
                  <a:lnTo>
                    <a:pt x="2267" y="1671"/>
                  </a:lnTo>
                  <a:lnTo>
                    <a:pt x="2262" y="1684"/>
                  </a:lnTo>
                  <a:lnTo>
                    <a:pt x="2257" y="1697"/>
                  </a:lnTo>
                  <a:lnTo>
                    <a:pt x="2251" y="1708"/>
                  </a:lnTo>
                  <a:lnTo>
                    <a:pt x="2246" y="1720"/>
                  </a:lnTo>
                  <a:lnTo>
                    <a:pt x="2242" y="1725"/>
                  </a:lnTo>
                  <a:lnTo>
                    <a:pt x="2237" y="1729"/>
                  </a:lnTo>
                  <a:lnTo>
                    <a:pt x="2233" y="1733"/>
                  </a:lnTo>
                  <a:lnTo>
                    <a:pt x="2228" y="1736"/>
                  </a:lnTo>
                  <a:lnTo>
                    <a:pt x="2218" y="1742"/>
                  </a:lnTo>
                  <a:lnTo>
                    <a:pt x="2206" y="1747"/>
                  </a:lnTo>
                  <a:lnTo>
                    <a:pt x="2193" y="1751"/>
                  </a:lnTo>
                  <a:lnTo>
                    <a:pt x="2183" y="1757"/>
                  </a:lnTo>
                  <a:lnTo>
                    <a:pt x="2177" y="1761"/>
                  </a:lnTo>
                  <a:lnTo>
                    <a:pt x="2172" y="1764"/>
                  </a:lnTo>
                  <a:lnTo>
                    <a:pt x="2168" y="1769"/>
                  </a:lnTo>
                  <a:lnTo>
                    <a:pt x="2163" y="1775"/>
                  </a:lnTo>
                  <a:lnTo>
                    <a:pt x="2154" y="1790"/>
                  </a:lnTo>
                  <a:lnTo>
                    <a:pt x="2145" y="1801"/>
                  </a:lnTo>
                  <a:lnTo>
                    <a:pt x="2142" y="1806"/>
                  </a:lnTo>
                  <a:lnTo>
                    <a:pt x="2139" y="1810"/>
                  </a:lnTo>
                  <a:lnTo>
                    <a:pt x="2135" y="1812"/>
                  </a:lnTo>
                  <a:lnTo>
                    <a:pt x="2133" y="1813"/>
                  </a:lnTo>
                  <a:lnTo>
                    <a:pt x="2129" y="1813"/>
                  </a:lnTo>
                  <a:lnTo>
                    <a:pt x="2126" y="1812"/>
                  </a:lnTo>
                  <a:lnTo>
                    <a:pt x="2122" y="1808"/>
                  </a:lnTo>
                  <a:lnTo>
                    <a:pt x="2119" y="1805"/>
                  </a:lnTo>
                  <a:lnTo>
                    <a:pt x="2109" y="1792"/>
                  </a:lnTo>
                  <a:lnTo>
                    <a:pt x="2099" y="1772"/>
                  </a:lnTo>
                  <a:lnTo>
                    <a:pt x="2094" y="1768"/>
                  </a:lnTo>
                  <a:lnTo>
                    <a:pt x="2091" y="1763"/>
                  </a:lnTo>
                  <a:lnTo>
                    <a:pt x="2085" y="1759"/>
                  </a:lnTo>
                  <a:lnTo>
                    <a:pt x="2079" y="1756"/>
                  </a:lnTo>
                  <a:lnTo>
                    <a:pt x="2073" y="1754"/>
                  </a:lnTo>
                  <a:lnTo>
                    <a:pt x="2066" y="1752"/>
                  </a:lnTo>
                  <a:lnTo>
                    <a:pt x="2058" y="1751"/>
                  </a:lnTo>
                  <a:lnTo>
                    <a:pt x="2050" y="1750"/>
                  </a:lnTo>
                  <a:lnTo>
                    <a:pt x="2033" y="1751"/>
                  </a:lnTo>
                  <a:lnTo>
                    <a:pt x="2014" y="1754"/>
                  </a:lnTo>
                  <a:lnTo>
                    <a:pt x="1995" y="1758"/>
                  </a:lnTo>
                  <a:lnTo>
                    <a:pt x="1976" y="1763"/>
                  </a:lnTo>
                  <a:lnTo>
                    <a:pt x="1935" y="1776"/>
                  </a:lnTo>
                  <a:lnTo>
                    <a:pt x="1898" y="1791"/>
                  </a:lnTo>
                  <a:lnTo>
                    <a:pt x="1866" y="1804"/>
                  </a:lnTo>
                  <a:lnTo>
                    <a:pt x="1844" y="1814"/>
                  </a:lnTo>
                  <a:lnTo>
                    <a:pt x="1835" y="1819"/>
                  </a:lnTo>
                  <a:lnTo>
                    <a:pt x="1827" y="1826"/>
                  </a:lnTo>
                  <a:lnTo>
                    <a:pt x="1820" y="1834"/>
                  </a:lnTo>
                  <a:lnTo>
                    <a:pt x="1814" y="1844"/>
                  </a:lnTo>
                  <a:lnTo>
                    <a:pt x="1808" y="1855"/>
                  </a:lnTo>
                  <a:lnTo>
                    <a:pt x="1803" y="1867"/>
                  </a:lnTo>
                  <a:lnTo>
                    <a:pt x="1799" y="1878"/>
                  </a:lnTo>
                  <a:lnTo>
                    <a:pt x="1794" y="1891"/>
                  </a:lnTo>
                  <a:lnTo>
                    <a:pt x="1787" y="1917"/>
                  </a:lnTo>
                  <a:lnTo>
                    <a:pt x="1779" y="1941"/>
                  </a:lnTo>
                  <a:lnTo>
                    <a:pt x="1775" y="1953"/>
                  </a:lnTo>
                  <a:lnTo>
                    <a:pt x="1771" y="1963"/>
                  </a:lnTo>
                  <a:lnTo>
                    <a:pt x="1766" y="1972"/>
                  </a:lnTo>
                  <a:lnTo>
                    <a:pt x="1760" y="1981"/>
                  </a:lnTo>
                  <a:lnTo>
                    <a:pt x="1751" y="1997"/>
                  </a:lnTo>
                  <a:lnTo>
                    <a:pt x="1743" y="2013"/>
                  </a:lnTo>
                  <a:lnTo>
                    <a:pt x="1736" y="2029"/>
                  </a:lnTo>
                  <a:lnTo>
                    <a:pt x="1729" y="2045"/>
                  </a:lnTo>
                  <a:lnTo>
                    <a:pt x="1723" y="2061"/>
                  </a:lnTo>
                  <a:lnTo>
                    <a:pt x="1717" y="2077"/>
                  </a:lnTo>
                  <a:lnTo>
                    <a:pt x="1712" y="2092"/>
                  </a:lnTo>
                  <a:lnTo>
                    <a:pt x="1709" y="2109"/>
                  </a:lnTo>
                  <a:lnTo>
                    <a:pt x="1707" y="2124"/>
                  </a:lnTo>
                  <a:lnTo>
                    <a:pt x="1703" y="2140"/>
                  </a:lnTo>
                  <a:lnTo>
                    <a:pt x="1702" y="2155"/>
                  </a:lnTo>
                  <a:lnTo>
                    <a:pt x="1701" y="2170"/>
                  </a:lnTo>
                  <a:lnTo>
                    <a:pt x="1700" y="2202"/>
                  </a:lnTo>
                  <a:lnTo>
                    <a:pt x="1702" y="2232"/>
                  </a:lnTo>
                  <a:lnTo>
                    <a:pt x="1705" y="2263"/>
                  </a:lnTo>
                  <a:lnTo>
                    <a:pt x="1710" y="2294"/>
                  </a:lnTo>
                  <a:lnTo>
                    <a:pt x="1717" y="2325"/>
                  </a:lnTo>
                  <a:lnTo>
                    <a:pt x="1725" y="2355"/>
                  </a:lnTo>
                  <a:lnTo>
                    <a:pt x="1735" y="2387"/>
                  </a:lnTo>
                  <a:lnTo>
                    <a:pt x="1745" y="2419"/>
                  </a:lnTo>
                  <a:lnTo>
                    <a:pt x="1756" y="2452"/>
                  </a:lnTo>
                  <a:lnTo>
                    <a:pt x="1767" y="2484"/>
                  </a:lnTo>
                  <a:lnTo>
                    <a:pt x="1772" y="2496"/>
                  </a:lnTo>
                  <a:lnTo>
                    <a:pt x="1773" y="2507"/>
                  </a:lnTo>
                  <a:lnTo>
                    <a:pt x="1773" y="2517"/>
                  </a:lnTo>
                  <a:lnTo>
                    <a:pt x="1773" y="2526"/>
                  </a:lnTo>
                  <a:lnTo>
                    <a:pt x="1771" y="2536"/>
                  </a:lnTo>
                  <a:lnTo>
                    <a:pt x="1768" y="2544"/>
                  </a:lnTo>
                  <a:lnTo>
                    <a:pt x="1765" y="2552"/>
                  </a:lnTo>
                  <a:lnTo>
                    <a:pt x="1760" y="2560"/>
                  </a:lnTo>
                  <a:lnTo>
                    <a:pt x="1752" y="2576"/>
                  </a:lnTo>
                  <a:lnTo>
                    <a:pt x="1744" y="2593"/>
                  </a:lnTo>
                  <a:lnTo>
                    <a:pt x="1740" y="2601"/>
                  </a:lnTo>
                  <a:lnTo>
                    <a:pt x="1738" y="2610"/>
                  </a:lnTo>
                  <a:lnTo>
                    <a:pt x="1736" y="2619"/>
                  </a:lnTo>
                  <a:lnTo>
                    <a:pt x="1736" y="2630"/>
                  </a:lnTo>
                  <a:lnTo>
                    <a:pt x="1738" y="2659"/>
                  </a:lnTo>
                  <a:lnTo>
                    <a:pt x="1742" y="2689"/>
                  </a:lnTo>
                  <a:lnTo>
                    <a:pt x="1743" y="2704"/>
                  </a:lnTo>
                  <a:lnTo>
                    <a:pt x="1743" y="2720"/>
                  </a:lnTo>
                  <a:lnTo>
                    <a:pt x="1742" y="2734"/>
                  </a:lnTo>
                  <a:lnTo>
                    <a:pt x="1738" y="2747"/>
                  </a:lnTo>
                  <a:lnTo>
                    <a:pt x="1746" y="2771"/>
                  </a:lnTo>
                  <a:lnTo>
                    <a:pt x="1763" y="2803"/>
                  </a:lnTo>
                  <a:lnTo>
                    <a:pt x="1779" y="2835"/>
                  </a:lnTo>
                  <a:lnTo>
                    <a:pt x="1792" y="2855"/>
                  </a:lnTo>
                  <a:lnTo>
                    <a:pt x="1788" y="2860"/>
                  </a:lnTo>
                  <a:lnTo>
                    <a:pt x="1786" y="2865"/>
                  </a:lnTo>
                  <a:lnTo>
                    <a:pt x="1783" y="2871"/>
                  </a:lnTo>
                  <a:lnTo>
                    <a:pt x="1782" y="2876"/>
                  </a:lnTo>
                  <a:lnTo>
                    <a:pt x="1782" y="2887"/>
                  </a:lnTo>
                  <a:lnTo>
                    <a:pt x="1782" y="2899"/>
                  </a:lnTo>
                  <a:lnTo>
                    <a:pt x="1786" y="2921"/>
                  </a:lnTo>
                  <a:lnTo>
                    <a:pt x="1788" y="2943"/>
                  </a:lnTo>
                  <a:lnTo>
                    <a:pt x="1786" y="2943"/>
                  </a:lnTo>
                  <a:lnTo>
                    <a:pt x="1782" y="2941"/>
                  </a:lnTo>
                  <a:lnTo>
                    <a:pt x="1779" y="2940"/>
                  </a:lnTo>
                  <a:lnTo>
                    <a:pt x="1775" y="2937"/>
                  </a:lnTo>
                  <a:lnTo>
                    <a:pt x="1770" y="2930"/>
                  </a:lnTo>
                  <a:lnTo>
                    <a:pt x="1763" y="2922"/>
                  </a:lnTo>
                  <a:lnTo>
                    <a:pt x="1752" y="2906"/>
                  </a:lnTo>
                  <a:lnTo>
                    <a:pt x="1744" y="2893"/>
                  </a:lnTo>
                  <a:lnTo>
                    <a:pt x="1740" y="2889"/>
                  </a:lnTo>
                  <a:lnTo>
                    <a:pt x="1738" y="2887"/>
                  </a:lnTo>
                  <a:lnTo>
                    <a:pt x="1736" y="2887"/>
                  </a:lnTo>
                  <a:lnTo>
                    <a:pt x="1732" y="2889"/>
                  </a:lnTo>
                  <a:lnTo>
                    <a:pt x="1729" y="2896"/>
                  </a:lnTo>
                  <a:lnTo>
                    <a:pt x="1725" y="2907"/>
                  </a:lnTo>
                  <a:lnTo>
                    <a:pt x="1719" y="2933"/>
                  </a:lnTo>
                  <a:lnTo>
                    <a:pt x="1718" y="2948"/>
                  </a:lnTo>
                  <a:lnTo>
                    <a:pt x="1718" y="2958"/>
                  </a:lnTo>
                  <a:lnTo>
                    <a:pt x="1719" y="2967"/>
                  </a:lnTo>
                  <a:lnTo>
                    <a:pt x="1721" y="2976"/>
                  </a:lnTo>
                  <a:lnTo>
                    <a:pt x="1723" y="2983"/>
                  </a:lnTo>
                  <a:lnTo>
                    <a:pt x="1726" y="2990"/>
                  </a:lnTo>
                  <a:lnTo>
                    <a:pt x="1729" y="2994"/>
                  </a:lnTo>
                  <a:lnTo>
                    <a:pt x="1733" y="2999"/>
                  </a:lnTo>
                  <a:lnTo>
                    <a:pt x="1737" y="3002"/>
                  </a:lnTo>
                  <a:lnTo>
                    <a:pt x="1746" y="3009"/>
                  </a:lnTo>
                  <a:lnTo>
                    <a:pt x="1757" y="3014"/>
                  </a:lnTo>
                  <a:lnTo>
                    <a:pt x="1768" y="3019"/>
                  </a:lnTo>
                  <a:lnTo>
                    <a:pt x="1780" y="3023"/>
                  </a:lnTo>
                  <a:lnTo>
                    <a:pt x="1751" y="3033"/>
                  </a:lnTo>
                  <a:lnTo>
                    <a:pt x="1715" y="3043"/>
                  </a:lnTo>
                  <a:lnTo>
                    <a:pt x="1680" y="3055"/>
                  </a:lnTo>
                  <a:lnTo>
                    <a:pt x="1651" y="3063"/>
                  </a:lnTo>
                  <a:lnTo>
                    <a:pt x="1624" y="3081"/>
                  </a:lnTo>
                  <a:lnTo>
                    <a:pt x="1600" y="3100"/>
                  </a:lnTo>
                  <a:lnTo>
                    <a:pt x="1588" y="3108"/>
                  </a:lnTo>
                  <a:lnTo>
                    <a:pt x="1576" y="3116"/>
                  </a:lnTo>
                  <a:lnTo>
                    <a:pt x="1563" y="3122"/>
                  </a:lnTo>
                  <a:lnTo>
                    <a:pt x="1552" y="3128"/>
                  </a:lnTo>
                  <a:lnTo>
                    <a:pt x="1540" y="3133"/>
                  </a:lnTo>
                  <a:lnTo>
                    <a:pt x="1527" y="3135"/>
                  </a:lnTo>
                  <a:lnTo>
                    <a:pt x="1515" y="3136"/>
                  </a:lnTo>
                  <a:lnTo>
                    <a:pt x="1502" y="3135"/>
                  </a:lnTo>
                  <a:lnTo>
                    <a:pt x="1488" y="3130"/>
                  </a:lnTo>
                  <a:lnTo>
                    <a:pt x="1474" y="3125"/>
                  </a:lnTo>
                  <a:lnTo>
                    <a:pt x="1459" y="3115"/>
                  </a:lnTo>
                  <a:lnTo>
                    <a:pt x="1442" y="3104"/>
                  </a:lnTo>
                  <a:lnTo>
                    <a:pt x="1439" y="3101"/>
                  </a:lnTo>
                  <a:lnTo>
                    <a:pt x="1434" y="3099"/>
                  </a:lnTo>
                  <a:lnTo>
                    <a:pt x="1430" y="3099"/>
                  </a:lnTo>
                  <a:lnTo>
                    <a:pt x="1426" y="3098"/>
                  </a:lnTo>
                  <a:lnTo>
                    <a:pt x="1416" y="3099"/>
                  </a:lnTo>
                  <a:lnTo>
                    <a:pt x="1406" y="3102"/>
                  </a:lnTo>
                  <a:lnTo>
                    <a:pt x="1396" y="3108"/>
                  </a:lnTo>
                  <a:lnTo>
                    <a:pt x="1385" y="3116"/>
                  </a:lnTo>
                  <a:lnTo>
                    <a:pt x="1374" y="3125"/>
                  </a:lnTo>
                  <a:lnTo>
                    <a:pt x="1363" y="3134"/>
                  </a:lnTo>
                  <a:lnTo>
                    <a:pt x="1342" y="3155"/>
                  </a:lnTo>
                  <a:lnTo>
                    <a:pt x="1325" y="3176"/>
                  </a:lnTo>
                  <a:lnTo>
                    <a:pt x="1310" y="3194"/>
                  </a:lnTo>
                  <a:lnTo>
                    <a:pt x="1298" y="3207"/>
                  </a:lnTo>
                  <a:lnTo>
                    <a:pt x="1293" y="3213"/>
                  </a:lnTo>
                  <a:lnTo>
                    <a:pt x="1286" y="3216"/>
                  </a:lnTo>
                  <a:lnTo>
                    <a:pt x="1279" y="3220"/>
                  </a:lnTo>
                  <a:lnTo>
                    <a:pt x="1271" y="3222"/>
                  </a:lnTo>
                  <a:lnTo>
                    <a:pt x="1255" y="3225"/>
                  </a:lnTo>
                  <a:lnTo>
                    <a:pt x="1236" y="3226"/>
                  </a:lnTo>
                  <a:lnTo>
                    <a:pt x="1218" y="3227"/>
                  </a:lnTo>
                  <a:lnTo>
                    <a:pt x="1199" y="3228"/>
                  </a:lnTo>
                  <a:lnTo>
                    <a:pt x="1190" y="3229"/>
                  </a:lnTo>
                  <a:lnTo>
                    <a:pt x="1182" y="3232"/>
                  </a:lnTo>
                  <a:lnTo>
                    <a:pt x="1175" y="3234"/>
                  </a:lnTo>
                  <a:lnTo>
                    <a:pt x="1168" y="3237"/>
                  </a:lnTo>
                  <a:lnTo>
                    <a:pt x="1155" y="3243"/>
                  </a:lnTo>
                  <a:lnTo>
                    <a:pt x="1144" y="3249"/>
                  </a:lnTo>
                  <a:lnTo>
                    <a:pt x="1135" y="3251"/>
                  </a:lnTo>
                  <a:lnTo>
                    <a:pt x="1126" y="3254"/>
                  </a:lnTo>
                  <a:lnTo>
                    <a:pt x="1118" y="3254"/>
                  </a:lnTo>
                  <a:lnTo>
                    <a:pt x="1111" y="3253"/>
                  </a:lnTo>
                  <a:lnTo>
                    <a:pt x="1104" y="3251"/>
                  </a:lnTo>
                  <a:lnTo>
                    <a:pt x="1097" y="3249"/>
                  </a:lnTo>
                  <a:lnTo>
                    <a:pt x="1083" y="3244"/>
                  </a:lnTo>
                  <a:lnTo>
                    <a:pt x="1066" y="3239"/>
                  </a:lnTo>
                  <a:lnTo>
                    <a:pt x="1057" y="3236"/>
                  </a:lnTo>
                  <a:lnTo>
                    <a:pt x="1047" y="3234"/>
                  </a:lnTo>
                  <a:lnTo>
                    <a:pt x="1035" y="3233"/>
                  </a:lnTo>
                  <a:lnTo>
                    <a:pt x="1022" y="3233"/>
                  </a:lnTo>
                  <a:lnTo>
                    <a:pt x="1000" y="3235"/>
                  </a:lnTo>
                  <a:lnTo>
                    <a:pt x="983" y="3239"/>
                  </a:lnTo>
                  <a:lnTo>
                    <a:pt x="976" y="3241"/>
                  </a:lnTo>
                  <a:lnTo>
                    <a:pt x="971" y="3243"/>
                  </a:lnTo>
                  <a:lnTo>
                    <a:pt x="966" y="3246"/>
                  </a:lnTo>
                  <a:lnTo>
                    <a:pt x="962" y="3249"/>
                  </a:lnTo>
                  <a:lnTo>
                    <a:pt x="959" y="3253"/>
                  </a:lnTo>
                  <a:lnTo>
                    <a:pt x="957" y="3257"/>
                  </a:lnTo>
                  <a:lnTo>
                    <a:pt x="955" y="3261"/>
                  </a:lnTo>
                  <a:lnTo>
                    <a:pt x="955" y="3265"/>
                  </a:lnTo>
                  <a:lnTo>
                    <a:pt x="954" y="3275"/>
                  </a:lnTo>
                  <a:lnTo>
                    <a:pt x="955" y="3284"/>
                  </a:lnTo>
                  <a:lnTo>
                    <a:pt x="958" y="3305"/>
                  </a:lnTo>
                  <a:lnTo>
                    <a:pt x="961" y="3327"/>
                  </a:lnTo>
                  <a:lnTo>
                    <a:pt x="959" y="3333"/>
                  </a:lnTo>
                  <a:lnTo>
                    <a:pt x="959" y="3338"/>
                  </a:lnTo>
                  <a:lnTo>
                    <a:pt x="957" y="3343"/>
                  </a:lnTo>
                  <a:lnTo>
                    <a:pt x="955" y="3348"/>
                  </a:lnTo>
                  <a:lnTo>
                    <a:pt x="952" y="3354"/>
                  </a:lnTo>
                  <a:lnTo>
                    <a:pt x="949" y="3358"/>
                  </a:lnTo>
                  <a:lnTo>
                    <a:pt x="944" y="3363"/>
                  </a:lnTo>
                  <a:lnTo>
                    <a:pt x="938" y="3368"/>
                  </a:lnTo>
                  <a:lnTo>
                    <a:pt x="929" y="3376"/>
                  </a:lnTo>
                  <a:lnTo>
                    <a:pt x="919" y="3390"/>
                  </a:lnTo>
                  <a:lnTo>
                    <a:pt x="906" y="3406"/>
                  </a:lnTo>
                  <a:lnTo>
                    <a:pt x="894" y="3422"/>
                  </a:lnTo>
                  <a:lnTo>
                    <a:pt x="881" y="3439"/>
                  </a:lnTo>
                  <a:lnTo>
                    <a:pt x="870" y="3450"/>
                  </a:lnTo>
                  <a:lnTo>
                    <a:pt x="864" y="3455"/>
                  </a:lnTo>
                  <a:lnTo>
                    <a:pt x="858" y="3459"/>
                  </a:lnTo>
                  <a:lnTo>
                    <a:pt x="853" y="3461"/>
                  </a:lnTo>
                  <a:lnTo>
                    <a:pt x="849" y="3460"/>
                  </a:lnTo>
                  <a:lnTo>
                    <a:pt x="842" y="3457"/>
                  </a:lnTo>
                  <a:lnTo>
                    <a:pt x="835" y="3454"/>
                  </a:lnTo>
                  <a:lnTo>
                    <a:pt x="828" y="3449"/>
                  </a:lnTo>
                  <a:lnTo>
                    <a:pt x="821" y="3443"/>
                  </a:lnTo>
                  <a:lnTo>
                    <a:pt x="807" y="3431"/>
                  </a:lnTo>
                  <a:lnTo>
                    <a:pt x="792" y="3415"/>
                  </a:lnTo>
                  <a:lnTo>
                    <a:pt x="765" y="3385"/>
                  </a:lnTo>
                  <a:lnTo>
                    <a:pt x="743" y="3358"/>
                  </a:lnTo>
                  <a:lnTo>
                    <a:pt x="757" y="3344"/>
                  </a:lnTo>
                  <a:lnTo>
                    <a:pt x="768" y="3334"/>
                  </a:lnTo>
                  <a:lnTo>
                    <a:pt x="779" y="3326"/>
                  </a:lnTo>
                  <a:lnTo>
                    <a:pt x="788" y="3319"/>
                  </a:lnTo>
                  <a:lnTo>
                    <a:pt x="799" y="3314"/>
                  </a:lnTo>
                  <a:lnTo>
                    <a:pt x="812" y="3311"/>
                  </a:lnTo>
                  <a:lnTo>
                    <a:pt x="828" y="3307"/>
                  </a:lnTo>
                  <a:lnTo>
                    <a:pt x="848" y="3304"/>
                  </a:lnTo>
                  <a:lnTo>
                    <a:pt x="859" y="3301"/>
                  </a:lnTo>
                  <a:lnTo>
                    <a:pt x="867" y="3297"/>
                  </a:lnTo>
                  <a:lnTo>
                    <a:pt x="876" y="3292"/>
                  </a:lnTo>
                  <a:lnTo>
                    <a:pt x="881" y="3286"/>
                  </a:lnTo>
                  <a:lnTo>
                    <a:pt x="886" y="3280"/>
                  </a:lnTo>
                  <a:lnTo>
                    <a:pt x="890" y="3274"/>
                  </a:lnTo>
                  <a:lnTo>
                    <a:pt x="892" y="3265"/>
                  </a:lnTo>
                  <a:lnTo>
                    <a:pt x="893" y="3257"/>
                  </a:lnTo>
                  <a:lnTo>
                    <a:pt x="895" y="3222"/>
                  </a:lnTo>
                  <a:lnTo>
                    <a:pt x="899" y="3186"/>
                  </a:lnTo>
                  <a:lnTo>
                    <a:pt x="905" y="3166"/>
                  </a:lnTo>
                  <a:lnTo>
                    <a:pt x="914" y="3145"/>
                  </a:lnTo>
                  <a:lnTo>
                    <a:pt x="919" y="3135"/>
                  </a:lnTo>
                  <a:lnTo>
                    <a:pt x="922" y="3125"/>
                  </a:lnTo>
                  <a:lnTo>
                    <a:pt x="924" y="3114"/>
                  </a:lnTo>
                  <a:lnTo>
                    <a:pt x="926" y="3105"/>
                  </a:lnTo>
                  <a:lnTo>
                    <a:pt x="924" y="3100"/>
                  </a:lnTo>
                  <a:lnTo>
                    <a:pt x="922" y="3097"/>
                  </a:lnTo>
                  <a:lnTo>
                    <a:pt x="919" y="3095"/>
                  </a:lnTo>
                  <a:lnTo>
                    <a:pt x="914" y="3093"/>
                  </a:lnTo>
                  <a:lnTo>
                    <a:pt x="903" y="3093"/>
                  </a:lnTo>
                  <a:lnTo>
                    <a:pt x="891" y="3093"/>
                  </a:lnTo>
                  <a:lnTo>
                    <a:pt x="884" y="3093"/>
                  </a:lnTo>
                  <a:lnTo>
                    <a:pt x="877" y="3092"/>
                  </a:lnTo>
                  <a:lnTo>
                    <a:pt x="871" y="3090"/>
                  </a:lnTo>
                  <a:lnTo>
                    <a:pt x="865" y="3087"/>
                  </a:lnTo>
                  <a:lnTo>
                    <a:pt x="860" y="3084"/>
                  </a:lnTo>
                  <a:lnTo>
                    <a:pt x="856" y="3078"/>
                  </a:lnTo>
                  <a:lnTo>
                    <a:pt x="853" y="3071"/>
                  </a:lnTo>
                  <a:lnTo>
                    <a:pt x="851" y="3062"/>
                  </a:lnTo>
                  <a:lnTo>
                    <a:pt x="851" y="3030"/>
                  </a:lnTo>
                  <a:lnTo>
                    <a:pt x="850" y="2988"/>
                  </a:lnTo>
                  <a:lnTo>
                    <a:pt x="850" y="2967"/>
                  </a:lnTo>
                  <a:lnTo>
                    <a:pt x="848" y="2949"/>
                  </a:lnTo>
                  <a:lnTo>
                    <a:pt x="846" y="2941"/>
                  </a:lnTo>
                  <a:lnTo>
                    <a:pt x="844" y="2934"/>
                  </a:lnTo>
                  <a:lnTo>
                    <a:pt x="842" y="2928"/>
                  </a:lnTo>
                  <a:lnTo>
                    <a:pt x="838" y="2923"/>
                  </a:lnTo>
                  <a:lnTo>
                    <a:pt x="836" y="2921"/>
                  </a:lnTo>
                  <a:lnTo>
                    <a:pt x="832" y="2920"/>
                  </a:lnTo>
                  <a:lnTo>
                    <a:pt x="828" y="2921"/>
                  </a:lnTo>
                  <a:lnTo>
                    <a:pt x="823" y="2922"/>
                  </a:lnTo>
                  <a:lnTo>
                    <a:pt x="813" y="2928"/>
                  </a:lnTo>
                  <a:lnTo>
                    <a:pt x="801" y="2936"/>
                  </a:lnTo>
                  <a:lnTo>
                    <a:pt x="791" y="2945"/>
                  </a:lnTo>
                  <a:lnTo>
                    <a:pt x="780" y="2955"/>
                  </a:lnTo>
                  <a:lnTo>
                    <a:pt x="773" y="2962"/>
                  </a:lnTo>
                  <a:lnTo>
                    <a:pt x="768" y="2967"/>
                  </a:lnTo>
                  <a:lnTo>
                    <a:pt x="765" y="2971"/>
                  </a:lnTo>
                  <a:lnTo>
                    <a:pt x="761" y="2971"/>
                  </a:lnTo>
                  <a:lnTo>
                    <a:pt x="757" y="2970"/>
                  </a:lnTo>
                  <a:lnTo>
                    <a:pt x="752" y="2967"/>
                  </a:lnTo>
                  <a:lnTo>
                    <a:pt x="742" y="2957"/>
                  </a:lnTo>
                  <a:lnTo>
                    <a:pt x="731" y="2944"/>
                  </a:lnTo>
                  <a:lnTo>
                    <a:pt x="713" y="2915"/>
                  </a:lnTo>
                  <a:lnTo>
                    <a:pt x="702" y="2896"/>
                  </a:lnTo>
                  <a:lnTo>
                    <a:pt x="700" y="2887"/>
                  </a:lnTo>
                  <a:lnTo>
                    <a:pt x="699" y="2877"/>
                  </a:lnTo>
                  <a:lnTo>
                    <a:pt x="697" y="2865"/>
                  </a:lnTo>
                  <a:lnTo>
                    <a:pt x="696" y="2855"/>
                  </a:lnTo>
                  <a:lnTo>
                    <a:pt x="695" y="2844"/>
                  </a:lnTo>
                  <a:lnTo>
                    <a:pt x="694" y="2834"/>
                  </a:lnTo>
                  <a:lnTo>
                    <a:pt x="692" y="2825"/>
                  </a:lnTo>
                  <a:lnTo>
                    <a:pt x="689" y="2818"/>
                  </a:lnTo>
                  <a:lnTo>
                    <a:pt x="686" y="2816"/>
                  </a:lnTo>
                  <a:lnTo>
                    <a:pt x="682" y="2815"/>
                  </a:lnTo>
                  <a:lnTo>
                    <a:pt x="679" y="2815"/>
                  </a:lnTo>
                  <a:lnTo>
                    <a:pt x="674" y="2815"/>
                  </a:lnTo>
                  <a:lnTo>
                    <a:pt x="664" y="2818"/>
                  </a:lnTo>
                  <a:lnTo>
                    <a:pt x="654" y="2821"/>
                  </a:lnTo>
                  <a:lnTo>
                    <a:pt x="650" y="2823"/>
                  </a:lnTo>
                  <a:lnTo>
                    <a:pt x="645" y="2823"/>
                  </a:lnTo>
                  <a:lnTo>
                    <a:pt x="642" y="2823"/>
                  </a:lnTo>
                  <a:lnTo>
                    <a:pt x="638" y="2823"/>
                  </a:lnTo>
                  <a:lnTo>
                    <a:pt x="637" y="2821"/>
                  </a:lnTo>
                  <a:lnTo>
                    <a:pt x="636" y="2817"/>
                  </a:lnTo>
                  <a:lnTo>
                    <a:pt x="636" y="2813"/>
                  </a:lnTo>
                  <a:lnTo>
                    <a:pt x="637" y="2806"/>
                  </a:lnTo>
                  <a:lnTo>
                    <a:pt x="640" y="2796"/>
                  </a:lnTo>
                  <a:lnTo>
                    <a:pt x="644" y="2782"/>
                  </a:lnTo>
                  <a:lnTo>
                    <a:pt x="645" y="2775"/>
                  </a:lnTo>
                  <a:lnTo>
                    <a:pt x="646" y="2770"/>
                  </a:lnTo>
                  <a:lnTo>
                    <a:pt x="645" y="2764"/>
                  </a:lnTo>
                  <a:lnTo>
                    <a:pt x="643" y="2760"/>
                  </a:lnTo>
                  <a:lnTo>
                    <a:pt x="636" y="2758"/>
                  </a:lnTo>
                  <a:lnTo>
                    <a:pt x="628" y="2756"/>
                  </a:lnTo>
                  <a:lnTo>
                    <a:pt x="617" y="2754"/>
                  </a:lnTo>
                  <a:lnTo>
                    <a:pt x="607" y="2754"/>
                  </a:lnTo>
                  <a:lnTo>
                    <a:pt x="585" y="2754"/>
                  </a:lnTo>
                  <a:lnTo>
                    <a:pt x="567" y="2752"/>
                  </a:lnTo>
                  <a:lnTo>
                    <a:pt x="564" y="2752"/>
                  </a:lnTo>
                  <a:lnTo>
                    <a:pt x="560" y="2752"/>
                  </a:lnTo>
                  <a:lnTo>
                    <a:pt x="558" y="2754"/>
                  </a:lnTo>
                  <a:lnTo>
                    <a:pt x="555" y="2757"/>
                  </a:lnTo>
                  <a:lnTo>
                    <a:pt x="550" y="2763"/>
                  </a:lnTo>
                  <a:lnTo>
                    <a:pt x="545" y="2772"/>
                  </a:lnTo>
                  <a:lnTo>
                    <a:pt x="537" y="2789"/>
                  </a:lnTo>
                  <a:lnTo>
                    <a:pt x="532" y="2803"/>
                  </a:lnTo>
                  <a:lnTo>
                    <a:pt x="527" y="2817"/>
                  </a:lnTo>
                  <a:lnTo>
                    <a:pt x="523" y="2830"/>
                  </a:lnTo>
                  <a:lnTo>
                    <a:pt x="517" y="2841"/>
                  </a:lnTo>
                  <a:lnTo>
                    <a:pt x="511" y="2850"/>
                  </a:lnTo>
                  <a:lnTo>
                    <a:pt x="508" y="2853"/>
                  </a:lnTo>
                  <a:lnTo>
                    <a:pt x="504" y="2857"/>
                  </a:lnTo>
                  <a:lnTo>
                    <a:pt x="500" y="2859"/>
                  </a:lnTo>
                  <a:lnTo>
                    <a:pt x="495" y="2860"/>
                  </a:lnTo>
                  <a:lnTo>
                    <a:pt x="489" y="2860"/>
                  </a:lnTo>
                  <a:lnTo>
                    <a:pt x="483" y="2859"/>
                  </a:lnTo>
                  <a:lnTo>
                    <a:pt x="476" y="2857"/>
                  </a:lnTo>
                  <a:lnTo>
                    <a:pt x="468" y="2853"/>
                  </a:lnTo>
                  <a:lnTo>
                    <a:pt x="465" y="2852"/>
                  </a:lnTo>
                  <a:lnTo>
                    <a:pt x="461" y="2851"/>
                  </a:lnTo>
                  <a:lnTo>
                    <a:pt x="458" y="2852"/>
                  </a:lnTo>
                  <a:lnTo>
                    <a:pt x="454" y="2853"/>
                  </a:lnTo>
                  <a:lnTo>
                    <a:pt x="448" y="2858"/>
                  </a:lnTo>
                  <a:lnTo>
                    <a:pt x="444" y="2865"/>
                  </a:lnTo>
                  <a:lnTo>
                    <a:pt x="436" y="2880"/>
                  </a:lnTo>
                  <a:lnTo>
                    <a:pt x="427" y="2892"/>
                  </a:lnTo>
                  <a:lnTo>
                    <a:pt x="424" y="2894"/>
                  </a:lnTo>
                  <a:lnTo>
                    <a:pt x="418" y="2894"/>
                  </a:lnTo>
                  <a:lnTo>
                    <a:pt x="412" y="2893"/>
                  </a:lnTo>
                  <a:lnTo>
                    <a:pt x="405" y="2891"/>
                  </a:lnTo>
                  <a:lnTo>
                    <a:pt x="389" y="2881"/>
                  </a:lnTo>
                  <a:lnTo>
                    <a:pt x="370" y="2870"/>
                  </a:lnTo>
                  <a:lnTo>
                    <a:pt x="335" y="2843"/>
                  </a:lnTo>
                  <a:lnTo>
                    <a:pt x="310" y="2823"/>
                  </a:lnTo>
                  <a:lnTo>
                    <a:pt x="304" y="2820"/>
                  </a:lnTo>
                  <a:lnTo>
                    <a:pt x="298" y="2817"/>
                  </a:lnTo>
                  <a:lnTo>
                    <a:pt x="295" y="2816"/>
                  </a:lnTo>
                  <a:lnTo>
                    <a:pt x="290" y="2816"/>
                  </a:lnTo>
                  <a:lnTo>
                    <a:pt x="283" y="2816"/>
                  </a:lnTo>
                  <a:lnTo>
                    <a:pt x="276" y="2816"/>
                  </a:lnTo>
                  <a:lnTo>
                    <a:pt x="270" y="2816"/>
                  </a:lnTo>
                  <a:lnTo>
                    <a:pt x="264" y="2814"/>
                  </a:lnTo>
                  <a:lnTo>
                    <a:pt x="260" y="2812"/>
                  </a:lnTo>
                  <a:lnTo>
                    <a:pt x="256" y="2808"/>
                  </a:lnTo>
                  <a:lnTo>
                    <a:pt x="252" y="2803"/>
                  </a:lnTo>
                  <a:lnTo>
                    <a:pt x="247" y="2796"/>
                  </a:lnTo>
                  <a:lnTo>
                    <a:pt x="245" y="2794"/>
                  </a:lnTo>
                  <a:lnTo>
                    <a:pt x="242" y="2792"/>
                  </a:lnTo>
                  <a:lnTo>
                    <a:pt x="240" y="2791"/>
                  </a:lnTo>
                  <a:lnTo>
                    <a:pt x="238" y="2789"/>
                  </a:lnTo>
                  <a:lnTo>
                    <a:pt x="232" y="2791"/>
                  </a:lnTo>
                  <a:lnTo>
                    <a:pt x="227" y="2793"/>
                  </a:lnTo>
                  <a:lnTo>
                    <a:pt x="221" y="2798"/>
                  </a:lnTo>
                  <a:lnTo>
                    <a:pt x="217" y="2803"/>
                  </a:lnTo>
                  <a:lnTo>
                    <a:pt x="211" y="2810"/>
                  </a:lnTo>
                  <a:lnTo>
                    <a:pt x="205" y="2817"/>
                  </a:lnTo>
                  <a:lnTo>
                    <a:pt x="195" y="2834"/>
                  </a:lnTo>
                  <a:lnTo>
                    <a:pt x="184" y="2849"/>
                  </a:lnTo>
                  <a:lnTo>
                    <a:pt x="179" y="2855"/>
                  </a:lnTo>
                  <a:lnTo>
                    <a:pt x="175" y="2860"/>
                  </a:lnTo>
                  <a:lnTo>
                    <a:pt x="170" y="2863"/>
                  </a:lnTo>
                  <a:lnTo>
                    <a:pt x="165" y="2864"/>
                  </a:lnTo>
                  <a:lnTo>
                    <a:pt x="157" y="2864"/>
                  </a:lnTo>
                  <a:lnTo>
                    <a:pt x="152" y="2860"/>
                  </a:lnTo>
                  <a:lnTo>
                    <a:pt x="147" y="2857"/>
                  </a:lnTo>
                  <a:lnTo>
                    <a:pt x="142" y="2851"/>
                  </a:lnTo>
                  <a:lnTo>
                    <a:pt x="140" y="2844"/>
                  </a:lnTo>
                  <a:lnTo>
                    <a:pt x="138" y="2837"/>
                  </a:lnTo>
                  <a:lnTo>
                    <a:pt x="138" y="2829"/>
                  </a:lnTo>
                  <a:lnTo>
                    <a:pt x="136" y="2821"/>
                  </a:lnTo>
                  <a:lnTo>
                    <a:pt x="139" y="2785"/>
                  </a:lnTo>
                  <a:lnTo>
                    <a:pt x="141" y="2759"/>
                  </a:lnTo>
                  <a:lnTo>
                    <a:pt x="141" y="2749"/>
                  </a:lnTo>
                  <a:lnTo>
                    <a:pt x="138" y="2739"/>
                  </a:lnTo>
                  <a:lnTo>
                    <a:pt x="133" y="2729"/>
                  </a:lnTo>
                  <a:lnTo>
                    <a:pt x="128" y="2720"/>
                  </a:lnTo>
                  <a:lnTo>
                    <a:pt x="117" y="2701"/>
                  </a:lnTo>
                  <a:lnTo>
                    <a:pt x="106" y="2683"/>
                  </a:lnTo>
                  <a:lnTo>
                    <a:pt x="104" y="2678"/>
                  </a:lnTo>
                  <a:lnTo>
                    <a:pt x="101" y="2672"/>
                  </a:lnTo>
                  <a:lnTo>
                    <a:pt x="101" y="2667"/>
                  </a:lnTo>
                  <a:lnTo>
                    <a:pt x="101" y="2663"/>
                  </a:lnTo>
                  <a:lnTo>
                    <a:pt x="103" y="2659"/>
                  </a:lnTo>
                  <a:lnTo>
                    <a:pt x="105" y="2657"/>
                  </a:lnTo>
                  <a:lnTo>
                    <a:pt x="107" y="2654"/>
                  </a:lnTo>
                  <a:lnTo>
                    <a:pt x="110" y="2653"/>
                  </a:lnTo>
                  <a:lnTo>
                    <a:pt x="112" y="2653"/>
                  </a:lnTo>
                  <a:lnTo>
                    <a:pt x="115" y="2653"/>
                  </a:lnTo>
                  <a:lnTo>
                    <a:pt x="118" y="2653"/>
                  </a:lnTo>
                  <a:lnTo>
                    <a:pt x="121" y="2654"/>
                  </a:lnTo>
                  <a:lnTo>
                    <a:pt x="124" y="2657"/>
                  </a:lnTo>
                  <a:lnTo>
                    <a:pt x="125" y="2660"/>
                  </a:lnTo>
                  <a:lnTo>
                    <a:pt x="126" y="2664"/>
                  </a:lnTo>
                  <a:lnTo>
                    <a:pt x="127" y="2667"/>
                  </a:lnTo>
                  <a:lnTo>
                    <a:pt x="127" y="2675"/>
                  </a:lnTo>
                  <a:lnTo>
                    <a:pt x="128" y="2681"/>
                  </a:lnTo>
                  <a:lnTo>
                    <a:pt x="129" y="2687"/>
                  </a:lnTo>
                  <a:lnTo>
                    <a:pt x="132" y="2690"/>
                  </a:lnTo>
                  <a:lnTo>
                    <a:pt x="134" y="2693"/>
                  </a:lnTo>
                  <a:lnTo>
                    <a:pt x="136" y="2695"/>
                  </a:lnTo>
                  <a:lnTo>
                    <a:pt x="140" y="2696"/>
                  </a:lnTo>
                  <a:lnTo>
                    <a:pt x="143" y="2697"/>
                  </a:lnTo>
                  <a:lnTo>
                    <a:pt x="150" y="2700"/>
                  </a:lnTo>
                  <a:lnTo>
                    <a:pt x="160" y="2701"/>
                  </a:lnTo>
                  <a:lnTo>
                    <a:pt x="164" y="2703"/>
                  </a:lnTo>
                  <a:lnTo>
                    <a:pt x="169" y="2706"/>
                  </a:lnTo>
                  <a:lnTo>
                    <a:pt x="174" y="2709"/>
                  </a:lnTo>
                  <a:lnTo>
                    <a:pt x="179" y="2713"/>
                  </a:lnTo>
                  <a:lnTo>
                    <a:pt x="186" y="2718"/>
                  </a:lnTo>
                  <a:lnTo>
                    <a:pt x="193" y="2722"/>
                  </a:lnTo>
                  <a:lnTo>
                    <a:pt x="202" y="2724"/>
                  </a:lnTo>
                  <a:lnTo>
                    <a:pt x="210" y="2727"/>
                  </a:lnTo>
                  <a:lnTo>
                    <a:pt x="226" y="2727"/>
                  </a:lnTo>
                  <a:lnTo>
                    <a:pt x="243" y="2727"/>
                  </a:lnTo>
                  <a:lnTo>
                    <a:pt x="260" y="2725"/>
                  </a:lnTo>
                  <a:lnTo>
                    <a:pt x="275" y="2725"/>
                  </a:lnTo>
                  <a:lnTo>
                    <a:pt x="282" y="2728"/>
                  </a:lnTo>
                  <a:lnTo>
                    <a:pt x="288" y="2730"/>
                  </a:lnTo>
                  <a:lnTo>
                    <a:pt x="294" y="2734"/>
                  </a:lnTo>
                  <a:lnTo>
                    <a:pt x="298" y="2739"/>
                  </a:lnTo>
                  <a:lnTo>
                    <a:pt x="310" y="2759"/>
                  </a:lnTo>
                  <a:lnTo>
                    <a:pt x="321" y="2780"/>
                  </a:lnTo>
                  <a:lnTo>
                    <a:pt x="324" y="2784"/>
                  </a:lnTo>
                  <a:lnTo>
                    <a:pt x="327" y="2786"/>
                  </a:lnTo>
                  <a:lnTo>
                    <a:pt x="331" y="2788"/>
                  </a:lnTo>
                  <a:lnTo>
                    <a:pt x="335" y="2788"/>
                  </a:lnTo>
                  <a:lnTo>
                    <a:pt x="339" y="2787"/>
                  </a:lnTo>
                  <a:lnTo>
                    <a:pt x="344" y="2784"/>
                  </a:lnTo>
                  <a:lnTo>
                    <a:pt x="348" y="2778"/>
                  </a:lnTo>
                  <a:lnTo>
                    <a:pt x="353" y="2771"/>
                  </a:lnTo>
                  <a:lnTo>
                    <a:pt x="355" y="2766"/>
                  </a:lnTo>
                  <a:lnTo>
                    <a:pt x="355" y="2763"/>
                  </a:lnTo>
                  <a:lnTo>
                    <a:pt x="355" y="2758"/>
                  </a:lnTo>
                  <a:lnTo>
                    <a:pt x="353" y="2753"/>
                  </a:lnTo>
                  <a:lnTo>
                    <a:pt x="348" y="2744"/>
                  </a:lnTo>
                  <a:lnTo>
                    <a:pt x="341" y="2736"/>
                  </a:lnTo>
                  <a:lnTo>
                    <a:pt x="333" y="2727"/>
                  </a:lnTo>
                  <a:lnTo>
                    <a:pt x="326" y="2718"/>
                  </a:lnTo>
                  <a:lnTo>
                    <a:pt x="324" y="2715"/>
                  </a:lnTo>
                  <a:lnTo>
                    <a:pt x="321" y="2710"/>
                  </a:lnTo>
                  <a:lnTo>
                    <a:pt x="320" y="2707"/>
                  </a:lnTo>
                  <a:lnTo>
                    <a:pt x="319" y="2703"/>
                  </a:lnTo>
                  <a:lnTo>
                    <a:pt x="320" y="2689"/>
                  </a:lnTo>
                  <a:lnTo>
                    <a:pt x="323" y="2680"/>
                  </a:lnTo>
                  <a:lnTo>
                    <a:pt x="324" y="2677"/>
                  </a:lnTo>
                  <a:lnTo>
                    <a:pt x="326" y="2674"/>
                  </a:lnTo>
                  <a:lnTo>
                    <a:pt x="328" y="2672"/>
                  </a:lnTo>
                  <a:lnTo>
                    <a:pt x="331" y="2671"/>
                  </a:lnTo>
                  <a:lnTo>
                    <a:pt x="344" y="2671"/>
                  </a:lnTo>
                  <a:lnTo>
                    <a:pt x="365" y="2672"/>
                  </a:lnTo>
                  <a:lnTo>
                    <a:pt x="380" y="2653"/>
                  </a:lnTo>
                  <a:lnTo>
                    <a:pt x="398" y="2633"/>
                  </a:lnTo>
                  <a:lnTo>
                    <a:pt x="402" y="2628"/>
                  </a:lnTo>
                  <a:lnTo>
                    <a:pt x="405" y="2623"/>
                  </a:lnTo>
                  <a:lnTo>
                    <a:pt x="408" y="2617"/>
                  </a:lnTo>
                  <a:lnTo>
                    <a:pt x="409" y="2612"/>
                  </a:lnTo>
                  <a:lnTo>
                    <a:pt x="408" y="2607"/>
                  </a:lnTo>
                  <a:lnTo>
                    <a:pt x="406" y="2601"/>
                  </a:lnTo>
                  <a:lnTo>
                    <a:pt x="403" y="2595"/>
                  </a:lnTo>
                  <a:lnTo>
                    <a:pt x="398" y="2590"/>
                  </a:lnTo>
                  <a:lnTo>
                    <a:pt x="392" y="2586"/>
                  </a:lnTo>
                  <a:lnTo>
                    <a:pt x="387" y="2581"/>
                  </a:lnTo>
                  <a:lnTo>
                    <a:pt x="381" y="2579"/>
                  </a:lnTo>
                  <a:lnTo>
                    <a:pt x="375" y="2576"/>
                  </a:lnTo>
                  <a:lnTo>
                    <a:pt x="363" y="2574"/>
                  </a:lnTo>
                  <a:lnTo>
                    <a:pt x="352" y="2573"/>
                  </a:lnTo>
                  <a:lnTo>
                    <a:pt x="326" y="2573"/>
                  </a:lnTo>
                  <a:lnTo>
                    <a:pt x="299" y="2572"/>
                  </a:lnTo>
                  <a:lnTo>
                    <a:pt x="289" y="2572"/>
                  </a:lnTo>
                  <a:lnTo>
                    <a:pt x="278" y="2572"/>
                  </a:lnTo>
                  <a:lnTo>
                    <a:pt x="268" y="2574"/>
                  </a:lnTo>
                  <a:lnTo>
                    <a:pt x="256" y="2576"/>
                  </a:lnTo>
                  <a:lnTo>
                    <a:pt x="235" y="2582"/>
                  </a:lnTo>
                  <a:lnTo>
                    <a:pt x="214" y="2587"/>
                  </a:lnTo>
                  <a:lnTo>
                    <a:pt x="184" y="2596"/>
                  </a:lnTo>
                  <a:lnTo>
                    <a:pt x="157" y="2606"/>
                  </a:lnTo>
                  <a:lnTo>
                    <a:pt x="152" y="2607"/>
                  </a:lnTo>
                  <a:lnTo>
                    <a:pt x="145" y="2608"/>
                  </a:lnTo>
                  <a:lnTo>
                    <a:pt x="139" y="2608"/>
                  </a:lnTo>
                  <a:lnTo>
                    <a:pt x="132" y="2607"/>
                  </a:lnTo>
                  <a:lnTo>
                    <a:pt x="126" y="2604"/>
                  </a:lnTo>
                  <a:lnTo>
                    <a:pt x="120" y="2600"/>
                  </a:lnTo>
                  <a:lnTo>
                    <a:pt x="113" y="2595"/>
                  </a:lnTo>
                  <a:lnTo>
                    <a:pt x="107" y="2588"/>
                  </a:lnTo>
                  <a:lnTo>
                    <a:pt x="104" y="2583"/>
                  </a:lnTo>
                  <a:lnTo>
                    <a:pt x="103" y="2578"/>
                  </a:lnTo>
                  <a:lnTo>
                    <a:pt x="103" y="2571"/>
                  </a:lnTo>
                  <a:lnTo>
                    <a:pt x="103" y="2564"/>
                  </a:lnTo>
                  <a:lnTo>
                    <a:pt x="105" y="2548"/>
                  </a:lnTo>
                  <a:lnTo>
                    <a:pt x="108" y="2531"/>
                  </a:lnTo>
                  <a:lnTo>
                    <a:pt x="110" y="2524"/>
                  </a:lnTo>
                  <a:lnTo>
                    <a:pt x="110" y="2516"/>
                  </a:lnTo>
                  <a:lnTo>
                    <a:pt x="110" y="2509"/>
                  </a:lnTo>
                  <a:lnTo>
                    <a:pt x="108" y="2503"/>
                  </a:lnTo>
                  <a:lnTo>
                    <a:pt x="107" y="2498"/>
                  </a:lnTo>
                  <a:lnTo>
                    <a:pt x="104" y="2495"/>
                  </a:lnTo>
                  <a:lnTo>
                    <a:pt x="99" y="2493"/>
                  </a:lnTo>
                  <a:lnTo>
                    <a:pt x="92" y="2493"/>
                  </a:lnTo>
                  <a:lnTo>
                    <a:pt x="82" y="2493"/>
                  </a:lnTo>
                  <a:lnTo>
                    <a:pt x="72" y="2491"/>
                  </a:lnTo>
                  <a:lnTo>
                    <a:pt x="65" y="2488"/>
                  </a:lnTo>
                  <a:lnTo>
                    <a:pt x="58" y="2484"/>
                  </a:lnTo>
                  <a:lnTo>
                    <a:pt x="53" y="2479"/>
                  </a:lnTo>
                  <a:lnTo>
                    <a:pt x="48" y="2473"/>
                  </a:lnTo>
                  <a:lnTo>
                    <a:pt x="43" y="2465"/>
                  </a:lnTo>
                  <a:lnTo>
                    <a:pt x="39" y="2454"/>
                  </a:lnTo>
                  <a:lnTo>
                    <a:pt x="40" y="2460"/>
                  </a:lnTo>
                  <a:lnTo>
                    <a:pt x="35" y="2423"/>
                  </a:lnTo>
                  <a:lnTo>
                    <a:pt x="33" y="2389"/>
                  </a:lnTo>
                  <a:lnTo>
                    <a:pt x="33" y="2372"/>
                  </a:lnTo>
                  <a:lnTo>
                    <a:pt x="34" y="2354"/>
                  </a:lnTo>
                  <a:lnTo>
                    <a:pt x="36" y="2337"/>
                  </a:lnTo>
                  <a:lnTo>
                    <a:pt x="40" y="2318"/>
                  </a:lnTo>
                  <a:lnTo>
                    <a:pt x="44" y="2303"/>
                  </a:lnTo>
                  <a:lnTo>
                    <a:pt x="49" y="2289"/>
                  </a:lnTo>
                  <a:lnTo>
                    <a:pt x="53" y="2276"/>
                  </a:lnTo>
                  <a:lnTo>
                    <a:pt x="54" y="2266"/>
                  </a:lnTo>
                  <a:lnTo>
                    <a:pt x="53" y="2260"/>
                  </a:lnTo>
                  <a:lnTo>
                    <a:pt x="51" y="2255"/>
                  </a:lnTo>
                  <a:lnTo>
                    <a:pt x="49" y="2251"/>
                  </a:lnTo>
                  <a:lnTo>
                    <a:pt x="44" y="2247"/>
                  </a:lnTo>
                  <a:lnTo>
                    <a:pt x="40" y="2242"/>
                  </a:lnTo>
                  <a:lnTo>
                    <a:pt x="33" y="2239"/>
                  </a:lnTo>
                  <a:lnTo>
                    <a:pt x="26" y="2234"/>
                  </a:lnTo>
                  <a:lnTo>
                    <a:pt x="15" y="2231"/>
                  </a:lnTo>
                  <a:lnTo>
                    <a:pt x="8" y="2228"/>
                  </a:lnTo>
                  <a:lnTo>
                    <a:pt x="4" y="2226"/>
                  </a:lnTo>
                  <a:lnTo>
                    <a:pt x="1" y="2224"/>
                  </a:lnTo>
                  <a:lnTo>
                    <a:pt x="0" y="2223"/>
                  </a:lnTo>
                  <a:lnTo>
                    <a:pt x="1" y="2220"/>
                  </a:lnTo>
                  <a:lnTo>
                    <a:pt x="3" y="2219"/>
                  </a:lnTo>
                  <a:lnTo>
                    <a:pt x="6" y="2218"/>
                  </a:lnTo>
                  <a:lnTo>
                    <a:pt x="10" y="2217"/>
                  </a:lnTo>
                  <a:lnTo>
                    <a:pt x="29" y="2214"/>
                  </a:lnTo>
                  <a:lnTo>
                    <a:pt x="46" y="2213"/>
                  </a:lnTo>
                  <a:lnTo>
                    <a:pt x="58" y="2211"/>
                  </a:lnTo>
                  <a:lnTo>
                    <a:pt x="70" y="2210"/>
                  </a:lnTo>
                  <a:lnTo>
                    <a:pt x="81" y="2210"/>
                  </a:lnTo>
                  <a:lnTo>
                    <a:pt x="91" y="2211"/>
                  </a:lnTo>
                  <a:lnTo>
                    <a:pt x="111" y="2213"/>
                  </a:lnTo>
                  <a:lnTo>
                    <a:pt x="134" y="2214"/>
                  </a:lnTo>
                  <a:lnTo>
                    <a:pt x="146" y="2214"/>
                  </a:lnTo>
                  <a:lnTo>
                    <a:pt x="155" y="2212"/>
                  </a:lnTo>
                  <a:lnTo>
                    <a:pt x="163" y="2209"/>
                  </a:lnTo>
                  <a:lnTo>
                    <a:pt x="170" y="2205"/>
                  </a:lnTo>
                  <a:lnTo>
                    <a:pt x="175" y="2199"/>
                  </a:lnTo>
                  <a:lnTo>
                    <a:pt x="178" y="2194"/>
                  </a:lnTo>
                  <a:lnTo>
                    <a:pt x="182" y="2187"/>
                  </a:lnTo>
                  <a:lnTo>
                    <a:pt x="183" y="2180"/>
                  </a:lnTo>
                  <a:lnTo>
                    <a:pt x="184" y="2146"/>
                  </a:lnTo>
                  <a:lnTo>
                    <a:pt x="185" y="2113"/>
                  </a:lnTo>
                  <a:lnTo>
                    <a:pt x="189" y="2090"/>
                  </a:lnTo>
                  <a:lnTo>
                    <a:pt x="189" y="2070"/>
                  </a:lnTo>
                  <a:lnTo>
                    <a:pt x="189" y="2061"/>
                  </a:lnTo>
                  <a:lnTo>
                    <a:pt x="188" y="2053"/>
                  </a:lnTo>
                  <a:lnTo>
                    <a:pt x="185" y="2045"/>
                  </a:lnTo>
                  <a:lnTo>
                    <a:pt x="183" y="2038"/>
                  </a:lnTo>
                  <a:lnTo>
                    <a:pt x="176" y="2022"/>
                  </a:lnTo>
                  <a:lnTo>
                    <a:pt x="167" y="2006"/>
                  </a:lnTo>
                  <a:lnTo>
                    <a:pt x="155" y="1989"/>
                  </a:lnTo>
                  <a:lnTo>
                    <a:pt x="141" y="1968"/>
                  </a:lnTo>
                  <a:lnTo>
                    <a:pt x="138" y="1962"/>
                  </a:lnTo>
                  <a:lnTo>
                    <a:pt x="134" y="1956"/>
                  </a:lnTo>
                  <a:lnTo>
                    <a:pt x="133" y="1950"/>
                  </a:lnTo>
                  <a:lnTo>
                    <a:pt x="132" y="1946"/>
                  </a:lnTo>
                  <a:lnTo>
                    <a:pt x="133" y="1942"/>
                  </a:lnTo>
                  <a:lnTo>
                    <a:pt x="134" y="1939"/>
                  </a:lnTo>
                  <a:lnTo>
                    <a:pt x="135" y="1935"/>
                  </a:lnTo>
                  <a:lnTo>
                    <a:pt x="138" y="1932"/>
                  </a:lnTo>
                  <a:lnTo>
                    <a:pt x="142" y="1926"/>
                  </a:lnTo>
                  <a:lnTo>
                    <a:pt x="147" y="1919"/>
                  </a:lnTo>
                  <a:lnTo>
                    <a:pt x="149" y="1914"/>
                  </a:lnTo>
                  <a:lnTo>
                    <a:pt x="152" y="1911"/>
                  </a:lnTo>
                  <a:lnTo>
                    <a:pt x="153" y="1905"/>
                  </a:lnTo>
                  <a:lnTo>
                    <a:pt x="153" y="1900"/>
                  </a:lnTo>
                  <a:lnTo>
                    <a:pt x="153" y="1892"/>
                  </a:lnTo>
                  <a:lnTo>
                    <a:pt x="155" y="1885"/>
                  </a:lnTo>
                  <a:lnTo>
                    <a:pt x="157" y="1879"/>
                  </a:lnTo>
                  <a:lnTo>
                    <a:pt x="160" y="1874"/>
                  </a:lnTo>
                  <a:lnTo>
                    <a:pt x="167" y="1863"/>
                  </a:lnTo>
                  <a:lnTo>
                    <a:pt x="175" y="1854"/>
                  </a:lnTo>
                  <a:lnTo>
                    <a:pt x="182" y="1846"/>
                  </a:lnTo>
                  <a:lnTo>
                    <a:pt x="186" y="1839"/>
                  </a:lnTo>
                  <a:lnTo>
                    <a:pt x="188" y="1835"/>
                  </a:lnTo>
                  <a:lnTo>
                    <a:pt x="188" y="1832"/>
                  </a:lnTo>
                  <a:lnTo>
                    <a:pt x="188" y="1828"/>
                  </a:lnTo>
                  <a:lnTo>
                    <a:pt x="185" y="1825"/>
                  </a:lnTo>
                  <a:lnTo>
                    <a:pt x="174" y="1807"/>
                  </a:lnTo>
                  <a:lnTo>
                    <a:pt x="167" y="1794"/>
                  </a:lnTo>
                  <a:lnTo>
                    <a:pt x="162" y="1779"/>
                  </a:lnTo>
                  <a:lnTo>
                    <a:pt x="157" y="1758"/>
                  </a:lnTo>
                  <a:lnTo>
                    <a:pt x="168" y="1754"/>
                  </a:lnTo>
                  <a:lnTo>
                    <a:pt x="177" y="1748"/>
                  </a:lnTo>
                  <a:lnTo>
                    <a:pt x="186" y="1741"/>
                  </a:lnTo>
                  <a:lnTo>
                    <a:pt x="196" y="1733"/>
                  </a:lnTo>
                  <a:lnTo>
                    <a:pt x="204" y="1726"/>
                  </a:lnTo>
                  <a:lnTo>
                    <a:pt x="214" y="1720"/>
                  </a:lnTo>
                  <a:lnTo>
                    <a:pt x="224" y="1714"/>
                  </a:lnTo>
                  <a:lnTo>
                    <a:pt x="234" y="1711"/>
                  </a:lnTo>
                  <a:lnTo>
                    <a:pt x="243" y="1709"/>
                  </a:lnTo>
                  <a:lnTo>
                    <a:pt x="254" y="1708"/>
                  </a:lnTo>
                  <a:lnTo>
                    <a:pt x="264" y="1708"/>
                  </a:lnTo>
                  <a:lnTo>
                    <a:pt x="275" y="1709"/>
                  </a:lnTo>
                  <a:lnTo>
                    <a:pt x="297" y="1711"/>
                  </a:lnTo>
                  <a:lnTo>
                    <a:pt x="317" y="1711"/>
                  </a:lnTo>
                  <a:lnTo>
                    <a:pt x="331" y="1711"/>
                  </a:lnTo>
                  <a:lnTo>
                    <a:pt x="345" y="1712"/>
                  </a:lnTo>
                  <a:lnTo>
                    <a:pt x="360" y="1714"/>
                  </a:lnTo>
                  <a:lnTo>
                    <a:pt x="375" y="1716"/>
                  </a:lnTo>
                  <a:lnTo>
                    <a:pt x="389" y="1719"/>
                  </a:lnTo>
                  <a:lnTo>
                    <a:pt x="402" y="1719"/>
                  </a:lnTo>
                  <a:lnTo>
                    <a:pt x="408" y="1718"/>
                  </a:lnTo>
                  <a:lnTo>
                    <a:pt x="412" y="1716"/>
                  </a:lnTo>
                  <a:lnTo>
                    <a:pt x="416" y="1714"/>
                  </a:lnTo>
                  <a:lnTo>
                    <a:pt x="418" y="1711"/>
                  </a:lnTo>
                  <a:lnTo>
                    <a:pt x="466" y="1722"/>
                  </a:lnTo>
                  <a:lnTo>
                    <a:pt x="476" y="1722"/>
                  </a:lnTo>
                  <a:lnTo>
                    <a:pt x="488" y="1725"/>
                  </a:lnTo>
                  <a:lnTo>
                    <a:pt x="500" y="1728"/>
                  </a:lnTo>
                  <a:lnTo>
                    <a:pt x="510" y="1732"/>
                  </a:lnTo>
                  <a:lnTo>
                    <a:pt x="522" y="1734"/>
                  </a:lnTo>
                  <a:lnTo>
                    <a:pt x="533" y="1737"/>
                  </a:lnTo>
                  <a:lnTo>
                    <a:pt x="545" y="1739"/>
                  </a:lnTo>
                  <a:lnTo>
                    <a:pt x="558" y="1740"/>
                  </a:lnTo>
                  <a:lnTo>
                    <a:pt x="575" y="1735"/>
                  </a:lnTo>
                  <a:lnTo>
                    <a:pt x="595" y="1729"/>
                  </a:lnTo>
                  <a:lnTo>
                    <a:pt x="604" y="1727"/>
                  </a:lnTo>
                  <a:lnTo>
                    <a:pt x="614" y="1727"/>
                  </a:lnTo>
                  <a:lnTo>
                    <a:pt x="618" y="1727"/>
                  </a:lnTo>
                  <a:lnTo>
                    <a:pt x="623" y="1727"/>
                  </a:lnTo>
                  <a:lnTo>
                    <a:pt x="628" y="1728"/>
                  </a:lnTo>
                  <a:lnTo>
                    <a:pt x="631" y="1730"/>
                  </a:lnTo>
                  <a:lnTo>
                    <a:pt x="638" y="1734"/>
                  </a:lnTo>
                  <a:lnTo>
                    <a:pt x="645" y="1736"/>
                  </a:lnTo>
                  <a:lnTo>
                    <a:pt x="651" y="1737"/>
                  </a:lnTo>
                  <a:lnTo>
                    <a:pt x="657" y="1737"/>
                  </a:lnTo>
                  <a:lnTo>
                    <a:pt x="670" y="1736"/>
                  </a:lnTo>
                  <a:lnTo>
                    <a:pt x="682" y="1737"/>
                  </a:lnTo>
                  <a:lnTo>
                    <a:pt x="701" y="1744"/>
                  </a:lnTo>
                  <a:lnTo>
                    <a:pt x="714" y="1750"/>
                  </a:lnTo>
                  <a:lnTo>
                    <a:pt x="721" y="1751"/>
                  </a:lnTo>
                  <a:lnTo>
                    <a:pt x="728" y="1750"/>
                  </a:lnTo>
                  <a:lnTo>
                    <a:pt x="735" y="1747"/>
                  </a:lnTo>
                  <a:lnTo>
                    <a:pt x="744" y="1740"/>
                  </a:lnTo>
                  <a:lnTo>
                    <a:pt x="758" y="1725"/>
                  </a:lnTo>
                  <a:lnTo>
                    <a:pt x="773" y="1711"/>
                  </a:lnTo>
                  <a:lnTo>
                    <a:pt x="789" y="1697"/>
                  </a:lnTo>
                  <a:lnTo>
                    <a:pt x="806" y="1683"/>
                  </a:lnTo>
                  <a:lnTo>
                    <a:pt x="815" y="1670"/>
                  </a:lnTo>
                  <a:lnTo>
                    <a:pt x="823" y="1659"/>
                  </a:lnTo>
                  <a:lnTo>
                    <a:pt x="832" y="1649"/>
                  </a:lnTo>
                  <a:lnTo>
                    <a:pt x="843" y="1641"/>
                  </a:lnTo>
                  <a:lnTo>
                    <a:pt x="849" y="1638"/>
                  </a:lnTo>
                  <a:lnTo>
                    <a:pt x="855" y="1636"/>
                  </a:lnTo>
                  <a:lnTo>
                    <a:pt x="860" y="1634"/>
                  </a:lnTo>
                  <a:lnTo>
                    <a:pt x="866" y="1633"/>
                  </a:lnTo>
                  <a:lnTo>
                    <a:pt x="873" y="1633"/>
                  </a:lnTo>
                  <a:lnTo>
                    <a:pt x="880" y="1634"/>
                  </a:lnTo>
                  <a:lnTo>
                    <a:pt x="888" y="1635"/>
                  </a:lnTo>
                  <a:lnTo>
                    <a:pt x="895" y="1637"/>
                  </a:lnTo>
                  <a:lnTo>
                    <a:pt x="906" y="1641"/>
                  </a:lnTo>
                  <a:lnTo>
                    <a:pt x="914" y="1643"/>
                  </a:lnTo>
                  <a:lnTo>
                    <a:pt x="921" y="1644"/>
                  </a:lnTo>
                  <a:lnTo>
                    <a:pt x="926" y="1644"/>
                  </a:lnTo>
                  <a:lnTo>
                    <a:pt x="930" y="1644"/>
                  </a:lnTo>
                  <a:lnTo>
                    <a:pt x="935" y="1643"/>
                  </a:lnTo>
                  <a:lnTo>
                    <a:pt x="937" y="1641"/>
                  </a:lnTo>
                  <a:lnTo>
                    <a:pt x="941" y="1638"/>
                  </a:lnTo>
                  <a:lnTo>
                    <a:pt x="945" y="1634"/>
                  </a:lnTo>
                  <a:lnTo>
                    <a:pt x="951" y="1629"/>
                  </a:lnTo>
                  <a:lnTo>
                    <a:pt x="954" y="1627"/>
                  </a:lnTo>
                  <a:lnTo>
                    <a:pt x="958" y="1626"/>
                  </a:lnTo>
                  <a:lnTo>
                    <a:pt x="963" y="1624"/>
                  </a:lnTo>
                  <a:lnTo>
                    <a:pt x="969" y="1624"/>
                  </a:lnTo>
                  <a:lnTo>
                    <a:pt x="976" y="1624"/>
                  </a:lnTo>
                  <a:lnTo>
                    <a:pt x="983" y="1627"/>
                  </a:lnTo>
                  <a:lnTo>
                    <a:pt x="988" y="1630"/>
                  </a:lnTo>
                  <a:lnTo>
                    <a:pt x="995" y="1635"/>
                  </a:lnTo>
                  <a:lnTo>
                    <a:pt x="1009" y="1644"/>
                  </a:lnTo>
                  <a:lnTo>
                    <a:pt x="1023" y="1654"/>
                  </a:lnTo>
                  <a:lnTo>
                    <a:pt x="1030" y="1657"/>
                  </a:lnTo>
                  <a:lnTo>
                    <a:pt x="1037" y="1659"/>
                  </a:lnTo>
                  <a:lnTo>
                    <a:pt x="1043" y="1662"/>
                  </a:lnTo>
                  <a:lnTo>
                    <a:pt x="1050" y="1662"/>
                  </a:lnTo>
                  <a:lnTo>
                    <a:pt x="1057" y="1661"/>
                  </a:lnTo>
                  <a:lnTo>
                    <a:pt x="1063" y="1657"/>
                  </a:lnTo>
                  <a:lnTo>
                    <a:pt x="1069" y="1651"/>
                  </a:lnTo>
                  <a:lnTo>
                    <a:pt x="1075" y="1643"/>
                  </a:lnTo>
                  <a:lnTo>
                    <a:pt x="1079" y="1630"/>
                  </a:lnTo>
                  <a:lnTo>
                    <a:pt x="1085" y="1614"/>
                  </a:lnTo>
                  <a:lnTo>
                    <a:pt x="1087" y="1606"/>
                  </a:lnTo>
                  <a:lnTo>
                    <a:pt x="1091" y="1599"/>
                  </a:lnTo>
                  <a:lnTo>
                    <a:pt x="1093" y="1597"/>
                  </a:lnTo>
                  <a:lnTo>
                    <a:pt x="1094" y="1595"/>
                  </a:lnTo>
                  <a:lnTo>
                    <a:pt x="1097" y="1594"/>
                  </a:lnTo>
                  <a:lnTo>
                    <a:pt x="1099" y="1594"/>
                  </a:lnTo>
                  <a:lnTo>
                    <a:pt x="1107" y="1595"/>
                  </a:lnTo>
                  <a:lnTo>
                    <a:pt x="1113" y="1595"/>
                  </a:lnTo>
                  <a:lnTo>
                    <a:pt x="1119" y="1593"/>
                  </a:lnTo>
                  <a:lnTo>
                    <a:pt x="1122" y="1590"/>
                  </a:lnTo>
                  <a:lnTo>
                    <a:pt x="1127" y="1585"/>
                  </a:lnTo>
                  <a:lnTo>
                    <a:pt x="1129" y="1579"/>
                  </a:lnTo>
                  <a:lnTo>
                    <a:pt x="1133" y="1573"/>
                  </a:lnTo>
                  <a:lnTo>
                    <a:pt x="1135" y="1567"/>
                  </a:lnTo>
                  <a:lnTo>
                    <a:pt x="1141" y="1567"/>
                  </a:lnTo>
                  <a:lnTo>
                    <a:pt x="1148" y="1566"/>
                  </a:lnTo>
                  <a:lnTo>
                    <a:pt x="1153" y="1564"/>
                  </a:lnTo>
                  <a:lnTo>
                    <a:pt x="1157" y="1562"/>
                  </a:lnTo>
                  <a:lnTo>
                    <a:pt x="1167" y="1556"/>
                  </a:lnTo>
                  <a:lnTo>
                    <a:pt x="1175" y="1549"/>
                  </a:lnTo>
                  <a:lnTo>
                    <a:pt x="1178" y="1547"/>
                  </a:lnTo>
                  <a:lnTo>
                    <a:pt x="1183" y="1544"/>
                  </a:lnTo>
                  <a:lnTo>
                    <a:pt x="1187" y="1543"/>
                  </a:lnTo>
                  <a:lnTo>
                    <a:pt x="1192" y="1542"/>
                  </a:lnTo>
                  <a:lnTo>
                    <a:pt x="1198" y="1542"/>
                  </a:lnTo>
                  <a:lnTo>
                    <a:pt x="1204" y="1543"/>
                  </a:lnTo>
                  <a:lnTo>
                    <a:pt x="1211" y="1545"/>
                  </a:lnTo>
                  <a:lnTo>
                    <a:pt x="1219" y="1550"/>
                  </a:lnTo>
                  <a:lnTo>
                    <a:pt x="1227" y="1553"/>
                  </a:lnTo>
                  <a:lnTo>
                    <a:pt x="1235" y="1556"/>
                  </a:lnTo>
                  <a:lnTo>
                    <a:pt x="1243" y="1557"/>
                  </a:lnTo>
                  <a:lnTo>
                    <a:pt x="1250" y="1557"/>
                  </a:lnTo>
                  <a:lnTo>
                    <a:pt x="1257" y="1556"/>
                  </a:lnTo>
                  <a:lnTo>
                    <a:pt x="1263" y="1552"/>
                  </a:lnTo>
                  <a:lnTo>
                    <a:pt x="1269" y="1549"/>
                  </a:lnTo>
                  <a:lnTo>
                    <a:pt x="1274" y="1544"/>
                  </a:lnTo>
                  <a:lnTo>
                    <a:pt x="1278" y="1540"/>
                  </a:lnTo>
                  <a:lnTo>
                    <a:pt x="1281" y="1534"/>
                  </a:lnTo>
                  <a:lnTo>
                    <a:pt x="1284" y="1527"/>
                  </a:lnTo>
                  <a:lnTo>
                    <a:pt x="1285" y="1520"/>
                  </a:lnTo>
                  <a:lnTo>
                    <a:pt x="1286" y="1512"/>
                  </a:lnTo>
                  <a:lnTo>
                    <a:pt x="1286" y="1503"/>
                  </a:lnTo>
                  <a:lnTo>
                    <a:pt x="1285" y="1495"/>
                  </a:lnTo>
                  <a:lnTo>
                    <a:pt x="1283" y="1487"/>
                  </a:lnTo>
                  <a:lnTo>
                    <a:pt x="1279" y="1470"/>
                  </a:lnTo>
                  <a:lnTo>
                    <a:pt x="1276" y="1456"/>
                  </a:lnTo>
                  <a:lnTo>
                    <a:pt x="1275" y="1450"/>
                  </a:lnTo>
                  <a:lnTo>
                    <a:pt x="1276" y="1443"/>
                  </a:lnTo>
                  <a:lnTo>
                    <a:pt x="1277" y="1439"/>
                  </a:lnTo>
                  <a:lnTo>
                    <a:pt x="1278" y="1436"/>
                  </a:lnTo>
                  <a:lnTo>
                    <a:pt x="1281" y="1432"/>
                  </a:lnTo>
                  <a:lnTo>
                    <a:pt x="1284" y="1429"/>
                  </a:lnTo>
                  <a:lnTo>
                    <a:pt x="1289" y="1424"/>
                  </a:lnTo>
                  <a:lnTo>
                    <a:pt x="1291" y="1420"/>
                  </a:lnTo>
                  <a:lnTo>
                    <a:pt x="1292" y="1415"/>
                  </a:lnTo>
                  <a:lnTo>
                    <a:pt x="1292" y="1410"/>
                  </a:lnTo>
                  <a:lnTo>
                    <a:pt x="1293" y="1405"/>
                  </a:lnTo>
                  <a:lnTo>
                    <a:pt x="1295" y="1399"/>
                  </a:lnTo>
                  <a:lnTo>
                    <a:pt x="1297" y="1394"/>
                  </a:lnTo>
                  <a:lnTo>
                    <a:pt x="1302" y="1388"/>
                  </a:lnTo>
                  <a:lnTo>
                    <a:pt x="1307" y="1384"/>
                  </a:lnTo>
                  <a:lnTo>
                    <a:pt x="1313" y="1379"/>
                  </a:lnTo>
                  <a:lnTo>
                    <a:pt x="1319" y="1375"/>
                  </a:lnTo>
                  <a:lnTo>
                    <a:pt x="1326" y="1372"/>
                  </a:lnTo>
                  <a:lnTo>
                    <a:pt x="1339" y="1368"/>
                  </a:lnTo>
                  <a:lnTo>
                    <a:pt x="1352" y="1365"/>
                  </a:lnTo>
                  <a:lnTo>
                    <a:pt x="1363" y="1363"/>
                  </a:lnTo>
                  <a:lnTo>
                    <a:pt x="1375" y="1360"/>
                  </a:lnTo>
                  <a:lnTo>
                    <a:pt x="1381" y="1359"/>
                  </a:lnTo>
                  <a:lnTo>
                    <a:pt x="1385" y="1357"/>
                  </a:lnTo>
                  <a:lnTo>
                    <a:pt x="1390" y="1353"/>
                  </a:lnTo>
                  <a:lnTo>
                    <a:pt x="1395" y="1350"/>
                  </a:lnTo>
                  <a:lnTo>
                    <a:pt x="1403" y="1344"/>
                  </a:lnTo>
                  <a:lnTo>
                    <a:pt x="1410" y="1341"/>
                  </a:lnTo>
                  <a:lnTo>
                    <a:pt x="1418" y="1337"/>
                  </a:lnTo>
                  <a:lnTo>
                    <a:pt x="1425" y="1335"/>
                  </a:lnTo>
                  <a:lnTo>
                    <a:pt x="1433" y="1332"/>
                  </a:lnTo>
                  <a:lnTo>
                    <a:pt x="1441" y="1329"/>
                  </a:lnTo>
                  <a:lnTo>
                    <a:pt x="1449" y="1324"/>
                  </a:lnTo>
                  <a:lnTo>
                    <a:pt x="1458" y="1318"/>
                  </a:lnTo>
                  <a:lnTo>
                    <a:pt x="1465" y="1314"/>
                  </a:lnTo>
                  <a:lnTo>
                    <a:pt x="1470" y="1313"/>
                  </a:lnTo>
                  <a:lnTo>
                    <a:pt x="1475" y="1313"/>
                  </a:lnTo>
                  <a:lnTo>
                    <a:pt x="1481" y="1315"/>
                  </a:lnTo>
                  <a:lnTo>
                    <a:pt x="1485" y="1316"/>
                  </a:lnTo>
                  <a:lnTo>
                    <a:pt x="1490" y="1317"/>
                  </a:lnTo>
                  <a:lnTo>
                    <a:pt x="1496" y="1318"/>
                  </a:lnTo>
                  <a:lnTo>
                    <a:pt x="1503" y="1316"/>
                  </a:lnTo>
                  <a:lnTo>
                    <a:pt x="1518" y="1309"/>
                  </a:lnTo>
                  <a:lnTo>
                    <a:pt x="1540" y="1300"/>
                  </a:lnTo>
                  <a:lnTo>
                    <a:pt x="1561" y="1292"/>
                  </a:lnTo>
                  <a:lnTo>
                    <a:pt x="1572" y="1288"/>
                  </a:lnTo>
                  <a:lnTo>
                    <a:pt x="1580" y="1295"/>
                  </a:lnTo>
                  <a:lnTo>
                    <a:pt x="1588" y="1299"/>
                  </a:lnTo>
                  <a:lnTo>
                    <a:pt x="1594" y="1300"/>
                  </a:lnTo>
                  <a:lnTo>
                    <a:pt x="1600" y="1300"/>
                  </a:lnTo>
                  <a:lnTo>
                    <a:pt x="1605" y="1302"/>
                  </a:lnTo>
                  <a:lnTo>
                    <a:pt x="1610" y="1306"/>
                  </a:lnTo>
                  <a:lnTo>
                    <a:pt x="1616" y="1313"/>
                  </a:lnTo>
                  <a:lnTo>
                    <a:pt x="1623" y="1324"/>
                  </a:lnTo>
                  <a:lnTo>
                    <a:pt x="1632" y="1327"/>
                  </a:lnTo>
                  <a:lnTo>
                    <a:pt x="1640" y="1327"/>
                  </a:lnTo>
                  <a:lnTo>
                    <a:pt x="1650" y="1325"/>
                  </a:lnTo>
                  <a:lnTo>
                    <a:pt x="1658" y="1322"/>
                  </a:lnTo>
                  <a:lnTo>
                    <a:pt x="1666" y="1317"/>
                  </a:lnTo>
                  <a:lnTo>
                    <a:pt x="1673" y="1311"/>
                  </a:lnTo>
                  <a:lnTo>
                    <a:pt x="1680" y="1304"/>
                  </a:lnTo>
                  <a:lnTo>
                    <a:pt x="1687" y="1296"/>
                  </a:lnTo>
                  <a:lnTo>
                    <a:pt x="1693" y="1287"/>
                  </a:lnTo>
                  <a:lnTo>
                    <a:pt x="1697" y="1278"/>
                  </a:lnTo>
                  <a:lnTo>
                    <a:pt x="1701" y="1268"/>
                  </a:lnTo>
                  <a:lnTo>
                    <a:pt x="1703" y="1258"/>
                  </a:lnTo>
                  <a:lnTo>
                    <a:pt x="1705" y="1249"/>
                  </a:lnTo>
                  <a:lnTo>
                    <a:pt x="1705" y="1238"/>
                  </a:lnTo>
                  <a:lnTo>
                    <a:pt x="1705" y="1229"/>
                  </a:lnTo>
                  <a:lnTo>
                    <a:pt x="1703" y="1221"/>
                  </a:lnTo>
                  <a:lnTo>
                    <a:pt x="1697" y="1219"/>
                  </a:lnTo>
                  <a:lnTo>
                    <a:pt x="1693" y="1218"/>
                  </a:lnTo>
                  <a:lnTo>
                    <a:pt x="1689" y="1216"/>
                  </a:lnTo>
                  <a:lnTo>
                    <a:pt x="1687" y="1214"/>
                  </a:lnTo>
                  <a:lnTo>
                    <a:pt x="1686" y="1210"/>
                  </a:lnTo>
                  <a:lnTo>
                    <a:pt x="1686" y="1206"/>
                  </a:lnTo>
                  <a:lnTo>
                    <a:pt x="1687" y="1202"/>
                  </a:lnTo>
                  <a:lnTo>
                    <a:pt x="1688" y="1197"/>
                  </a:lnTo>
                  <a:lnTo>
                    <a:pt x="1696" y="1178"/>
                  </a:lnTo>
                  <a:lnTo>
                    <a:pt x="1704" y="1160"/>
                  </a:lnTo>
                  <a:lnTo>
                    <a:pt x="1718" y="1155"/>
                  </a:lnTo>
                  <a:lnTo>
                    <a:pt x="1737" y="1151"/>
                  </a:lnTo>
                  <a:lnTo>
                    <a:pt x="1768" y="1128"/>
                  </a:lnTo>
                  <a:lnTo>
                    <a:pt x="1774" y="1131"/>
                  </a:lnTo>
                  <a:lnTo>
                    <a:pt x="1780" y="1132"/>
                  </a:lnTo>
                  <a:lnTo>
                    <a:pt x="1786" y="1133"/>
                  </a:lnTo>
                  <a:lnTo>
                    <a:pt x="1793" y="1133"/>
                  </a:lnTo>
                  <a:lnTo>
                    <a:pt x="1799" y="1133"/>
                  </a:lnTo>
                  <a:lnTo>
                    <a:pt x="1804" y="1135"/>
                  </a:lnTo>
                  <a:lnTo>
                    <a:pt x="1810" y="1136"/>
                  </a:lnTo>
                  <a:lnTo>
                    <a:pt x="1816" y="1138"/>
                  </a:lnTo>
                  <a:lnTo>
                    <a:pt x="1820" y="1140"/>
                  </a:lnTo>
                  <a:lnTo>
                    <a:pt x="1823" y="1144"/>
                  </a:lnTo>
                  <a:lnTo>
                    <a:pt x="1825" y="1149"/>
                  </a:lnTo>
                  <a:lnTo>
                    <a:pt x="1827" y="1154"/>
                  </a:lnTo>
                  <a:lnTo>
                    <a:pt x="1830" y="1166"/>
                  </a:lnTo>
                  <a:lnTo>
                    <a:pt x="1834" y="1179"/>
                  </a:lnTo>
                  <a:lnTo>
                    <a:pt x="1836" y="1185"/>
                  </a:lnTo>
                  <a:lnTo>
                    <a:pt x="1838" y="1190"/>
                  </a:lnTo>
                  <a:lnTo>
                    <a:pt x="1841" y="1195"/>
                  </a:lnTo>
                  <a:lnTo>
                    <a:pt x="1844" y="1200"/>
                  </a:lnTo>
                  <a:lnTo>
                    <a:pt x="1849" y="1203"/>
                  </a:lnTo>
                  <a:lnTo>
                    <a:pt x="1854" y="1207"/>
                  </a:lnTo>
                  <a:lnTo>
                    <a:pt x="1860" y="1208"/>
                  </a:lnTo>
                  <a:lnTo>
                    <a:pt x="1867" y="1209"/>
                  </a:lnTo>
                  <a:lnTo>
                    <a:pt x="1874" y="1209"/>
                  </a:lnTo>
                  <a:lnTo>
                    <a:pt x="1880" y="1210"/>
                  </a:lnTo>
                  <a:lnTo>
                    <a:pt x="1886" y="1211"/>
                  </a:lnTo>
                  <a:lnTo>
                    <a:pt x="1889" y="1214"/>
                  </a:lnTo>
                  <a:lnTo>
                    <a:pt x="1896" y="1218"/>
                  </a:lnTo>
                  <a:lnTo>
                    <a:pt x="1902" y="1224"/>
                  </a:lnTo>
                  <a:lnTo>
                    <a:pt x="1910" y="1239"/>
                  </a:lnTo>
                  <a:lnTo>
                    <a:pt x="1922" y="1254"/>
                  </a:lnTo>
                  <a:lnTo>
                    <a:pt x="1924" y="1257"/>
                  </a:lnTo>
                  <a:lnTo>
                    <a:pt x="1927" y="1258"/>
                  </a:lnTo>
                  <a:lnTo>
                    <a:pt x="1930" y="1259"/>
                  </a:lnTo>
                  <a:lnTo>
                    <a:pt x="1934" y="1259"/>
                  </a:lnTo>
                  <a:lnTo>
                    <a:pt x="1941" y="1258"/>
                  </a:lnTo>
                  <a:lnTo>
                    <a:pt x="1948" y="1254"/>
                  </a:lnTo>
                  <a:lnTo>
                    <a:pt x="1955" y="1250"/>
                  </a:lnTo>
                  <a:lnTo>
                    <a:pt x="1962" y="1243"/>
                  </a:lnTo>
                  <a:lnTo>
                    <a:pt x="1967" y="1236"/>
                  </a:lnTo>
                  <a:lnTo>
                    <a:pt x="1972" y="1228"/>
                  </a:lnTo>
                  <a:lnTo>
                    <a:pt x="1977" y="1218"/>
                  </a:lnTo>
                  <a:lnTo>
                    <a:pt x="1979" y="1210"/>
                  </a:lnTo>
                  <a:lnTo>
                    <a:pt x="1979" y="1202"/>
                  </a:lnTo>
                  <a:lnTo>
                    <a:pt x="1978" y="1195"/>
                  </a:lnTo>
                  <a:lnTo>
                    <a:pt x="1977" y="1192"/>
                  </a:lnTo>
                  <a:lnTo>
                    <a:pt x="1974" y="1189"/>
                  </a:lnTo>
                  <a:lnTo>
                    <a:pt x="1971" y="1186"/>
                  </a:lnTo>
                  <a:lnTo>
                    <a:pt x="1967" y="1185"/>
                  </a:lnTo>
                  <a:lnTo>
                    <a:pt x="1963" y="1182"/>
                  </a:lnTo>
                  <a:lnTo>
                    <a:pt x="1958" y="1181"/>
                  </a:lnTo>
                  <a:lnTo>
                    <a:pt x="1952" y="1180"/>
                  </a:lnTo>
                  <a:lnTo>
                    <a:pt x="1945" y="1180"/>
                  </a:lnTo>
                  <a:lnTo>
                    <a:pt x="1930" y="1179"/>
                  </a:lnTo>
                  <a:lnTo>
                    <a:pt x="1916" y="1178"/>
                  </a:lnTo>
                  <a:lnTo>
                    <a:pt x="1903" y="1173"/>
                  </a:lnTo>
                  <a:lnTo>
                    <a:pt x="1893" y="1168"/>
                  </a:lnTo>
                  <a:lnTo>
                    <a:pt x="1888" y="1165"/>
                  </a:lnTo>
                  <a:lnTo>
                    <a:pt x="1885" y="1161"/>
                  </a:lnTo>
                  <a:lnTo>
                    <a:pt x="1881" y="1157"/>
                  </a:lnTo>
                  <a:lnTo>
                    <a:pt x="1879" y="1152"/>
                  </a:lnTo>
                  <a:lnTo>
                    <a:pt x="1878" y="1146"/>
                  </a:lnTo>
                  <a:lnTo>
                    <a:pt x="1877" y="1140"/>
                  </a:lnTo>
                  <a:lnTo>
                    <a:pt x="1877" y="1133"/>
                  </a:lnTo>
                  <a:lnTo>
                    <a:pt x="1878" y="1126"/>
                  </a:lnTo>
                  <a:lnTo>
                    <a:pt x="1880" y="1117"/>
                  </a:lnTo>
                  <a:lnTo>
                    <a:pt x="1882" y="1111"/>
                  </a:lnTo>
                  <a:lnTo>
                    <a:pt x="1885" y="1108"/>
                  </a:lnTo>
                  <a:lnTo>
                    <a:pt x="1887" y="1105"/>
                  </a:lnTo>
                  <a:lnTo>
                    <a:pt x="1889" y="1105"/>
                  </a:lnTo>
                  <a:lnTo>
                    <a:pt x="1893" y="1107"/>
                  </a:lnTo>
                  <a:lnTo>
                    <a:pt x="1896" y="1108"/>
                  </a:lnTo>
                  <a:lnTo>
                    <a:pt x="1899" y="1110"/>
                  </a:lnTo>
                  <a:lnTo>
                    <a:pt x="1903" y="1112"/>
                  </a:lnTo>
                  <a:lnTo>
                    <a:pt x="1907" y="1114"/>
                  </a:lnTo>
                  <a:lnTo>
                    <a:pt x="1912" y="1115"/>
                  </a:lnTo>
                  <a:lnTo>
                    <a:pt x="1915" y="1114"/>
                  </a:lnTo>
                  <a:lnTo>
                    <a:pt x="1921" y="1112"/>
                  </a:lnTo>
                  <a:lnTo>
                    <a:pt x="1925" y="1108"/>
                  </a:lnTo>
                  <a:lnTo>
                    <a:pt x="1931" y="1102"/>
                  </a:lnTo>
                  <a:lnTo>
                    <a:pt x="1937" y="1094"/>
                  </a:lnTo>
                  <a:lnTo>
                    <a:pt x="1943" y="1086"/>
                  </a:lnTo>
                  <a:lnTo>
                    <a:pt x="1949" y="1079"/>
                  </a:lnTo>
                  <a:lnTo>
                    <a:pt x="1956" y="1073"/>
                  </a:lnTo>
                  <a:lnTo>
                    <a:pt x="1964" y="1068"/>
                  </a:lnTo>
                  <a:lnTo>
                    <a:pt x="1967" y="1066"/>
                  </a:lnTo>
                  <a:lnTo>
                    <a:pt x="1972" y="1065"/>
                  </a:lnTo>
                  <a:lnTo>
                    <a:pt x="1976" y="1065"/>
                  </a:lnTo>
                  <a:lnTo>
                    <a:pt x="1980" y="1065"/>
                  </a:lnTo>
                  <a:lnTo>
                    <a:pt x="1985" y="1066"/>
                  </a:lnTo>
                  <a:lnTo>
                    <a:pt x="1988" y="1068"/>
                  </a:lnTo>
                  <a:lnTo>
                    <a:pt x="1993" y="1071"/>
                  </a:lnTo>
                  <a:lnTo>
                    <a:pt x="1996" y="1074"/>
                  </a:lnTo>
                  <a:lnTo>
                    <a:pt x="2006" y="1081"/>
                  </a:lnTo>
                  <a:lnTo>
                    <a:pt x="2017" y="1089"/>
                  </a:lnTo>
                  <a:lnTo>
                    <a:pt x="2031" y="1097"/>
                  </a:lnTo>
                  <a:lnTo>
                    <a:pt x="2048" y="1104"/>
                  </a:lnTo>
                  <a:lnTo>
                    <a:pt x="2064" y="1110"/>
                  </a:lnTo>
                  <a:lnTo>
                    <a:pt x="2079" y="1115"/>
                  </a:lnTo>
                  <a:lnTo>
                    <a:pt x="2086" y="1116"/>
                  </a:lnTo>
                  <a:lnTo>
                    <a:pt x="2093" y="1116"/>
                  </a:lnTo>
                  <a:lnTo>
                    <a:pt x="2099" y="1116"/>
                  </a:lnTo>
                  <a:lnTo>
                    <a:pt x="2105" y="1114"/>
                  </a:lnTo>
                  <a:lnTo>
                    <a:pt x="2112" y="1110"/>
                  </a:lnTo>
                  <a:lnTo>
                    <a:pt x="2116" y="1105"/>
                  </a:lnTo>
                  <a:lnTo>
                    <a:pt x="2121" y="1101"/>
                  </a:lnTo>
                  <a:lnTo>
                    <a:pt x="2123" y="1094"/>
                  </a:lnTo>
                  <a:lnTo>
                    <a:pt x="2127" y="1081"/>
                  </a:lnTo>
                  <a:lnTo>
                    <a:pt x="2129" y="1066"/>
                  </a:lnTo>
                  <a:lnTo>
                    <a:pt x="2132" y="1059"/>
                  </a:lnTo>
                  <a:lnTo>
                    <a:pt x="2134" y="1052"/>
                  </a:lnTo>
                  <a:lnTo>
                    <a:pt x="2137" y="1046"/>
                  </a:lnTo>
                  <a:lnTo>
                    <a:pt x="2142" y="1041"/>
                  </a:lnTo>
                  <a:lnTo>
                    <a:pt x="2148" y="1037"/>
                  </a:lnTo>
                  <a:lnTo>
                    <a:pt x="2156" y="1033"/>
                  </a:lnTo>
                  <a:lnTo>
                    <a:pt x="2166" y="1031"/>
                  </a:lnTo>
                  <a:lnTo>
                    <a:pt x="2179" y="1030"/>
                  </a:lnTo>
                  <a:lnTo>
                    <a:pt x="2197" y="1030"/>
                  </a:lnTo>
                  <a:lnTo>
                    <a:pt x="2213" y="1027"/>
                  </a:lnTo>
                  <a:lnTo>
                    <a:pt x="2228" y="1024"/>
                  </a:lnTo>
                  <a:lnTo>
                    <a:pt x="2246" y="1020"/>
                  </a:lnTo>
                  <a:lnTo>
                    <a:pt x="2255" y="1017"/>
                  </a:lnTo>
                  <a:lnTo>
                    <a:pt x="2262" y="1015"/>
                  </a:lnTo>
                  <a:lnTo>
                    <a:pt x="2268" y="1011"/>
                  </a:lnTo>
                  <a:lnTo>
                    <a:pt x="2271" y="1008"/>
                  </a:lnTo>
                  <a:lnTo>
                    <a:pt x="2277" y="1000"/>
                  </a:lnTo>
                  <a:lnTo>
                    <a:pt x="2281" y="991"/>
                  </a:lnTo>
                  <a:lnTo>
                    <a:pt x="2284" y="983"/>
                  </a:lnTo>
                  <a:lnTo>
                    <a:pt x="2290" y="976"/>
                  </a:lnTo>
                  <a:lnTo>
                    <a:pt x="2294" y="973"/>
                  </a:lnTo>
                  <a:lnTo>
                    <a:pt x="2300" y="969"/>
                  </a:lnTo>
                  <a:lnTo>
                    <a:pt x="2307" y="967"/>
                  </a:lnTo>
                  <a:lnTo>
                    <a:pt x="2317" y="965"/>
                  </a:lnTo>
                  <a:lnTo>
                    <a:pt x="2322" y="962"/>
                  </a:lnTo>
                  <a:lnTo>
                    <a:pt x="2327" y="959"/>
                  </a:lnTo>
                  <a:lnTo>
                    <a:pt x="2333" y="954"/>
                  </a:lnTo>
                  <a:lnTo>
                    <a:pt x="2336" y="950"/>
                  </a:lnTo>
                  <a:lnTo>
                    <a:pt x="2390" y="947"/>
                  </a:lnTo>
                  <a:lnTo>
                    <a:pt x="2393" y="950"/>
                  </a:lnTo>
                  <a:lnTo>
                    <a:pt x="2397" y="950"/>
                  </a:lnTo>
                  <a:lnTo>
                    <a:pt x="2400" y="950"/>
                  </a:lnTo>
                  <a:lnTo>
                    <a:pt x="2404" y="948"/>
                  </a:lnTo>
                  <a:lnTo>
                    <a:pt x="2411" y="945"/>
                  </a:lnTo>
                  <a:lnTo>
                    <a:pt x="2417" y="939"/>
                  </a:lnTo>
                  <a:lnTo>
                    <a:pt x="2423" y="933"/>
                  </a:lnTo>
                  <a:lnTo>
                    <a:pt x="2426" y="925"/>
                  </a:lnTo>
                  <a:lnTo>
                    <a:pt x="2430" y="918"/>
                  </a:lnTo>
                  <a:lnTo>
                    <a:pt x="2432" y="912"/>
                  </a:lnTo>
                  <a:lnTo>
                    <a:pt x="2434" y="897"/>
                  </a:lnTo>
                  <a:lnTo>
                    <a:pt x="2438" y="884"/>
                  </a:lnTo>
                  <a:lnTo>
                    <a:pt x="2439" y="877"/>
                  </a:lnTo>
                  <a:lnTo>
                    <a:pt x="2441" y="872"/>
                  </a:lnTo>
                  <a:lnTo>
                    <a:pt x="2445" y="866"/>
                  </a:lnTo>
                  <a:lnTo>
                    <a:pt x="2449" y="860"/>
                  </a:lnTo>
                  <a:lnTo>
                    <a:pt x="2454" y="853"/>
                  </a:lnTo>
                  <a:lnTo>
                    <a:pt x="2457" y="842"/>
                  </a:lnTo>
                  <a:lnTo>
                    <a:pt x="2461" y="832"/>
                  </a:lnTo>
                  <a:lnTo>
                    <a:pt x="2463" y="819"/>
                  </a:lnTo>
                  <a:lnTo>
                    <a:pt x="2469" y="795"/>
                  </a:lnTo>
                  <a:lnTo>
                    <a:pt x="2474" y="774"/>
                  </a:lnTo>
                  <a:lnTo>
                    <a:pt x="2477" y="767"/>
                  </a:lnTo>
                  <a:lnTo>
                    <a:pt x="2482" y="761"/>
                  </a:lnTo>
                  <a:lnTo>
                    <a:pt x="2488" y="755"/>
                  </a:lnTo>
                  <a:lnTo>
                    <a:pt x="2495" y="749"/>
                  </a:lnTo>
                  <a:lnTo>
                    <a:pt x="2511" y="740"/>
                  </a:lnTo>
                  <a:lnTo>
                    <a:pt x="2527" y="731"/>
                  </a:lnTo>
                  <a:lnTo>
                    <a:pt x="2534" y="726"/>
                  </a:lnTo>
                  <a:lnTo>
                    <a:pt x="2542" y="720"/>
                  </a:lnTo>
                  <a:lnTo>
                    <a:pt x="2548" y="716"/>
                  </a:lnTo>
                  <a:lnTo>
                    <a:pt x="2554" y="711"/>
                  </a:lnTo>
                  <a:lnTo>
                    <a:pt x="2558" y="705"/>
                  </a:lnTo>
                  <a:lnTo>
                    <a:pt x="2560" y="699"/>
                  </a:lnTo>
                  <a:lnTo>
                    <a:pt x="2561" y="693"/>
                  </a:lnTo>
                  <a:lnTo>
                    <a:pt x="2559" y="68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sz="1200" dirty="0"/>
            </a:p>
          </p:txBody>
        </p:sp>
        <p:sp>
          <p:nvSpPr>
            <p:cNvPr id="16" name="Freeform 8"/>
            <p:cNvSpPr>
              <a:spLocks/>
            </p:cNvSpPr>
            <p:nvPr/>
          </p:nvSpPr>
          <p:spPr bwMode="auto">
            <a:xfrm>
              <a:off x="3152426" y="3686376"/>
              <a:ext cx="18425" cy="11726"/>
            </a:xfrm>
            <a:custGeom>
              <a:avLst/>
              <a:gdLst>
                <a:gd name="T0" fmla="*/ 0 w 58"/>
                <a:gd name="T1" fmla="*/ 38 h 38"/>
                <a:gd name="T2" fmla="*/ 14 w 58"/>
                <a:gd name="T3" fmla="*/ 36 h 38"/>
                <a:gd name="T4" fmla="*/ 29 w 58"/>
                <a:gd name="T5" fmla="*/ 33 h 38"/>
                <a:gd name="T6" fmla="*/ 43 w 58"/>
                <a:gd name="T7" fmla="*/ 30 h 38"/>
                <a:gd name="T8" fmla="*/ 58 w 58"/>
                <a:gd name="T9" fmla="*/ 27 h 38"/>
                <a:gd name="T10" fmla="*/ 50 w 58"/>
                <a:gd name="T11" fmla="*/ 18 h 38"/>
                <a:gd name="T12" fmla="*/ 44 w 58"/>
                <a:gd name="T13" fmla="*/ 8 h 38"/>
                <a:gd name="T14" fmla="*/ 39 w 58"/>
                <a:gd name="T15" fmla="*/ 4 h 38"/>
                <a:gd name="T16" fmla="*/ 35 w 58"/>
                <a:gd name="T17" fmla="*/ 1 h 38"/>
                <a:gd name="T18" fmla="*/ 33 w 58"/>
                <a:gd name="T19" fmla="*/ 1 h 38"/>
                <a:gd name="T20" fmla="*/ 30 w 58"/>
                <a:gd name="T21" fmla="*/ 0 h 38"/>
                <a:gd name="T22" fmla="*/ 27 w 58"/>
                <a:gd name="T23" fmla="*/ 1 h 38"/>
                <a:gd name="T24" fmla="*/ 23 w 58"/>
                <a:gd name="T25" fmla="*/ 1 h 38"/>
                <a:gd name="T26" fmla="*/ 19 w 58"/>
                <a:gd name="T27" fmla="*/ 3 h 38"/>
                <a:gd name="T28" fmla="*/ 14 w 58"/>
                <a:gd name="T29" fmla="*/ 7 h 38"/>
                <a:gd name="T30" fmla="*/ 10 w 58"/>
                <a:gd name="T31" fmla="*/ 11 h 38"/>
                <a:gd name="T32" fmla="*/ 8 w 58"/>
                <a:gd name="T33" fmla="*/ 17 h 38"/>
                <a:gd name="T34" fmla="*/ 3 w 58"/>
                <a:gd name="T35" fmla="*/ 28 h 38"/>
                <a:gd name="T36" fmla="*/ 0 w 58"/>
                <a:gd name="T37"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8" h="38">
                  <a:moveTo>
                    <a:pt x="0" y="38"/>
                  </a:moveTo>
                  <a:lnTo>
                    <a:pt x="14" y="36"/>
                  </a:lnTo>
                  <a:lnTo>
                    <a:pt x="29" y="33"/>
                  </a:lnTo>
                  <a:lnTo>
                    <a:pt x="43" y="30"/>
                  </a:lnTo>
                  <a:lnTo>
                    <a:pt x="58" y="27"/>
                  </a:lnTo>
                  <a:lnTo>
                    <a:pt x="50" y="18"/>
                  </a:lnTo>
                  <a:lnTo>
                    <a:pt x="44" y="8"/>
                  </a:lnTo>
                  <a:lnTo>
                    <a:pt x="39" y="4"/>
                  </a:lnTo>
                  <a:lnTo>
                    <a:pt x="35" y="1"/>
                  </a:lnTo>
                  <a:lnTo>
                    <a:pt x="33" y="1"/>
                  </a:lnTo>
                  <a:lnTo>
                    <a:pt x="30" y="0"/>
                  </a:lnTo>
                  <a:lnTo>
                    <a:pt x="27" y="1"/>
                  </a:lnTo>
                  <a:lnTo>
                    <a:pt x="23" y="1"/>
                  </a:lnTo>
                  <a:lnTo>
                    <a:pt x="19" y="3"/>
                  </a:lnTo>
                  <a:lnTo>
                    <a:pt x="14" y="7"/>
                  </a:lnTo>
                  <a:lnTo>
                    <a:pt x="10" y="11"/>
                  </a:lnTo>
                  <a:lnTo>
                    <a:pt x="8" y="17"/>
                  </a:lnTo>
                  <a:lnTo>
                    <a:pt x="3" y="28"/>
                  </a:lnTo>
                  <a:lnTo>
                    <a:pt x="0" y="3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sz="1200" dirty="0"/>
            </a:p>
          </p:txBody>
        </p:sp>
        <p:sp>
          <p:nvSpPr>
            <p:cNvPr id="17" name="Freeform 28"/>
            <p:cNvSpPr>
              <a:spLocks/>
            </p:cNvSpPr>
            <p:nvPr/>
          </p:nvSpPr>
          <p:spPr bwMode="auto">
            <a:xfrm>
              <a:off x="5274720" y="2426736"/>
              <a:ext cx="844227" cy="611395"/>
            </a:xfrm>
            <a:custGeom>
              <a:avLst/>
              <a:gdLst>
                <a:gd name="T0" fmla="*/ 2378 w 2519"/>
                <a:gd name="T1" fmla="*/ 1133 h 1825"/>
                <a:gd name="T2" fmla="*/ 2318 w 2519"/>
                <a:gd name="T3" fmla="*/ 986 h 1825"/>
                <a:gd name="T4" fmla="*/ 2296 w 2519"/>
                <a:gd name="T5" fmla="*/ 831 h 1825"/>
                <a:gd name="T6" fmla="*/ 2417 w 2519"/>
                <a:gd name="T7" fmla="*/ 728 h 1825"/>
                <a:gd name="T8" fmla="*/ 2519 w 2519"/>
                <a:gd name="T9" fmla="*/ 610 h 1825"/>
                <a:gd name="T10" fmla="*/ 2502 w 2519"/>
                <a:gd name="T11" fmla="*/ 504 h 1825"/>
                <a:gd name="T12" fmla="*/ 2427 w 2519"/>
                <a:gd name="T13" fmla="*/ 540 h 1825"/>
                <a:gd name="T14" fmla="*/ 2387 w 2519"/>
                <a:gd name="T15" fmla="*/ 648 h 1825"/>
                <a:gd name="T16" fmla="*/ 2298 w 2519"/>
                <a:gd name="T17" fmla="*/ 598 h 1825"/>
                <a:gd name="T18" fmla="*/ 2242 w 2519"/>
                <a:gd name="T19" fmla="*/ 621 h 1825"/>
                <a:gd name="T20" fmla="*/ 2145 w 2519"/>
                <a:gd name="T21" fmla="*/ 626 h 1825"/>
                <a:gd name="T22" fmla="*/ 2046 w 2519"/>
                <a:gd name="T23" fmla="*/ 645 h 1825"/>
                <a:gd name="T24" fmla="*/ 1949 w 2519"/>
                <a:gd name="T25" fmla="*/ 618 h 1825"/>
                <a:gd name="T26" fmla="*/ 1885 w 2519"/>
                <a:gd name="T27" fmla="*/ 533 h 1825"/>
                <a:gd name="T28" fmla="*/ 1760 w 2519"/>
                <a:gd name="T29" fmla="*/ 603 h 1825"/>
                <a:gd name="T30" fmla="*/ 1587 w 2519"/>
                <a:gd name="T31" fmla="*/ 536 h 1825"/>
                <a:gd name="T32" fmla="*/ 1374 w 2519"/>
                <a:gd name="T33" fmla="*/ 496 h 1825"/>
                <a:gd name="T34" fmla="*/ 1230 w 2519"/>
                <a:gd name="T35" fmla="*/ 498 h 1825"/>
                <a:gd name="T36" fmla="*/ 1171 w 2519"/>
                <a:gd name="T37" fmla="*/ 376 h 1825"/>
                <a:gd name="T38" fmla="*/ 991 w 2519"/>
                <a:gd name="T39" fmla="*/ 434 h 1825"/>
                <a:gd name="T40" fmla="*/ 910 w 2519"/>
                <a:gd name="T41" fmla="*/ 366 h 1825"/>
                <a:gd name="T42" fmla="*/ 802 w 2519"/>
                <a:gd name="T43" fmla="*/ 307 h 1825"/>
                <a:gd name="T44" fmla="*/ 689 w 2519"/>
                <a:gd name="T45" fmla="*/ 206 h 1825"/>
                <a:gd name="T46" fmla="*/ 646 w 2519"/>
                <a:gd name="T47" fmla="*/ 108 h 1825"/>
                <a:gd name="T48" fmla="*/ 384 w 2519"/>
                <a:gd name="T49" fmla="*/ 0 h 1825"/>
                <a:gd name="T50" fmla="*/ 345 w 2519"/>
                <a:gd name="T51" fmla="*/ 42 h 1825"/>
                <a:gd name="T52" fmla="*/ 258 w 2519"/>
                <a:gd name="T53" fmla="*/ 105 h 1825"/>
                <a:gd name="T54" fmla="*/ 336 w 2519"/>
                <a:gd name="T55" fmla="*/ 212 h 1825"/>
                <a:gd name="T56" fmla="*/ 377 w 2519"/>
                <a:gd name="T57" fmla="*/ 347 h 1825"/>
                <a:gd name="T58" fmla="*/ 489 w 2519"/>
                <a:gd name="T59" fmla="*/ 466 h 1825"/>
                <a:gd name="T60" fmla="*/ 328 w 2519"/>
                <a:gd name="T61" fmla="*/ 547 h 1825"/>
                <a:gd name="T62" fmla="*/ 385 w 2519"/>
                <a:gd name="T63" fmla="*/ 634 h 1825"/>
                <a:gd name="T64" fmla="*/ 397 w 2519"/>
                <a:gd name="T65" fmla="*/ 721 h 1825"/>
                <a:gd name="T66" fmla="*/ 372 w 2519"/>
                <a:gd name="T67" fmla="*/ 811 h 1825"/>
                <a:gd name="T68" fmla="*/ 506 w 2519"/>
                <a:gd name="T69" fmla="*/ 905 h 1825"/>
                <a:gd name="T70" fmla="*/ 628 w 2519"/>
                <a:gd name="T71" fmla="*/ 955 h 1825"/>
                <a:gd name="T72" fmla="*/ 725 w 2519"/>
                <a:gd name="T73" fmla="*/ 1025 h 1825"/>
                <a:gd name="T74" fmla="*/ 499 w 2519"/>
                <a:gd name="T75" fmla="*/ 1013 h 1825"/>
                <a:gd name="T76" fmla="*/ 387 w 2519"/>
                <a:gd name="T77" fmla="*/ 1023 h 1825"/>
                <a:gd name="T78" fmla="*/ 223 w 2519"/>
                <a:gd name="T79" fmla="*/ 1179 h 1825"/>
                <a:gd name="T80" fmla="*/ 20 w 2519"/>
                <a:gd name="T81" fmla="*/ 1311 h 1825"/>
                <a:gd name="T82" fmla="*/ 1 w 2519"/>
                <a:gd name="T83" fmla="*/ 1530 h 1825"/>
                <a:gd name="T84" fmla="*/ 74 w 2519"/>
                <a:gd name="T85" fmla="*/ 1603 h 1825"/>
                <a:gd name="T86" fmla="*/ 284 w 2519"/>
                <a:gd name="T87" fmla="*/ 1672 h 1825"/>
                <a:gd name="T88" fmla="*/ 408 w 2519"/>
                <a:gd name="T89" fmla="*/ 1691 h 1825"/>
                <a:gd name="T90" fmla="*/ 498 w 2519"/>
                <a:gd name="T91" fmla="*/ 1707 h 1825"/>
                <a:gd name="T92" fmla="*/ 624 w 2519"/>
                <a:gd name="T93" fmla="*/ 1802 h 1825"/>
                <a:gd name="T94" fmla="*/ 710 w 2519"/>
                <a:gd name="T95" fmla="*/ 1742 h 1825"/>
                <a:gd name="T96" fmla="*/ 791 w 2519"/>
                <a:gd name="T97" fmla="*/ 1750 h 1825"/>
                <a:gd name="T98" fmla="*/ 964 w 2519"/>
                <a:gd name="T99" fmla="*/ 1727 h 1825"/>
                <a:gd name="T100" fmla="*/ 1182 w 2519"/>
                <a:gd name="T101" fmla="*/ 1650 h 1825"/>
                <a:gd name="T102" fmla="*/ 1198 w 2519"/>
                <a:gd name="T103" fmla="*/ 1577 h 1825"/>
                <a:gd name="T104" fmla="*/ 1400 w 2519"/>
                <a:gd name="T105" fmla="*/ 1565 h 1825"/>
                <a:gd name="T106" fmla="*/ 1582 w 2519"/>
                <a:gd name="T107" fmla="*/ 1765 h 1825"/>
                <a:gd name="T108" fmla="*/ 1661 w 2519"/>
                <a:gd name="T109" fmla="*/ 1680 h 1825"/>
                <a:gd name="T110" fmla="*/ 1790 w 2519"/>
                <a:gd name="T111" fmla="*/ 1642 h 1825"/>
                <a:gd name="T112" fmla="*/ 1882 w 2519"/>
                <a:gd name="T113" fmla="*/ 1586 h 1825"/>
                <a:gd name="T114" fmla="*/ 1942 w 2519"/>
                <a:gd name="T115" fmla="*/ 1446 h 1825"/>
                <a:gd name="T116" fmla="*/ 2004 w 2519"/>
                <a:gd name="T117" fmla="*/ 1320 h 1825"/>
                <a:gd name="T118" fmla="*/ 2082 w 2519"/>
                <a:gd name="T119" fmla="*/ 1320 h 1825"/>
                <a:gd name="T120" fmla="*/ 2159 w 2519"/>
                <a:gd name="T121" fmla="*/ 1254 h 1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19" h="1825">
                  <a:moveTo>
                    <a:pt x="2225" y="1268"/>
                  </a:moveTo>
                  <a:lnTo>
                    <a:pt x="2239" y="1246"/>
                  </a:lnTo>
                  <a:lnTo>
                    <a:pt x="2252" y="1224"/>
                  </a:lnTo>
                  <a:lnTo>
                    <a:pt x="2259" y="1215"/>
                  </a:lnTo>
                  <a:lnTo>
                    <a:pt x="2267" y="1205"/>
                  </a:lnTo>
                  <a:lnTo>
                    <a:pt x="2277" y="1197"/>
                  </a:lnTo>
                  <a:lnTo>
                    <a:pt x="2289" y="1189"/>
                  </a:lnTo>
                  <a:lnTo>
                    <a:pt x="2308" y="1181"/>
                  </a:lnTo>
                  <a:lnTo>
                    <a:pt x="2328" y="1172"/>
                  </a:lnTo>
                  <a:lnTo>
                    <a:pt x="2346" y="1160"/>
                  </a:lnTo>
                  <a:lnTo>
                    <a:pt x="2364" y="1148"/>
                  </a:lnTo>
                  <a:lnTo>
                    <a:pt x="2371" y="1141"/>
                  </a:lnTo>
                  <a:lnTo>
                    <a:pt x="2378" y="1133"/>
                  </a:lnTo>
                  <a:lnTo>
                    <a:pt x="2384" y="1126"/>
                  </a:lnTo>
                  <a:lnTo>
                    <a:pt x="2387" y="1117"/>
                  </a:lnTo>
                  <a:lnTo>
                    <a:pt x="2391" y="1108"/>
                  </a:lnTo>
                  <a:lnTo>
                    <a:pt x="2393" y="1098"/>
                  </a:lnTo>
                  <a:lnTo>
                    <a:pt x="2393" y="1088"/>
                  </a:lnTo>
                  <a:lnTo>
                    <a:pt x="2392" y="1076"/>
                  </a:lnTo>
                  <a:lnTo>
                    <a:pt x="2387" y="1061"/>
                  </a:lnTo>
                  <a:lnTo>
                    <a:pt x="2381" y="1048"/>
                  </a:lnTo>
                  <a:lnTo>
                    <a:pt x="2374" y="1037"/>
                  </a:lnTo>
                  <a:lnTo>
                    <a:pt x="2366" y="1027"/>
                  </a:lnTo>
                  <a:lnTo>
                    <a:pt x="2348" y="1009"/>
                  </a:lnTo>
                  <a:lnTo>
                    <a:pt x="2328" y="994"/>
                  </a:lnTo>
                  <a:lnTo>
                    <a:pt x="2318" y="986"/>
                  </a:lnTo>
                  <a:lnTo>
                    <a:pt x="2309" y="976"/>
                  </a:lnTo>
                  <a:lnTo>
                    <a:pt x="2301" y="967"/>
                  </a:lnTo>
                  <a:lnTo>
                    <a:pt x="2294" y="956"/>
                  </a:lnTo>
                  <a:lnTo>
                    <a:pt x="2288" y="945"/>
                  </a:lnTo>
                  <a:lnTo>
                    <a:pt x="2284" y="932"/>
                  </a:lnTo>
                  <a:lnTo>
                    <a:pt x="2281" y="916"/>
                  </a:lnTo>
                  <a:lnTo>
                    <a:pt x="2281" y="898"/>
                  </a:lnTo>
                  <a:lnTo>
                    <a:pt x="2282" y="882"/>
                  </a:lnTo>
                  <a:lnTo>
                    <a:pt x="2284" y="868"/>
                  </a:lnTo>
                  <a:lnTo>
                    <a:pt x="2286" y="854"/>
                  </a:lnTo>
                  <a:lnTo>
                    <a:pt x="2291" y="841"/>
                  </a:lnTo>
                  <a:lnTo>
                    <a:pt x="2293" y="835"/>
                  </a:lnTo>
                  <a:lnTo>
                    <a:pt x="2296" y="831"/>
                  </a:lnTo>
                  <a:lnTo>
                    <a:pt x="2300" y="826"/>
                  </a:lnTo>
                  <a:lnTo>
                    <a:pt x="2304" y="821"/>
                  </a:lnTo>
                  <a:lnTo>
                    <a:pt x="2310" y="818"/>
                  </a:lnTo>
                  <a:lnTo>
                    <a:pt x="2316" y="816"/>
                  </a:lnTo>
                  <a:lnTo>
                    <a:pt x="2323" y="813"/>
                  </a:lnTo>
                  <a:lnTo>
                    <a:pt x="2331" y="811"/>
                  </a:lnTo>
                  <a:lnTo>
                    <a:pt x="2337" y="809"/>
                  </a:lnTo>
                  <a:lnTo>
                    <a:pt x="2344" y="805"/>
                  </a:lnTo>
                  <a:lnTo>
                    <a:pt x="2350" y="800"/>
                  </a:lnTo>
                  <a:lnTo>
                    <a:pt x="2358" y="795"/>
                  </a:lnTo>
                  <a:lnTo>
                    <a:pt x="2372" y="781"/>
                  </a:lnTo>
                  <a:lnTo>
                    <a:pt x="2388" y="763"/>
                  </a:lnTo>
                  <a:lnTo>
                    <a:pt x="2417" y="728"/>
                  </a:lnTo>
                  <a:lnTo>
                    <a:pt x="2440" y="702"/>
                  </a:lnTo>
                  <a:lnTo>
                    <a:pt x="2455" y="690"/>
                  </a:lnTo>
                  <a:lnTo>
                    <a:pt x="2470" y="679"/>
                  </a:lnTo>
                  <a:lnTo>
                    <a:pt x="2478" y="675"/>
                  </a:lnTo>
                  <a:lnTo>
                    <a:pt x="2486" y="670"/>
                  </a:lnTo>
                  <a:lnTo>
                    <a:pt x="2492" y="665"/>
                  </a:lnTo>
                  <a:lnTo>
                    <a:pt x="2499" y="660"/>
                  </a:lnTo>
                  <a:lnTo>
                    <a:pt x="2504" y="654"/>
                  </a:lnTo>
                  <a:lnTo>
                    <a:pt x="2508" y="647"/>
                  </a:lnTo>
                  <a:lnTo>
                    <a:pt x="2513" y="639"/>
                  </a:lnTo>
                  <a:lnTo>
                    <a:pt x="2516" y="629"/>
                  </a:lnTo>
                  <a:lnTo>
                    <a:pt x="2519" y="620"/>
                  </a:lnTo>
                  <a:lnTo>
                    <a:pt x="2519" y="610"/>
                  </a:lnTo>
                  <a:lnTo>
                    <a:pt x="2516" y="599"/>
                  </a:lnTo>
                  <a:lnTo>
                    <a:pt x="2514" y="589"/>
                  </a:lnTo>
                  <a:lnTo>
                    <a:pt x="2513" y="582"/>
                  </a:lnTo>
                  <a:lnTo>
                    <a:pt x="2513" y="575"/>
                  </a:lnTo>
                  <a:lnTo>
                    <a:pt x="2513" y="568"/>
                  </a:lnTo>
                  <a:lnTo>
                    <a:pt x="2514" y="561"/>
                  </a:lnTo>
                  <a:lnTo>
                    <a:pt x="2515" y="547"/>
                  </a:lnTo>
                  <a:lnTo>
                    <a:pt x="2516" y="533"/>
                  </a:lnTo>
                  <a:lnTo>
                    <a:pt x="2516" y="528"/>
                  </a:lnTo>
                  <a:lnTo>
                    <a:pt x="2515" y="524"/>
                  </a:lnTo>
                  <a:lnTo>
                    <a:pt x="2513" y="519"/>
                  </a:lnTo>
                  <a:lnTo>
                    <a:pt x="2509" y="513"/>
                  </a:lnTo>
                  <a:lnTo>
                    <a:pt x="2502" y="504"/>
                  </a:lnTo>
                  <a:lnTo>
                    <a:pt x="2494" y="494"/>
                  </a:lnTo>
                  <a:lnTo>
                    <a:pt x="2484" y="485"/>
                  </a:lnTo>
                  <a:lnTo>
                    <a:pt x="2474" y="478"/>
                  </a:lnTo>
                  <a:lnTo>
                    <a:pt x="2464" y="472"/>
                  </a:lnTo>
                  <a:lnTo>
                    <a:pt x="2456" y="469"/>
                  </a:lnTo>
                  <a:lnTo>
                    <a:pt x="2451" y="477"/>
                  </a:lnTo>
                  <a:lnTo>
                    <a:pt x="2447" y="486"/>
                  </a:lnTo>
                  <a:lnTo>
                    <a:pt x="2441" y="497"/>
                  </a:lnTo>
                  <a:lnTo>
                    <a:pt x="2434" y="510"/>
                  </a:lnTo>
                  <a:lnTo>
                    <a:pt x="2431" y="517"/>
                  </a:lnTo>
                  <a:lnTo>
                    <a:pt x="2429" y="524"/>
                  </a:lnTo>
                  <a:lnTo>
                    <a:pt x="2428" y="532"/>
                  </a:lnTo>
                  <a:lnTo>
                    <a:pt x="2427" y="540"/>
                  </a:lnTo>
                  <a:lnTo>
                    <a:pt x="2426" y="558"/>
                  </a:lnTo>
                  <a:lnTo>
                    <a:pt x="2426" y="577"/>
                  </a:lnTo>
                  <a:lnTo>
                    <a:pt x="2426" y="595"/>
                  </a:lnTo>
                  <a:lnTo>
                    <a:pt x="2424" y="611"/>
                  </a:lnTo>
                  <a:lnTo>
                    <a:pt x="2423" y="618"/>
                  </a:lnTo>
                  <a:lnTo>
                    <a:pt x="2421" y="625"/>
                  </a:lnTo>
                  <a:lnTo>
                    <a:pt x="2419" y="629"/>
                  </a:lnTo>
                  <a:lnTo>
                    <a:pt x="2414" y="634"/>
                  </a:lnTo>
                  <a:lnTo>
                    <a:pt x="2409" y="639"/>
                  </a:lnTo>
                  <a:lnTo>
                    <a:pt x="2403" y="642"/>
                  </a:lnTo>
                  <a:lnTo>
                    <a:pt x="2398" y="646"/>
                  </a:lnTo>
                  <a:lnTo>
                    <a:pt x="2393" y="647"/>
                  </a:lnTo>
                  <a:lnTo>
                    <a:pt x="2387" y="648"/>
                  </a:lnTo>
                  <a:lnTo>
                    <a:pt x="2382" y="648"/>
                  </a:lnTo>
                  <a:lnTo>
                    <a:pt x="2378" y="648"/>
                  </a:lnTo>
                  <a:lnTo>
                    <a:pt x="2372" y="646"/>
                  </a:lnTo>
                  <a:lnTo>
                    <a:pt x="2363" y="642"/>
                  </a:lnTo>
                  <a:lnTo>
                    <a:pt x="2353" y="636"/>
                  </a:lnTo>
                  <a:lnTo>
                    <a:pt x="2344" y="629"/>
                  </a:lnTo>
                  <a:lnTo>
                    <a:pt x="2336" y="622"/>
                  </a:lnTo>
                  <a:lnTo>
                    <a:pt x="2327" y="615"/>
                  </a:lnTo>
                  <a:lnTo>
                    <a:pt x="2320" y="608"/>
                  </a:lnTo>
                  <a:lnTo>
                    <a:pt x="2311" y="603"/>
                  </a:lnTo>
                  <a:lnTo>
                    <a:pt x="2304" y="599"/>
                  </a:lnTo>
                  <a:lnTo>
                    <a:pt x="2301" y="598"/>
                  </a:lnTo>
                  <a:lnTo>
                    <a:pt x="2298" y="598"/>
                  </a:lnTo>
                  <a:lnTo>
                    <a:pt x="2294" y="598"/>
                  </a:lnTo>
                  <a:lnTo>
                    <a:pt x="2292" y="599"/>
                  </a:lnTo>
                  <a:lnTo>
                    <a:pt x="2288" y="601"/>
                  </a:lnTo>
                  <a:lnTo>
                    <a:pt x="2286" y="604"/>
                  </a:lnTo>
                  <a:lnTo>
                    <a:pt x="2282" y="607"/>
                  </a:lnTo>
                  <a:lnTo>
                    <a:pt x="2280" y="613"/>
                  </a:lnTo>
                  <a:lnTo>
                    <a:pt x="2278" y="617"/>
                  </a:lnTo>
                  <a:lnTo>
                    <a:pt x="2274" y="620"/>
                  </a:lnTo>
                  <a:lnTo>
                    <a:pt x="2272" y="621"/>
                  </a:lnTo>
                  <a:lnTo>
                    <a:pt x="2268" y="624"/>
                  </a:lnTo>
                  <a:lnTo>
                    <a:pt x="2260" y="624"/>
                  </a:lnTo>
                  <a:lnTo>
                    <a:pt x="2251" y="624"/>
                  </a:lnTo>
                  <a:lnTo>
                    <a:pt x="2242" y="621"/>
                  </a:lnTo>
                  <a:lnTo>
                    <a:pt x="2232" y="620"/>
                  </a:lnTo>
                  <a:lnTo>
                    <a:pt x="2224" y="620"/>
                  </a:lnTo>
                  <a:lnTo>
                    <a:pt x="2217" y="622"/>
                  </a:lnTo>
                  <a:lnTo>
                    <a:pt x="2204" y="631"/>
                  </a:lnTo>
                  <a:lnTo>
                    <a:pt x="2193" y="639"/>
                  </a:lnTo>
                  <a:lnTo>
                    <a:pt x="2187" y="642"/>
                  </a:lnTo>
                  <a:lnTo>
                    <a:pt x="2180" y="643"/>
                  </a:lnTo>
                  <a:lnTo>
                    <a:pt x="2176" y="643"/>
                  </a:lnTo>
                  <a:lnTo>
                    <a:pt x="2173" y="643"/>
                  </a:lnTo>
                  <a:lnTo>
                    <a:pt x="2168" y="642"/>
                  </a:lnTo>
                  <a:lnTo>
                    <a:pt x="2164" y="640"/>
                  </a:lnTo>
                  <a:lnTo>
                    <a:pt x="2153" y="633"/>
                  </a:lnTo>
                  <a:lnTo>
                    <a:pt x="2145" y="626"/>
                  </a:lnTo>
                  <a:lnTo>
                    <a:pt x="2139" y="620"/>
                  </a:lnTo>
                  <a:lnTo>
                    <a:pt x="2135" y="614"/>
                  </a:lnTo>
                  <a:lnTo>
                    <a:pt x="2129" y="611"/>
                  </a:lnTo>
                  <a:lnTo>
                    <a:pt x="2122" y="607"/>
                  </a:lnTo>
                  <a:lnTo>
                    <a:pt x="2110" y="606"/>
                  </a:lnTo>
                  <a:lnTo>
                    <a:pt x="2094" y="606"/>
                  </a:lnTo>
                  <a:lnTo>
                    <a:pt x="2086" y="607"/>
                  </a:lnTo>
                  <a:lnTo>
                    <a:pt x="2079" y="610"/>
                  </a:lnTo>
                  <a:lnTo>
                    <a:pt x="2073" y="613"/>
                  </a:lnTo>
                  <a:lnTo>
                    <a:pt x="2068" y="618"/>
                  </a:lnTo>
                  <a:lnTo>
                    <a:pt x="2059" y="628"/>
                  </a:lnTo>
                  <a:lnTo>
                    <a:pt x="2051" y="639"/>
                  </a:lnTo>
                  <a:lnTo>
                    <a:pt x="2046" y="645"/>
                  </a:lnTo>
                  <a:lnTo>
                    <a:pt x="2043" y="648"/>
                  </a:lnTo>
                  <a:lnTo>
                    <a:pt x="2038" y="650"/>
                  </a:lnTo>
                  <a:lnTo>
                    <a:pt x="2033" y="652"/>
                  </a:lnTo>
                  <a:lnTo>
                    <a:pt x="2027" y="652"/>
                  </a:lnTo>
                  <a:lnTo>
                    <a:pt x="2022" y="649"/>
                  </a:lnTo>
                  <a:lnTo>
                    <a:pt x="2015" y="645"/>
                  </a:lnTo>
                  <a:lnTo>
                    <a:pt x="2007" y="638"/>
                  </a:lnTo>
                  <a:lnTo>
                    <a:pt x="2001" y="633"/>
                  </a:lnTo>
                  <a:lnTo>
                    <a:pt x="1994" y="628"/>
                  </a:lnTo>
                  <a:lnTo>
                    <a:pt x="1987" y="626"/>
                  </a:lnTo>
                  <a:lnTo>
                    <a:pt x="1980" y="624"/>
                  </a:lnTo>
                  <a:lnTo>
                    <a:pt x="1965" y="620"/>
                  </a:lnTo>
                  <a:lnTo>
                    <a:pt x="1949" y="618"/>
                  </a:lnTo>
                  <a:lnTo>
                    <a:pt x="1934" y="615"/>
                  </a:lnTo>
                  <a:lnTo>
                    <a:pt x="1922" y="611"/>
                  </a:lnTo>
                  <a:lnTo>
                    <a:pt x="1916" y="608"/>
                  </a:lnTo>
                  <a:lnTo>
                    <a:pt x="1911" y="605"/>
                  </a:lnTo>
                  <a:lnTo>
                    <a:pt x="1908" y="600"/>
                  </a:lnTo>
                  <a:lnTo>
                    <a:pt x="1905" y="595"/>
                  </a:lnTo>
                  <a:lnTo>
                    <a:pt x="1902" y="579"/>
                  </a:lnTo>
                  <a:lnTo>
                    <a:pt x="1896" y="560"/>
                  </a:lnTo>
                  <a:lnTo>
                    <a:pt x="1894" y="549"/>
                  </a:lnTo>
                  <a:lnTo>
                    <a:pt x="1890" y="541"/>
                  </a:lnTo>
                  <a:lnTo>
                    <a:pt x="1889" y="537"/>
                  </a:lnTo>
                  <a:lnTo>
                    <a:pt x="1887" y="535"/>
                  </a:lnTo>
                  <a:lnTo>
                    <a:pt x="1885" y="533"/>
                  </a:lnTo>
                  <a:lnTo>
                    <a:pt x="1883" y="533"/>
                  </a:lnTo>
                  <a:lnTo>
                    <a:pt x="1880" y="533"/>
                  </a:lnTo>
                  <a:lnTo>
                    <a:pt x="1875" y="534"/>
                  </a:lnTo>
                  <a:lnTo>
                    <a:pt x="1869" y="536"/>
                  </a:lnTo>
                  <a:lnTo>
                    <a:pt x="1863" y="540"/>
                  </a:lnTo>
                  <a:lnTo>
                    <a:pt x="1851" y="549"/>
                  </a:lnTo>
                  <a:lnTo>
                    <a:pt x="1837" y="560"/>
                  </a:lnTo>
                  <a:lnTo>
                    <a:pt x="1823" y="570"/>
                  </a:lnTo>
                  <a:lnTo>
                    <a:pt x="1809" y="581"/>
                  </a:lnTo>
                  <a:lnTo>
                    <a:pt x="1796" y="589"/>
                  </a:lnTo>
                  <a:lnTo>
                    <a:pt x="1785" y="595"/>
                  </a:lnTo>
                  <a:lnTo>
                    <a:pt x="1771" y="599"/>
                  </a:lnTo>
                  <a:lnTo>
                    <a:pt x="1760" y="603"/>
                  </a:lnTo>
                  <a:lnTo>
                    <a:pt x="1749" y="605"/>
                  </a:lnTo>
                  <a:lnTo>
                    <a:pt x="1739" y="605"/>
                  </a:lnTo>
                  <a:lnTo>
                    <a:pt x="1729" y="605"/>
                  </a:lnTo>
                  <a:lnTo>
                    <a:pt x="1720" y="605"/>
                  </a:lnTo>
                  <a:lnTo>
                    <a:pt x="1712" y="603"/>
                  </a:lnTo>
                  <a:lnTo>
                    <a:pt x="1704" y="600"/>
                  </a:lnTo>
                  <a:lnTo>
                    <a:pt x="1689" y="592"/>
                  </a:lnTo>
                  <a:lnTo>
                    <a:pt x="1672" y="582"/>
                  </a:lnTo>
                  <a:lnTo>
                    <a:pt x="1654" y="570"/>
                  </a:lnTo>
                  <a:lnTo>
                    <a:pt x="1633" y="557"/>
                  </a:lnTo>
                  <a:lnTo>
                    <a:pt x="1618" y="549"/>
                  </a:lnTo>
                  <a:lnTo>
                    <a:pt x="1603" y="542"/>
                  </a:lnTo>
                  <a:lnTo>
                    <a:pt x="1587" y="536"/>
                  </a:lnTo>
                  <a:lnTo>
                    <a:pt x="1572" y="532"/>
                  </a:lnTo>
                  <a:lnTo>
                    <a:pt x="1543" y="526"/>
                  </a:lnTo>
                  <a:lnTo>
                    <a:pt x="1515" y="522"/>
                  </a:lnTo>
                  <a:lnTo>
                    <a:pt x="1486" y="520"/>
                  </a:lnTo>
                  <a:lnTo>
                    <a:pt x="1458" y="517"/>
                  </a:lnTo>
                  <a:lnTo>
                    <a:pt x="1444" y="514"/>
                  </a:lnTo>
                  <a:lnTo>
                    <a:pt x="1430" y="511"/>
                  </a:lnTo>
                  <a:lnTo>
                    <a:pt x="1416" y="506"/>
                  </a:lnTo>
                  <a:lnTo>
                    <a:pt x="1401" y="500"/>
                  </a:lnTo>
                  <a:lnTo>
                    <a:pt x="1395" y="498"/>
                  </a:lnTo>
                  <a:lnTo>
                    <a:pt x="1388" y="497"/>
                  </a:lnTo>
                  <a:lnTo>
                    <a:pt x="1381" y="496"/>
                  </a:lnTo>
                  <a:lnTo>
                    <a:pt x="1374" y="496"/>
                  </a:lnTo>
                  <a:lnTo>
                    <a:pt x="1360" y="498"/>
                  </a:lnTo>
                  <a:lnTo>
                    <a:pt x="1346" y="501"/>
                  </a:lnTo>
                  <a:lnTo>
                    <a:pt x="1317" y="511"/>
                  </a:lnTo>
                  <a:lnTo>
                    <a:pt x="1289" y="521"/>
                  </a:lnTo>
                  <a:lnTo>
                    <a:pt x="1277" y="524"/>
                  </a:lnTo>
                  <a:lnTo>
                    <a:pt x="1265" y="524"/>
                  </a:lnTo>
                  <a:lnTo>
                    <a:pt x="1259" y="524"/>
                  </a:lnTo>
                  <a:lnTo>
                    <a:pt x="1253" y="521"/>
                  </a:lnTo>
                  <a:lnTo>
                    <a:pt x="1248" y="519"/>
                  </a:lnTo>
                  <a:lnTo>
                    <a:pt x="1243" y="515"/>
                  </a:lnTo>
                  <a:lnTo>
                    <a:pt x="1238" y="511"/>
                  </a:lnTo>
                  <a:lnTo>
                    <a:pt x="1234" y="505"/>
                  </a:lnTo>
                  <a:lnTo>
                    <a:pt x="1230" y="498"/>
                  </a:lnTo>
                  <a:lnTo>
                    <a:pt x="1227" y="490"/>
                  </a:lnTo>
                  <a:lnTo>
                    <a:pt x="1223" y="480"/>
                  </a:lnTo>
                  <a:lnTo>
                    <a:pt x="1220" y="469"/>
                  </a:lnTo>
                  <a:lnTo>
                    <a:pt x="1217" y="456"/>
                  </a:lnTo>
                  <a:lnTo>
                    <a:pt x="1216" y="441"/>
                  </a:lnTo>
                  <a:lnTo>
                    <a:pt x="1213" y="426"/>
                  </a:lnTo>
                  <a:lnTo>
                    <a:pt x="1209" y="413"/>
                  </a:lnTo>
                  <a:lnTo>
                    <a:pt x="1206" y="401"/>
                  </a:lnTo>
                  <a:lnTo>
                    <a:pt x="1200" y="393"/>
                  </a:lnTo>
                  <a:lnTo>
                    <a:pt x="1194" y="386"/>
                  </a:lnTo>
                  <a:lnTo>
                    <a:pt x="1187" y="382"/>
                  </a:lnTo>
                  <a:lnTo>
                    <a:pt x="1179" y="378"/>
                  </a:lnTo>
                  <a:lnTo>
                    <a:pt x="1171" y="376"/>
                  </a:lnTo>
                  <a:lnTo>
                    <a:pt x="1163" y="376"/>
                  </a:lnTo>
                  <a:lnTo>
                    <a:pt x="1153" y="377"/>
                  </a:lnTo>
                  <a:lnTo>
                    <a:pt x="1144" y="379"/>
                  </a:lnTo>
                  <a:lnTo>
                    <a:pt x="1133" y="382"/>
                  </a:lnTo>
                  <a:lnTo>
                    <a:pt x="1113" y="390"/>
                  </a:lnTo>
                  <a:lnTo>
                    <a:pt x="1090" y="400"/>
                  </a:lnTo>
                  <a:lnTo>
                    <a:pt x="1067" y="411"/>
                  </a:lnTo>
                  <a:lnTo>
                    <a:pt x="1045" y="420"/>
                  </a:lnTo>
                  <a:lnTo>
                    <a:pt x="1035" y="425"/>
                  </a:lnTo>
                  <a:lnTo>
                    <a:pt x="1023" y="428"/>
                  </a:lnTo>
                  <a:lnTo>
                    <a:pt x="1012" y="430"/>
                  </a:lnTo>
                  <a:lnTo>
                    <a:pt x="1002" y="433"/>
                  </a:lnTo>
                  <a:lnTo>
                    <a:pt x="991" y="434"/>
                  </a:lnTo>
                  <a:lnTo>
                    <a:pt x="982" y="433"/>
                  </a:lnTo>
                  <a:lnTo>
                    <a:pt x="973" y="432"/>
                  </a:lnTo>
                  <a:lnTo>
                    <a:pt x="965" y="428"/>
                  </a:lnTo>
                  <a:lnTo>
                    <a:pt x="957" y="422"/>
                  </a:lnTo>
                  <a:lnTo>
                    <a:pt x="950" y="415"/>
                  </a:lnTo>
                  <a:lnTo>
                    <a:pt x="943" y="406"/>
                  </a:lnTo>
                  <a:lnTo>
                    <a:pt x="937" y="394"/>
                  </a:lnTo>
                  <a:lnTo>
                    <a:pt x="929" y="380"/>
                  </a:lnTo>
                  <a:lnTo>
                    <a:pt x="923" y="371"/>
                  </a:lnTo>
                  <a:lnTo>
                    <a:pt x="919" y="369"/>
                  </a:lnTo>
                  <a:lnTo>
                    <a:pt x="916" y="368"/>
                  </a:lnTo>
                  <a:lnTo>
                    <a:pt x="913" y="366"/>
                  </a:lnTo>
                  <a:lnTo>
                    <a:pt x="910" y="366"/>
                  </a:lnTo>
                  <a:lnTo>
                    <a:pt x="895" y="370"/>
                  </a:lnTo>
                  <a:lnTo>
                    <a:pt x="874" y="373"/>
                  </a:lnTo>
                  <a:lnTo>
                    <a:pt x="869" y="372"/>
                  </a:lnTo>
                  <a:lnTo>
                    <a:pt x="866" y="371"/>
                  </a:lnTo>
                  <a:lnTo>
                    <a:pt x="862" y="368"/>
                  </a:lnTo>
                  <a:lnTo>
                    <a:pt x="859" y="364"/>
                  </a:lnTo>
                  <a:lnTo>
                    <a:pt x="852" y="354"/>
                  </a:lnTo>
                  <a:lnTo>
                    <a:pt x="844" y="342"/>
                  </a:lnTo>
                  <a:lnTo>
                    <a:pt x="834" y="330"/>
                  </a:lnTo>
                  <a:lnTo>
                    <a:pt x="824" y="319"/>
                  </a:lnTo>
                  <a:lnTo>
                    <a:pt x="817" y="314"/>
                  </a:lnTo>
                  <a:lnTo>
                    <a:pt x="810" y="311"/>
                  </a:lnTo>
                  <a:lnTo>
                    <a:pt x="802" y="307"/>
                  </a:lnTo>
                  <a:lnTo>
                    <a:pt x="792" y="305"/>
                  </a:lnTo>
                  <a:lnTo>
                    <a:pt x="755" y="293"/>
                  </a:lnTo>
                  <a:lnTo>
                    <a:pt x="714" y="279"/>
                  </a:lnTo>
                  <a:lnTo>
                    <a:pt x="705" y="274"/>
                  </a:lnTo>
                  <a:lnTo>
                    <a:pt x="697" y="270"/>
                  </a:lnTo>
                  <a:lnTo>
                    <a:pt x="691" y="264"/>
                  </a:lnTo>
                  <a:lnTo>
                    <a:pt x="685" y="258"/>
                  </a:lnTo>
                  <a:lnTo>
                    <a:pt x="682" y="251"/>
                  </a:lnTo>
                  <a:lnTo>
                    <a:pt x="680" y="244"/>
                  </a:lnTo>
                  <a:lnTo>
                    <a:pt x="680" y="236"/>
                  </a:lnTo>
                  <a:lnTo>
                    <a:pt x="682" y="227"/>
                  </a:lnTo>
                  <a:lnTo>
                    <a:pt x="686" y="216"/>
                  </a:lnTo>
                  <a:lnTo>
                    <a:pt x="689" y="206"/>
                  </a:lnTo>
                  <a:lnTo>
                    <a:pt x="691" y="195"/>
                  </a:lnTo>
                  <a:lnTo>
                    <a:pt x="693" y="186"/>
                  </a:lnTo>
                  <a:lnTo>
                    <a:pt x="693" y="176"/>
                  </a:lnTo>
                  <a:lnTo>
                    <a:pt x="693" y="166"/>
                  </a:lnTo>
                  <a:lnTo>
                    <a:pt x="692" y="157"/>
                  </a:lnTo>
                  <a:lnTo>
                    <a:pt x="691" y="149"/>
                  </a:lnTo>
                  <a:lnTo>
                    <a:pt x="688" y="141"/>
                  </a:lnTo>
                  <a:lnTo>
                    <a:pt x="684" y="132"/>
                  </a:lnTo>
                  <a:lnTo>
                    <a:pt x="678" y="126"/>
                  </a:lnTo>
                  <a:lnTo>
                    <a:pt x="673" y="120"/>
                  </a:lnTo>
                  <a:lnTo>
                    <a:pt x="664" y="115"/>
                  </a:lnTo>
                  <a:lnTo>
                    <a:pt x="656" y="110"/>
                  </a:lnTo>
                  <a:lnTo>
                    <a:pt x="646" y="108"/>
                  </a:lnTo>
                  <a:lnTo>
                    <a:pt x="634" y="106"/>
                  </a:lnTo>
                  <a:lnTo>
                    <a:pt x="599" y="101"/>
                  </a:lnTo>
                  <a:lnTo>
                    <a:pt x="561" y="95"/>
                  </a:lnTo>
                  <a:lnTo>
                    <a:pt x="542" y="92"/>
                  </a:lnTo>
                  <a:lnTo>
                    <a:pt x="524" y="86"/>
                  </a:lnTo>
                  <a:lnTo>
                    <a:pt x="506" y="80"/>
                  </a:lnTo>
                  <a:lnTo>
                    <a:pt x="491" y="73"/>
                  </a:lnTo>
                  <a:lnTo>
                    <a:pt x="465" y="55"/>
                  </a:lnTo>
                  <a:lnTo>
                    <a:pt x="428" y="25"/>
                  </a:lnTo>
                  <a:lnTo>
                    <a:pt x="411" y="13"/>
                  </a:lnTo>
                  <a:lnTo>
                    <a:pt x="395" y="3"/>
                  </a:lnTo>
                  <a:lnTo>
                    <a:pt x="389" y="1"/>
                  </a:lnTo>
                  <a:lnTo>
                    <a:pt x="384" y="0"/>
                  </a:lnTo>
                  <a:lnTo>
                    <a:pt x="382" y="1"/>
                  </a:lnTo>
                  <a:lnTo>
                    <a:pt x="380" y="2"/>
                  </a:lnTo>
                  <a:lnTo>
                    <a:pt x="379" y="3"/>
                  </a:lnTo>
                  <a:lnTo>
                    <a:pt x="378" y="6"/>
                  </a:lnTo>
                  <a:lnTo>
                    <a:pt x="377" y="11"/>
                  </a:lnTo>
                  <a:lnTo>
                    <a:pt x="376" y="16"/>
                  </a:lnTo>
                  <a:lnTo>
                    <a:pt x="373" y="21"/>
                  </a:lnTo>
                  <a:lnTo>
                    <a:pt x="370" y="25"/>
                  </a:lnTo>
                  <a:lnTo>
                    <a:pt x="366" y="29"/>
                  </a:lnTo>
                  <a:lnTo>
                    <a:pt x="363" y="32"/>
                  </a:lnTo>
                  <a:lnTo>
                    <a:pt x="359" y="36"/>
                  </a:lnTo>
                  <a:lnTo>
                    <a:pt x="355" y="38"/>
                  </a:lnTo>
                  <a:lnTo>
                    <a:pt x="345" y="42"/>
                  </a:lnTo>
                  <a:lnTo>
                    <a:pt x="335" y="43"/>
                  </a:lnTo>
                  <a:lnTo>
                    <a:pt x="324" y="42"/>
                  </a:lnTo>
                  <a:lnTo>
                    <a:pt x="314" y="39"/>
                  </a:lnTo>
                  <a:lnTo>
                    <a:pt x="304" y="37"/>
                  </a:lnTo>
                  <a:lnTo>
                    <a:pt x="294" y="36"/>
                  </a:lnTo>
                  <a:lnTo>
                    <a:pt x="286" y="37"/>
                  </a:lnTo>
                  <a:lnTo>
                    <a:pt x="279" y="39"/>
                  </a:lnTo>
                  <a:lnTo>
                    <a:pt x="269" y="48"/>
                  </a:lnTo>
                  <a:lnTo>
                    <a:pt x="257" y="57"/>
                  </a:lnTo>
                  <a:lnTo>
                    <a:pt x="256" y="70"/>
                  </a:lnTo>
                  <a:lnTo>
                    <a:pt x="256" y="81"/>
                  </a:lnTo>
                  <a:lnTo>
                    <a:pt x="257" y="93"/>
                  </a:lnTo>
                  <a:lnTo>
                    <a:pt x="258" y="105"/>
                  </a:lnTo>
                  <a:lnTo>
                    <a:pt x="260" y="115"/>
                  </a:lnTo>
                  <a:lnTo>
                    <a:pt x="264" y="126"/>
                  </a:lnTo>
                  <a:lnTo>
                    <a:pt x="267" y="135"/>
                  </a:lnTo>
                  <a:lnTo>
                    <a:pt x="272" y="144"/>
                  </a:lnTo>
                  <a:lnTo>
                    <a:pt x="277" y="153"/>
                  </a:lnTo>
                  <a:lnTo>
                    <a:pt x="283" y="162"/>
                  </a:lnTo>
                  <a:lnTo>
                    <a:pt x="290" y="170"/>
                  </a:lnTo>
                  <a:lnTo>
                    <a:pt x="295" y="178"/>
                  </a:lnTo>
                  <a:lnTo>
                    <a:pt x="304" y="185"/>
                  </a:lnTo>
                  <a:lnTo>
                    <a:pt x="311" y="192"/>
                  </a:lnTo>
                  <a:lnTo>
                    <a:pt x="319" y="199"/>
                  </a:lnTo>
                  <a:lnTo>
                    <a:pt x="328" y="205"/>
                  </a:lnTo>
                  <a:lnTo>
                    <a:pt x="336" y="212"/>
                  </a:lnTo>
                  <a:lnTo>
                    <a:pt x="343" y="219"/>
                  </a:lnTo>
                  <a:lnTo>
                    <a:pt x="349" y="228"/>
                  </a:lnTo>
                  <a:lnTo>
                    <a:pt x="352" y="237"/>
                  </a:lnTo>
                  <a:lnTo>
                    <a:pt x="355" y="248"/>
                  </a:lnTo>
                  <a:lnTo>
                    <a:pt x="357" y="258"/>
                  </a:lnTo>
                  <a:lnTo>
                    <a:pt x="358" y="269"/>
                  </a:lnTo>
                  <a:lnTo>
                    <a:pt x="359" y="279"/>
                  </a:lnTo>
                  <a:lnTo>
                    <a:pt x="361" y="300"/>
                  </a:lnTo>
                  <a:lnTo>
                    <a:pt x="363" y="320"/>
                  </a:lnTo>
                  <a:lnTo>
                    <a:pt x="365" y="328"/>
                  </a:lnTo>
                  <a:lnTo>
                    <a:pt x="368" y="335"/>
                  </a:lnTo>
                  <a:lnTo>
                    <a:pt x="372" y="342"/>
                  </a:lnTo>
                  <a:lnTo>
                    <a:pt x="377" y="347"/>
                  </a:lnTo>
                  <a:lnTo>
                    <a:pt x="398" y="356"/>
                  </a:lnTo>
                  <a:lnTo>
                    <a:pt x="420" y="366"/>
                  </a:lnTo>
                  <a:lnTo>
                    <a:pt x="430" y="371"/>
                  </a:lnTo>
                  <a:lnTo>
                    <a:pt x="440" y="378"/>
                  </a:lnTo>
                  <a:lnTo>
                    <a:pt x="443" y="382"/>
                  </a:lnTo>
                  <a:lnTo>
                    <a:pt x="446" y="386"/>
                  </a:lnTo>
                  <a:lnTo>
                    <a:pt x="448" y="391"/>
                  </a:lnTo>
                  <a:lnTo>
                    <a:pt x="450" y="397"/>
                  </a:lnTo>
                  <a:lnTo>
                    <a:pt x="454" y="408"/>
                  </a:lnTo>
                  <a:lnTo>
                    <a:pt x="462" y="422"/>
                  </a:lnTo>
                  <a:lnTo>
                    <a:pt x="470" y="437"/>
                  </a:lnTo>
                  <a:lnTo>
                    <a:pt x="479" y="453"/>
                  </a:lnTo>
                  <a:lnTo>
                    <a:pt x="489" y="466"/>
                  </a:lnTo>
                  <a:lnTo>
                    <a:pt x="494" y="478"/>
                  </a:lnTo>
                  <a:lnTo>
                    <a:pt x="496" y="483"/>
                  </a:lnTo>
                  <a:lnTo>
                    <a:pt x="497" y="486"/>
                  </a:lnTo>
                  <a:lnTo>
                    <a:pt x="496" y="489"/>
                  </a:lnTo>
                  <a:lnTo>
                    <a:pt x="493" y="491"/>
                  </a:lnTo>
                  <a:lnTo>
                    <a:pt x="475" y="496"/>
                  </a:lnTo>
                  <a:lnTo>
                    <a:pt x="451" y="501"/>
                  </a:lnTo>
                  <a:lnTo>
                    <a:pt x="426" y="508"/>
                  </a:lnTo>
                  <a:lnTo>
                    <a:pt x="398" y="517"/>
                  </a:lnTo>
                  <a:lnTo>
                    <a:pt x="371" y="525"/>
                  </a:lnTo>
                  <a:lnTo>
                    <a:pt x="348" y="535"/>
                  </a:lnTo>
                  <a:lnTo>
                    <a:pt x="337" y="541"/>
                  </a:lnTo>
                  <a:lnTo>
                    <a:pt x="328" y="547"/>
                  </a:lnTo>
                  <a:lnTo>
                    <a:pt x="321" y="553"/>
                  </a:lnTo>
                  <a:lnTo>
                    <a:pt x="316" y="560"/>
                  </a:lnTo>
                  <a:lnTo>
                    <a:pt x="315" y="562"/>
                  </a:lnTo>
                  <a:lnTo>
                    <a:pt x="316" y="564"/>
                  </a:lnTo>
                  <a:lnTo>
                    <a:pt x="317" y="569"/>
                  </a:lnTo>
                  <a:lnTo>
                    <a:pt x="320" y="574"/>
                  </a:lnTo>
                  <a:lnTo>
                    <a:pt x="327" y="583"/>
                  </a:lnTo>
                  <a:lnTo>
                    <a:pt x="336" y="595"/>
                  </a:lnTo>
                  <a:lnTo>
                    <a:pt x="347" y="605"/>
                  </a:lnTo>
                  <a:lnTo>
                    <a:pt x="356" y="615"/>
                  </a:lnTo>
                  <a:lnTo>
                    <a:pt x="365" y="622"/>
                  </a:lnTo>
                  <a:lnTo>
                    <a:pt x="371" y="627"/>
                  </a:lnTo>
                  <a:lnTo>
                    <a:pt x="385" y="634"/>
                  </a:lnTo>
                  <a:lnTo>
                    <a:pt x="397" y="641"/>
                  </a:lnTo>
                  <a:lnTo>
                    <a:pt x="406" y="648"/>
                  </a:lnTo>
                  <a:lnTo>
                    <a:pt x="414" y="655"/>
                  </a:lnTo>
                  <a:lnTo>
                    <a:pt x="419" y="661"/>
                  </a:lnTo>
                  <a:lnTo>
                    <a:pt x="423" y="667"/>
                  </a:lnTo>
                  <a:lnTo>
                    <a:pt x="425" y="674"/>
                  </a:lnTo>
                  <a:lnTo>
                    <a:pt x="426" y="678"/>
                  </a:lnTo>
                  <a:lnTo>
                    <a:pt x="426" y="684"/>
                  </a:lnTo>
                  <a:lnTo>
                    <a:pt x="423" y="690"/>
                  </a:lnTo>
                  <a:lnTo>
                    <a:pt x="421" y="695"/>
                  </a:lnTo>
                  <a:lnTo>
                    <a:pt x="418" y="700"/>
                  </a:lnTo>
                  <a:lnTo>
                    <a:pt x="408" y="711"/>
                  </a:lnTo>
                  <a:lnTo>
                    <a:pt x="397" y="721"/>
                  </a:lnTo>
                  <a:lnTo>
                    <a:pt x="385" y="731"/>
                  </a:lnTo>
                  <a:lnTo>
                    <a:pt x="373" y="741"/>
                  </a:lnTo>
                  <a:lnTo>
                    <a:pt x="369" y="747"/>
                  </a:lnTo>
                  <a:lnTo>
                    <a:pt x="364" y="753"/>
                  </a:lnTo>
                  <a:lnTo>
                    <a:pt x="361" y="759"/>
                  </a:lnTo>
                  <a:lnTo>
                    <a:pt x="357" y="764"/>
                  </a:lnTo>
                  <a:lnTo>
                    <a:pt x="356" y="770"/>
                  </a:lnTo>
                  <a:lnTo>
                    <a:pt x="355" y="776"/>
                  </a:lnTo>
                  <a:lnTo>
                    <a:pt x="355" y="783"/>
                  </a:lnTo>
                  <a:lnTo>
                    <a:pt x="357" y="789"/>
                  </a:lnTo>
                  <a:lnTo>
                    <a:pt x="361" y="796"/>
                  </a:lnTo>
                  <a:lnTo>
                    <a:pt x="365" y="804"/>
                  </a:lnTo>
                  <a:lnTo>
                    <a:pt x="372" y="811"/>
                  </a:lnTo>
                  <a:lnTo>
                    <a:pt x="382" y="819"/>
                  </a:lnTo>
                  <a:lnTo>
                    <a:pt x="382" y="816"/>
                  </a:lnTo>
                  <a:lnTo>
                    <a:pt x="379" y="813"/>
                  </a:lnTo>
                  <a:lnTo>
                    <a:pt x="385" y="820"/>
                  </a:lnTo>
                  <a:lnTo>
                    <a:pt x="397" y="831"/>
                  </a:lnTo>
                  <a:lnTo>
                    <a:pt x="412" y="844"/>
                  </a:lnTo>
                  <a:lnTo>
                    <a:pt x="428" y="856"/>
                  </a:lnTo>
                  <a:lnTo>
                    <a:pt x="461" y="882"/>
                  </a:lnTo>
                  <a:lnTo>
                    <a:pt x="484" y="898"/>
                  </a:lnTo>
                  <a:lnTo>
                    <a:pt x="490" y="902"/>
                  </a:lnTo>
                  <a:lnTo>
                    <a:pt x="494" y="903"/>
                  </a:lnTo>
                  <a:lnTo>
                    <a:pt x="500" y="905"/>
                  </a:lnTo>
                  <a:lnTo>
                    <a:pt x="506" y="905"/>
                  </a:lnTo>
                  <a:lnTo>
                    <a:pt x="517" y="905"/>
                  </a:lnTo>
                  <a:lnTo>
                    <a:pt x="527" y="904"/>
                  </a:lnTo>
                  <a:lnTo>
                    <a:pt x="537" y="903"/>
                  </a:lnTo>
                  <a:lnTo>
                    <a:pt x="549" y="902"/>
                  </a:lnTo>
                  <a:lnTo>
                    <a:pt x="554" y="903"/>
                  </a:lnTo>
                  <a:lnTo>
                    <a:pt x="560" y="903"/>
                  </a:lnTo>
                  <a:lnTo>
                    <a:pt x="565" y="905"/>
                  </a:lnTo>
                  <a:lnTo>
                    <a:pt x="571" y="908"/>
                  </a:lnTo>
                  <a:lnTo>
                    <a:pt x="583" y="915"/>
                  </a:lnTo>
                  <a:lnTo>
                    <a:pt x="595" y="922"/>
                  </a:lnTo>
                  <a:lnTo>
                    <a:pt x="604" y="930"/>
                  </a:lnTo>
                  <a:lnTo>
                    <a:pt x="613" y="938"/>
                  </a:lnTo>
                  <a:lnTo>
                    <a:pt x="628" y="955"/>
                  </a:lnTo>
                  <a:lnTo>
                    <a:pt x="643" y="972"/>
                  </a:lnTo>
                  <a:lnTo>
                    <a:pt x="652" y="979"/>
                  </a:lnTo>
                  <a:lnTo>
                    <a:pt x="660" y="986"/>
                  </a:lnTo>
                  <a:lnTo>
                    <a:pt x="669" y="993"/>
                  </a:lnTo>
                  <a:lnTo>
                    <a:pt x="680" y="998"/>
                  </a:lnTo>
                  <a:lnTo>
                    <a:pt x="692" y="1003"/>
                  </a:lnTo>
                  <a:lnTo>
                    <a:pt x="705" y="1005"/>
                  </a:lnTo>
                  <a:lnTo>
                    <a:pt x="721" y="1008"/>
                  </a:lnTo>
                  <a:lnTo>
                    <a:pt x="739" y="1009"/>
                  </a:lnTo>
                  <a:lnTo>
                    <a:pt x="737" y="1013"/>
                  </a:lnTo>
                  <a:lnTo>
                    <a:pt x="734" y="1018"/>
                  </a:lnTo>
                  <a:lnTo>
                    <a:pt x="731" y="1022"/>
                  </a:lnTo>
                  <a:lnTo>
                    <a:pt x="725" y="1025"/>
                  </a:lnTo>
                  <a:lnTo>
                    <a:pt x="720" y="1027"/>
                  </a:lnTo>
                  <a:lnTo>
                    <a:pt x="713" y="1029"/>
                  </a:lnTo>
                  <a:lnTo>
                    <a:pt x="706" y="1031"/>
                  </a:lnTo>
                  <a:lnTo>
                    <a:pt x="698" y="1031"/>
                  </a:lnTo>
                  <a:lnTo>
                    <a:pt x="682" y="1032"/>
                  </a:lnTo>
                  <a:lnTo>
                    <a:pt x="662" y="1031"/>
                  </a:lnTo>
                  <a:lnTo>
                    <a:pt x="642" y="1030"/>
                  </a:lnTo>
                  <a:lnTo>
                    <a:pt x="621" y="1026"/>
                  </a:lnTo>
                  <a:lnTo>
                    <a:pt x="578" y="1020"/>
                  </a:lnTo>
                  <a:lnTo>
                    <a:pt x="539" y="1016"/>
                  </a:lnTo>
                  <a:lnTo>
                    <a:pt x="521" y="1013"/>
                  </a:lnTo>
                  <a:lnTo>
                    <a:pt x="506" y="1013"/>
                  </a:lnTo>
                  <a:lnTo>
                    <a:pt x="499" y="1013"/>
                  </a:lnTo>
                  <a:lnTo>
                    <a:pt x="493" y="1015"/>
                  </a:lnTo>
                  <a:lnTo>
                    <a:pt x="487" y="1016"/>
                  </a:lnTo>
                  <a:lnTo>
                    <a:pt x="484" y="1018"/>
                  </a:lnTo>
                  <a:lnTo>
                    <a:pt x="476" y="1022"/>
                  </a:lnTo>
                  <a:lnTo>
                    <a:pt x="469" y="1024"/>
                  </a:lnTo>
                  <a:lnTo>
                    <a:pt x="462" y="1025"/>
                  </a:lnTo>
                  <a:lnTo>
                    <a:pt x="455" y="1025"/>
                  </a:lnTo>
                  <a:lnTo>
                    <a:pt x="441" y="1024"/>
                  </a:lnTo>
                  <a:lnTo>
                    <a:pt x="428" y="1022"/>
                  </a:lnTo>
                  <a:lnTo>
                    <a:pt x="415" y="1019"/>
                  </a:lnTo>
                  <a:lnTo>
                    <a:pt x="401" y="1019"/>
                  </a:lnTo>
                  <a:lnTo>
                    <a:pt x="394" y="1022"/>
                  </a:lnTo>
                  <a:lnTo>
                    <a:pt x="387" y="1023"/>
                  </a:lnTo>
                  <a:lnTo>
                    <a:pt x="379" y="1026"/>
                  </a:lnTo>
                  <a:lnTo>
                    <a:pt x="371" y="1032"/>
                  </a:lnTo>
                  <a:lnTo>
                    <a:pt x="356" y="1043"/>
                  </a:lnTo>
                  <a:lnTo>
                    <a:pt x="340" y="1057"/>
                  </a:lnTo>
                  <a:lnTo>
                    <a:pt x="322" y="1072"/>
                  </a:lnTo>
                  <a:lnTo>
                    <a:pt x="306" y="1088"/>
                  </a:lnTo>
                  <a:lnTo>
                    <a:pt x="290" y="1105"/>
                  </a:lnTo>
                  <a:lnTo>
                    <a:pt x="274" y="1122"/>
                  </a:lnTo>
                  <a:lnTo>
                    <a:pt x="260" y="1138"/>
                  </a:lnTo>
                  <a:lnTo>
                    <a:pt x="249" y="1153"/>
                  </a:lnTo>
                  <a:lnTo>
                    <a:pt x="241" y="1161"/>
                  </a:lnTo>
                  <a:lnTo>
                    <a:pt x="233" y="1171"/>
                  </a:lnTo>
                  <a:lnTo>
                    <a:pt x="223" y="1179"/>
                  </a:lnTo>
                  <a:lnTo>
                    <a:pt x="212" y="1188"/>
                  </a:lnTo>
                  <a:lnTo>
                    <a:pt x="188" y="1204"/>
                  </a:lnTo>
                  <a:lnTo>
                    <a:pt x="163" y="1221"/>
                  </a:lnTo>
                  <a:lnTo>
                    <a:pt x="136" y="1237"/>
                  </a:lnTo>
                  <a:lnTo>
                    <a:pt x="110" y="1251"/>
                  </a:lnTo>
                  <a:lnTo>
                    <a:pt x="86" y="1264"/>
                  </a:lnTo>
                  <a:lnTo>
                    <a:pt x="65" y="1274"/>
                  </a:lnTo>
                  <a:lnTo>
                    <a:pt x="54" y="1280"/>
                  </a:lnTo>
                  <a:lnTo>
                    <a:pt x="46" y="1286"/>
                  </a:lnTo>
                  <a:lnTo>
                    <a:pt x="38" y="1292"/>
                  </a:lnTo>
                  <a:lnTo>
                    <a:pt x="31" y="1297"/>
                  </a:lnTo>
                  <a:lnTo>
                    <a:pt x="25" y="1304"/>
                  </a:lnTo>
                  <a:lnTo>
                    <a:pt x="20" y="1311"/>
                  </a:lnTo>
                  <a:lnTo>
                    <a:pt x="15" y="1317"/>
                  </a:lnTo>
                  <a:lnTo>
                    <a:pt x="11" y="1324"/>
                  </a:lnTo>
                  <a:lnTo>
                    <a:pt x="6" y="1339"/>
                  </a:lnTo>
                  <a:lnTo>
                    <a:pt x="2" y="1353"/>
                  </a:lnTo>
                  <a:lnTo>
                    <a:pt x="1" y="1368"/>
                  </a:lnTo>
                  <a:lnTo>
                    <a:pt x="0" y="1385"/>
                  </a:lnTo>
                  <a:lnTo>
                    <a:pt x="2" y="1417"/>
                  </a:lnTo>
                  <a:lnTo>
                    <a:pt x="6" y="1452"/>
                  </a:lnTo>
                  <a:lnTo>
                    <a:pt x="7" y="1470"/>
                  </a:lnTo>
                  <a:lnTo>
                    <a:pt x="7" y="1487"/>
                  </a:lnTo>
                  <a:lnTo>
                    <a:pt x="6" y="1505"/>
                  </a:lnTo>
                  <a:lnTo>
                    <a:pt x="2" y="1522"/>
                  </a:lnTo>
                  <a:lnTo>
                    <a:pt x="1" y="1530"/>
                  </a:lnTo>
                  <a:lnTo>
                    <a:pt x="1" y="1537"/>
                  </a:lnTo>
                  <a:lnTo>
                    <a:pt x="2" y="1544"/>
                  </a:lnTo>
                  <a:lnTo>
                    <a:pt x="4" y="1549"/>
                  </a:lnTo>
                  <a:lnTo>
                    <a:pt x="9" y="1553"/>
                  </a:lnTo>
                  <a:lnTo>
                    <a:pt x="14" y="1558"/>
                  </a:lnTo>
                  <a:lnTo>
                    <a:pt x="18" y="1562"/>
                  </a:lnTo>
                  <a:lnTo>
                    <a:pt x="24" y="1565"/>
                  </a:lnTo>
                  <a:lnTo>
                    <a:pt x="37" y="1572"/>
                  </a:lnTo>
                  <a:lnTo>
                    <a:pt x="51" y="1580"/>
                  </a:lnTo>
                  <a:lnTo>
                    <a:pt x="57" y="1585"/>
                  </a:lnTo>
                  <a:lnTo>
                    <a:pt x="64" y="1591"/>
                  </a:lnTo>
                  <a:lnTo>
                    <a:pt x="70" y="1596"/>
                  </a:lnTo>
                  <a:lnTo>
                    <a:pt x="74" y="1603"/>
                  </a:lnTo>
                  <a:lnTo>
                    <a:pt x="63" y="1681"/>
                  </a:lnTo>
                  <a:lnTo>
                    <a:pt x="82" y="1686"/>
                  </a:lnTo>
                  <a:lnTo>
                    <a:pt x="101" y="1691"/>
                  </a:lnTo>
                  <a:lnTo>
                    <a:pt x="121" y="1693"/>
                  </a:lnTo>
                  <a:lnTo>
                    <a:pt x="139" y="1695"/>
                  </a:lnTo>
                  <a:lnTo>
                    <a:pt x="159" y="1697"/>
                  </a:lnTo>
                  <a:lnTo>
                    <a:pt x="178" y="1698"/>
                  </a:lnTo>
                  <a:lnTo>
                    <a:pt x="196" y="1697"/>
                  </a:lnTo>
                  <a:lnTo>
                    <a:pt x="214" y="1694"/>
                  </a:lnTo>
                  <a:lnTo>
                    <a:pt x="233" y="1691"/>
                  </a:lnTo>
                  <a:lnTo>
                    <a:pt x="250" y="1686"/>
                  </a:lnTo>
                  <a:lnTo>
                    <a:pt x="266" y="1680"/>
                  </a:lnTo>
                  <a:lnTo>
                    <a:pt x="284" y="1672"/>
                  </a:lnTo>
                  <a:lnTo>
                    <a:pt x="300" y="1664"/>
                  </a:lnTo>
                  <a:lnTo>
                    <a:pt x="315" y="1654"/>
                  </a:lnTo>
                  <a:lnTo>
                    <a:pt x="330" y="1642"/>
                  </a:lnTo>
                  <a:lnTo>
                    <a:pt x="344" y="1628"/>
                  </a:lnTo>
                  <a:lnTo>
                    <a:pt x="348" y="1626"/>
                  </a:lnTo>
                  <a:lnTo>
                    <a:pt x="352" y="1626"/>
                  </a:lnTo>
                  <a:lnTo>
                    <a:pt x="356" y="1626"/>
                  </a:lnTo>
                  <a:lnTo>
                    <a:pt x="359" y="1628"/>
                  </a:lnTo>
                  <a:lnTo>
                    <a:pt x="369" y="1635"/>
                  </a:lnTo>
                  <a:lnTo>
                    <a:pt x="377" y="1645"/>
                  </a:lnTo>
                  <a:lnTo>
                    <a:pt x="392" y="1669"/>
                  </a:lnTo>
                  <a:lnTo>
                    <a:pt x="405" y="1686"/>
                  </a:lnTo>
                  <a:lnTo>
                    <a:pt x="408" y="1691"/>
                  </a:lnTo>
                  <a:lnTo>
                    <a:pt x="413" y="1694"/>
                  </a:lnTo>
                  <a:lnTo>
                    <a:pt x="418" y="1695"/>
                  </a:lnTo>
                  <a:lnTo>
                    <a:pt x="422" y="1697"/>
                  </a:lnTo>
                  <a:lnTo>
                    <a:pt x="432" y="1695"/>
                  </a:lnTo>
                  <a:lnTo>
                    <a:pt x="441" y="1692"/>
                  </a:lnTo>
                  <a:lnTo>
                    <a:pt x="450" y="1688"/>
                  </a:lnTo>
                  <a:lnTo>
                    <a:pt x="460" y="1685"/>
                  </a:lnTo>
                  <a:lnTo>
                    <a:pt x="464" y="1685"/>
                  </a:lnTo>
                  <a:lnTo>
                    <a:pt x="469" y="1684"/>
                  </a:lnTo>
                  <a:lnTo>
                    <a:pt x="473" y="1685"/>
                  </a:lnTo>
                  <a:lnTo>
                    <a:pt x="478" y="1687"/>
                  </a:lnTo>
                  <a:lnTo>
                    <a:pt x="486" y="1694"/>
                  </a:lnTo>
                  <a:lnTo>
                    <a:pt x="498" y="1707"/>
                  </a:lnTo>
                  <a:lnTo>
                    <a:pt x="510" y="1723"/>
                  </a:lnTo>
                  <a:lnTo>
                    <a:pt x="524" y="1742"/>
                  </a:lnTo>
                  <a:lnTo>
                    <a:pt x="549" y="1780"/>
                  </a:lnTo>
                  <a:lnTo>
                    <a:pt x="565" y="1807"/>
                  </a:lnTo>
                  <a:lnTo>
                    <a:pt x="570" y="1815"/>
                  </a:lnTo>
                  <a:lnTo>
                    <a:pt x="576" y="1820"/>
                  </a:lnTo>
                  <a:lnTo>
                    <a:pt x="581" y="1823"/>
                  </a:lnTo>
                  <a:lnTo>
                    <a:pt x="586" y="1825"/>
                  </a:lnTo>
                  <a:lnTo>
                    <a:pt x="592" y="1823"/>
                  </a:lnTo>
                  <a:lnTo>
                    <a:pt x="598" y="1821"/>
                  </a:lnTo>
                  <a:lnTo>
                    <a:pt x="605" y="1818"/>
                  </a:lnTo>
                  <a:lnTo>
                    <a:pt x="611" y="1813"/>
                  </a:lnTo>
                  <a:lnTo>
                    <a:pt x="624" y="1802"/>
                  </a:lnTo>
                  <a:lnTo>
                    <a:pt x="636" y="1792"/>
                  </a:lnTo>
                  <a:lnTo>
                    <a:pt x="643" y="1787"/>
                  </a:lnTo>
                  <a:lnTo>
                    <a:pt x="650" y="1783"/>
                  </a:lnTo>
                  <a:lnTo>
                    <a:pt x="659" y="1779"/>
                  </a:lnTo>
                  <a:lnTo>
                    <a:pt x="666" y="1777"/>
                  </a:lnTo>
                  <a:lnTo>
                    <a:pt x="690" y="1776"/>
                  </a:lnTo>
                  <a:lnTo>
                    <a:pt x="704" y="1776"/>
                  </a:lnTo>
                  <a:lnTo>
                    <a:pt x="705" y="1775"/>
                  </a:lnTo>
                  <a:lnTo>
                    <a:pt x="707" y="1773"/>
                  </a:lnTo>
                  <a:lnTo>
                    <a:pt x="709" y="1770"/>
                  </a:lnTo>
                  <a:lnTo>
                    <a:pt x="709" y="1768"/>
                  </a:lnTo>
                  <a:lnTo>
                    <a:pt x="710" y="1757"/>
                  </a:lnTo>
                  <a:lnTo>
                    <a:pt x="710" y="1742"/>
                  </a:lnTo>
                  <a:lnTo>
                    <a:pt x="711" y="1729"/>
                  </a:lnTo>
                  <a:lnTo>
                    <a:pt x="712" y="1720"/>
                  </a:lnTo>
                  <a:lnTo>
                    <a:pt x="716" y="1713"/>
                  </a:lnTo>
                  <a:lnTo>
                    <a:pt x="719" y="1708"/>
                  </a:lnTo>
                  <a:lnTo>
                    <a:pt x="724" y="1706"/>
                  </a:lnTo>
                  <a:lnTo>
                    <a:pt x="728" y="1706"/>
                  </a:lnTo>
                  <a:lnTo>
                    <a:pt x="734" y="1707"/>
                  </a:lnTo>
                  <a:lnTo>
                    <a:pt x="740" y="1709"/>
                  </a:lnTo>
                  <a:lnTo>
                    <a:pt x="752" y="1716"/>
                  </a:lnTo>
                  <a:lnTo>
                    <a:pt x="764" y="1727"/>
                  </a:lnTo>
                  <a:lnTo>
                    <a:pt x="775" y="1736"/>
                  </a:lnTo>
                  <a:lnTo>
                    <a:pt x="783" y="1744"/>
                  </a:lnTo>
                  <a:lnTo>
                    <a:pt x="791" y="1750"/>
                  </a:lnTo>
                  <a:lnTo>
                    <a:pt x="799" y="1756"/>
                  </a:lnTo>
                  <a:lnTo>
                    <a:pt x="806" y="1759"/>
                  </a:lnTo>
                  <a:lnTo>
                    <a:pt x="815" y="1762"/>
                  </a:lnTo>
                  <a:lnTo>
                    <a:pt x="824" y="1764"/>
                  </a:lnTo>
                  <a:lnTo>
                    <a:pt x="832" y="1765"/>
                  </a:lnTo>
                  <a:lnTo>
                    <a:pt x="840" y="1765"/>
                  </a:lnTo>
                  <a:lnTo>
                    <a:pt x="849" y="1765"/>
                  </a:lnTo>
                  <a:lnTo>
                    <a:pt x="868" y="1763"/>
                  </a:lnTo>
                  <a:lnTo>
                    <a:pt x="886" y="1759"/>
                  </a:lnTo>
                  <a:lnTo>
                    <a:pt x="904" y="1755"/>
                  </a:lnTo>
                  <a:lnTo>
                    <a:pt x="923" y="1750"/>
                  </a:lnTo>
                  <a:lnTo>
                    <a:pt x="941" y="1740"/>
                  </a:lnTo>
                  <a:lnTo>
                    <a:pt x="964" y="1727"/>
                  </a:lnTo>
                  <a:lnTo>
                    <a:pt x="987" y="1712"/>
                  </a:lnTo>
                  <a:lnTo>
                    <a:pt x="1011" y="1697"/>
                  </a:lnTo>
                  <a:lnTo>
                    <a:pt x="1037" y="1683"/>
                  </a:lnTo>
                  <a:lnTo>
                    <a:pt x="1060" y="1670"/>
                  </a:lnTo>
                  <a:lnTo>
                    <a:pt x="1071" y="1665"/>
                  </a:lnTo>
                  <a:lnTo>
                    <a:pt x="1081" y="1662"/>
                  </a:lnTo>
                  <a:lnTo>
                    <a:pt x="1090" y="1658"/>
                  </a:lnTo>
                  <a:lnTo>
                    <a:pt x="1100" y="1657"/>
                  </a:lnTo>
                  <a:lnTo>
                    <a:pt x="1129" y="1657"/>
                  </a:lnTo>
                  <a:lnTo>
                    <a:pt x="1163" y="1656"/>
                  </a:lnTo>
                  <a:lnTo>
                    <a:pt x="1171" y="1655"/>
                  </a:lnTo>
                  <a:lnTo>
                    <a:pt x="1177" y="1654"/>
                  </a:lnTo>
                  <a:lnTo>
                    <a:pt x="1182" y="1650"/>
                  </a:lnTo>
                  <a:lnTo>
                    <a:pt x="1187" y="1647"/>
                  </a:lnTo>
                  <a:lnTo>
                    <a:pt x="1189" y="1642"/>
                  </a:lnTo>
                  <a:lnTo>
                    <a:pt x="1191" y="1636"/>
                  </a:lnTo>
                  <a:lnTo>
                    <a:pt x="1189" y="1629"/>
                  </a:lnTo>
                  <a:lnTo>
                    <a:pt x="1187" y="1620"/>
                  </a:lnTo>
                  <a:lnTo>
                    <a:pt x="1185" y="1613"/>
                  </a:lnTo>
                  <a:lnTo>
                    <a:pt x="1182" y="1607"/>
                  </a:lnTo>
                  <a:lnTo>
                    <a:pt x="1182" y="1601"/>
                  </a:lnTo>
                  <a:lnTo>
                    <a:pt x="1184" y="1595"/>
                  </a:lnTo>
                  <a:lnTo>
                    <a:pt x="1186" y="1590"/>
                  </a:lnTo>
                  <a:lnTo>
                    <a:pt x="1189" y="1585"/>
                  </a:lnTo>
                  <a:lnTo>
                    <a:pt x="1193" y="1581"/>
                  </a:lnTo>
                  <a:lnTo>
                    <a:pt x="1198" y="1577"/>
                  </a:lnTo>
                  <a:lnTo>
                    <a:pt x="1209" y="1571"/>
                  </a:lnTo>
                  <a:lnTo>
                    <a:pt x="1223" y="1565"/>
                  </a:lnTo>
                  <a:lnTo>
                    <a:pt x="1239" y="1560"/>
                  </a:lnTo>
                  <a:lnTo>
                    <a:pt x="1257" y="1557"/>
                  </a:lnTo>
                  <a:lnTo>
                    <a:pt x="1275" y="1556"/>
                  </a:lnTo>
                  <a:lnTo>
                    <a:pt x="1294" y="1553"/>
                  </a:lnTo>
                  <a:lnTo>
                    <a:pt x="1313" y="1552"/>
                  </a:lnTo>
                  <a:lnTo>
                    <a:pt x="1330" y="1552"/>
                  </a:lnTo>
                  <a:lnTo>
                    <a:pt x="1362" y="1552"/>
                  </a:lnTo>
                  <a:lnTo>
                    <a:pt x="1383" y="1552"/>
                  </a:lnTo>
                  <a:lnTo>
                    <a:pt x="1386" y="1555"/>
                  </a:lnTo>
                  <a:lnTo>
                    <a:pt x="1393" y="1558"/>
                  </a:lnTo>
                  <a:lnTo>
                    <a:pt x="1400" y="1565"/>
                  </a:lnTo>
                  <a:lnTo>
                    <a:pt x="1408" y="1573"/>
                  </a:lnTo>
                  <a:lnTo>
                    <a:pt x="1429" y="1595"/>
                  </a:lnTo>
                  <a:lnTo>
                    <a:pt x="1451" y="1621"/>
                  </a:lnTo>
                  <a:lnTo>
                    <a:pt x="1493" y="1673"/>
                  </a:lnTo>
                  <a:lnTo>
                    <a:pt x="1520" y="1707"/>
                  </a:lnTo>
                  <a:lnTo>
                    <a:pt x="1533" y="1725"/>
                  </a:lnTo>
                  <a:lnTo>
                    <a:pt x="1551" y="1749"/>
                  </a:lnTo>
                  <a:lnTo>
                    <a:pt x="1557" y="1754"/>
                  </a:lnTo>
                  <a:lnTo>
                    <a:pt x="1562" y="1758"/>
                  </a:lnTo>
                  <a:lnTo>
                    <a:pt x="1568" y="1762"/>
                  </a:lnTo>
                  <a:lnTo>
                    <a:pt x="1572" y="1764"/>
                  </a:lnTo>
                  <a:lnTo>
                    <a:pt x="1577" y="1765"/>
                  </a:lnTo>
                  <a:lnTo>
                    <a:pt x="1582" y="1765"/>
                  </a:lnTo>
                  <a:lnTo>
                    <a:pt x="1585" y="1762"/>
                  </a:lnTo>
                  <a:lnTo>
                    <a:pt x="1589" y="1757"/>
                  </a:lnTo>
                  <a:lnTo>
                    <a:pt x="1596" y="1745"/>
                  </a:lnTo>
                  <a:lnTo>
                    <a:pt x="1603" y="1731"/>
                  </a:lnTo>
                  <a:lnTo>
                    <a:pt x="1611" y="1719"/>
                  </a:lnTo>
                  <a:lnTo>
                    <a:pt x="1619" y="1707"/>
                  </a:lnTo>
                  <a:lnTo>
                    <a:pt x="1624" y="1701"/>
                  </a:lnTo>
                  <a:lnTo>
                    <a:pt x="1629" y="1697"/>
                  </a:lnTo>
                  <a:lnTo>
                    <a:pt x="1634" y="1692"/>
                  </a:lnTo>
                  <a:lnTo>
                    <a:pt x="1640" y="1687"/>
                  </a:lnTo>
                  <a:lnTo>
                    <a:pt x="1647" y="1684"/>
                  </a:lnTo>
                  <a:lnTo>
                    <a:pt x="1654" y="1681"/>
                  </a:lnTo>
                  <a:lnTo>
                    <a:pt x="1661" y="1680"/>
                  </a:lnTo>
                  <a:lnTo>
                    <a:pt x="1669" y="1679"/>
                  </a:lnTo>
                  <a:lnTo>
                    <a:pt x="1682" y="1678"/>
                  </a:lnTo>
                  <a:lnTo>
                    <a:pt x="1691" y="1674"/>
                  </a:lnTo>
                  <a:lnTo>
                    <a:pt x="1699" y="1670"/>
                  </a:lnTo>
                  <a:lnTo>
                    <a:pt x="1707" y="1664"/>
                  </a:lnTo>
                  <a:lnTo>
                    <a:pt x="1714" y="1658"/>
                  </a:lnTo>
                  <a:lnTo>
                    <a:pt x="1721" y="1652"/>
                  </a:lnTo>
                  <a:lnTo>
                    <a:pt x="1729" y="1648"/>
                  </a:lnTo>
                  <a:lnTo>
                    <a:pt x="1739" y="1643"/>
                  </a:lnTo>
                  <a:lnTo>
                    <a:pt x="1750" y="1641"/>
                  </a:lnTo>
                  <a:lnTo>
                    <a:pt x="1762" y="1640"/>
                  </a:lnTo>
                  <a:lnTo>
                    <a:pt x="1776" y="1641"/>
                  </a:lnTo>
                  <a:lnTo>
                    <a:pt x="1790" y="1642"/>
                  </a:lnTo>
                  <a:lnTo>
                    <a:pt x="1818" y="1645"/>
                  </a:lnTo>
                  <a:lnTo>
                    <a:pt x="1842" y="1648"/>
                  </a:lnTo>
                  <a:lnTo>
                    <a:pt x="1852" y="1647"/>
                  </a:lnTo>
                  <a:lnTo>
                    <a:pt x="1860" y="1645"/>
                  </a:lnTo>
                  <a:lnTo>
                    <a:pt x="1866" y="1643"/>
                  </a:lnTo>
                  <a:lnTo>
                    <a:pt x="1870" y="1640"/>
                  </a:lnTo>
                  <a:lnTo>
                    <a:pt x="1874" y="1636"/>
                  </a:lnTo>
                  <a:lnTo>
                    <a:pt x="1876" y="1631"/>
                  </a:lnTo>
                  <a:lnTo>
                    <a:pt x="1877" y="1626"/>
                  </a:lnTo>
                  <a:lnTo>
                    <a:pt x="1878" y="1620"/>
                  </a:lnTo>
                  <a:lnTo>
                    <a:pt x="1880" y="1607"/>
                  </a:lnTo>
                  <a:lnTo>
                    <a:pt x="1881" y="1593"/>
                  </a:lnTo>
                  <a:lnTo>
                    <a:pt x="1882" y="1586"/>
                  </a:lnTo>
                  <a:lnTo>
                    <a:pt x="1883" y="1579"/>
                  </a:lnTo>
                  <a:lnTo>
                    <a:pt x="1887" y="1572"/>
                  </a:lnTo>
                  <a:lnTo>
                    <a:pt x="1891" y="1565"/>
                  </a:lnTo>
                  <a:lnTo>
                    <a:pt x="1904" y="1550"/>
                  </a:lnTo>
                  <a:lnTo>
                    <a:pt x="1918" y="1532"/>
                  </a:lnTo>
                  <a:lnTo>
                    <a:pt x="1924" y="1523"/>
                  </a:lnTo>
                  <a:lnTo>
                    <a:pt x="1930" y="1513"/>
                  </a:lnTo>
                  <a:lnTo>
                    <a:pt x="1934" y="1503"/>
                  </a:lnTo>
                  <a:lnTo>
                    <a:pt x="1939" y="1494"/>
                  </a:lnTo>
                  <a:lnTo>
                    <a:pt x="1941" y="1482"/>
                  </a:lnTo>
                  <a:lnTo>
                    <a:pt x="1942" y="1471"/>
                  </a:lnTo>
                  <a:lnTo>
                    <a:pt x="1942" y="1459"/>
                  </a:lnTo>
                  <a:lnTo>
                    <a:pt x="1942" y="1446"/>
                  </a:lnTo>
                  <a:lnTo>
                    <a:pt x="1944" y="1438"/>
                  </a:lnTo>
                  <a:lnTo>
                    <a:pt x="1946" y="1428"/>
                  </a:lnTo>
                  <a:lnTo>
                    <a:pt x="1951" y="1417"/>
                  </a:lnTo>
                  <a:lnTo>
                    <a:pt x="1956" y="1407"/>
                  </a:lnTo>
                  <a:lnTo>
                    <a:pt x="1969" y="1387"/>
                  </a:lnTo>
                  <a:lnTo>
                    <a:pt x="1980" y="1372"/>
                  </a:lnTo>
                  <a:lnTo>
                    <a:pt x="1986" y="1365"/>
                  </a:lnTo>
                  <a:lnTo>
                    <a:pt x="1989" y="1357"/>
                  </a:lnTo>
                  <a:lnTo>
                    <a:pt x="1991" y="1350"/>
                  </a:lnTo>
                  <a:lnTo>
                    <a:pt x="1994" y="1342"/>
                  </a:lnTo>
                  <a:lnTo>
                    <a:pt x="1996" y="1335"/>
                  </a:lnTo>
                  <a:lnTo>
                    <a:pt x="2000" y="1327"/>
                  </a:lnTo>
                  <a:lnTo>
                    <a:pt x="2004" y="1320"/>
                  </a:lnTo>
                  <a:lnTo>
                    <a:pt x="2012" y="1313"/>
                  </a:lnTo>
                  <a:lnTo>
                    <a:pt x="2018" y="1308"/>
                  </a:lnTo>
                  <a:lnTo>
                    <a:pt x="2023" y="1307"/>
                  </a:lnTo>
                  <a:lnTo>
                    <a:pt x="2029" y="1306"/>
                  </a:lnTo>
                  <a:lnTo>
                    <a:pt x="2034" y="1307"/>
                  </a:lnTo>
                  <a:lnTo>
                    <a:pt x="2045" y="1310"/>
                  </a:lnTo>
                  <a:lnTo>
                    <a:pt x="2054" y="1316"/>
                  </a:lnTo>
                  <a:lnTo>
                    <a:pt x="2060" y="1318"/>
                  </a:lnTo>
                  <a:lnTo>
                    <a:pt x="2065" y="1321"/>
                  </a:lnTo>
                  <a:lnTo>
                    <a:pt x="2069" y="1322"/>
                  </a:lnTo>
                  <a:lnTo>
                    <a:pt x="2074" y="1323"/>
                  </a:lnTo>
                  <a:lnTo>
                    <a:pt x="2079" y="1322"/>
                  </a:lnTo>
                  <a:lnTo>
                    <a:pt x="2082" y="1320"/>
                  </a:lnTo>
                  <a:lnTo>
                    <a:pt x="2087" y="1315"/>
                  </a:lnTo>
                  <a:lnTo>
                    <a:pt x="2090" y="1309"/>
                  </a:lnTo>
                  <a:lnTo>
                    <a:pt x="2098" y="1294"/>
                  </a:lnTo>
                  <a:lnTo>
                    <a:pt x="2107" y="1282"/>
                  </a:lnTo>
                  <a:lnTo>
                    <a:pt x="2111" y="1276"/>
                  </a:lnTo>
                  <a:lnTo>
                    <a:pt x="2116" y="1272"/>
                  </a:lnTo>
                  <a:lnTo>
                    <a:pt x="2121" y="1267"/>
                  </a:lnTo>
                  <a:lnTo>
                    <a:pt x="2126" y="1264"/>
                  </a:lnTo>
                  <a:lnTo>
                    <a:pt x="2132" y="1260"/>
                  </a:lnTo>
                  <a:lnTo>
                    <a:pt x="2138" y="1258"/>
                  </a:lnTo>
                  <a:lnTo>
                    <a:pt x="2145" y="1257"/>
                  </a:lnTo>
                  <a:lnTo>
                    <a:pt x="2152" y="1256"/>
                  </a:lnTo>
                  <a:lnTo>
                    <a:pt x="2159" y="1254"/>
                  </a:lnTo>
                  <a:lnTo>
                    <a:pt x="2167" y="1254"/>
                  </a:lnTo>
                  <a:lnTo>
                    <a:pt x="2176" y="1256"/>
                  </a:lnTo>
                  <a:lnTo>
                    <a:pt x="2186" y="1258"/>
                  </a:lnTo>
                  <a:lnTo>
                    <a:pt x="2225" y="1268"/>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sz="1200" dirty="0"/>
            </a:p>
          </p:txBody>
        </p:sp>
        <p:sp>
          <p:nvSpPr>
            <p:cNvPr id="18" name="Freeform 17"/>
            <p:cNvSpPr>
              <a:spLocks/>
            </p:cNvSpPr>
            <p:nvPr/>
          </p:nvSpPr>
          <p:spPr bwMode="auto">
            <a:xfrm>
              <a:off x="4757128" y="3073306"/>
              <a:ext cx="698497" cy="1159137"/>
            </a:xfrm>
            <a:custGeom>
              <a:avLst/>
              <a:gdLst>
                <a:gd name="T0" fmla="*/ 1638 w 2086"/>
                <a:gd name="T1" fmla="*/ 110 h 3461"/>
                <a:gd name="T2" fmla="*/ 1759 w 2086"/>
                <a:gd name="T3" fmla="*/ 249 h 3461"/>
                <a:gd name="T4" fmla="*/ 1858 w 2086"/>
                <a:gd name="T5" fmla="*/ 267 h 3461"/>
                <a:gd name="T6" fmla="*/ 1860 w 2086"/>
                <a:gd name="T7" fmla="*/ 394 h 3461"/>
                <a:gd name="T8" fmla="*/ 1935 w 2086"/>
                <a:gd name="T9" fmla="*/ 599 h 3461"/>
                <a:gd name="T10" fmla="*/ 2077 w 2086"/>
                <a:gd name="T11" fmla="*/ 634 h 3461"/>
                <a:gd name="T12" fmla="*/ 2032 w 2086"/>
                <a:gd name="T13" fmla="*/ 751 h 3461"/>
                <a:gd name="T14" fmla="*/ 1869 w 2086"/>
                <a:gd name="T15" fmla="*/ 851 h 3461"/>
                <a:gd name="T16" fmla="*/ 1844 w 2086"/>
                <a:gd name="T17" fmla="*/ 963 h 3461"/>
                <a:gd name="T18" fmla="*/ 1661 w 2086"/>
                <a:gd name="T19" fmla="*/ 1082 h 3461"/>
                <a:gd name="T20" fmla="*/ 1666 w 2086"/>
                <a:gd name="T21" fmla="*/ 1230 h 3461"/>
                <a:gd name="T22" fmla="*/ 1622 w 2086"/>
                <a:gd name="T23" fmla="*/ 1356 h 3461"/>
                <a:gd name="T24" fmla="*/ 1540 w 2086"/>
                <a:gd name="T25" fmla="*/ 1432 h 3461"/>
                <a:gd name="T26" fmla="*/ 1550 w 2086"/>
                <a:gd name="T27" fmla="*/ 1533 h 3461"/>
                <a:gd name="T28" fmla="*/ 1441 w 2086"/>
                <a:gd name="T29" fmla="*/ 1624 h 3461"/>
                <a:gd name="T30" fmla="*/ 1332 w 2086"/>
                <a:gd name="T31" fmla="*/ 1592 h 3461"/>
                <a:gd name="T32" fmla="*/ 1195 w 2086"/>
                <a:gd name="T33" fmla="*/ 1648 h 3461"/>
                <a:gd name="T34" fmla="*/ 1085 w 2086"/>
                <a:gd name="T35" fmla="*/ 1781 h 3461"/>
                <a:gd name="T36" fmla="*/ 1049 w 2086"/>
                <a:gd name="T37" fmla="*/ 1856 h 3461"/>
                <a:gd name="T38" fmla="*/ 1062 w 2086"/>
                <a:gd name="T39" fmla="*/ 2188 h 3461"/>
                <a:gd name="T40" fmla="*/ 1240 w 2086"/>
                <a:gd name="T41" fmla="*/ 2273 h 3461"/>
                <a:gd name="T42" fmla="*/ 1211 w 2086"/>
                <a:gd name="T43" fmla="*/ 2370 h 3461"/>
                <a:gd name="T44" fmla="*/ 1104 w 2086"/>
                <a:gd name="T45" fmla="*/ 2313 h 3461"/>
                <a:gd name="T46" fmla="*/ 977 w 2086"/>
                <a:gd name="T47" fmla="*/ 2238 h 3461"/>
                <a:gd name="T48" fmla="*/ 792 w 2086"/>
                <a:gd name="T49" fmla="*/ 2271 h 3461"/>
                <a:gd name="T50" fmla="*/ 845 w 2086"/>
                <a:gd name="T51" fmla="*/ 2389 h 3461"/>
                <a:gd name="T52" fmla="*/ 903 w 2086"/>
                <a:gd name="T53" fmla="*/ 2498 h 3461"/>
                <a:gd name="T54" fmla="*/ 979 w 2086"/>
                <a:gd name="T55" fmla="*/ 2785 h 3461"/>
                <a:gd name="T56" fmla="*/ 915 w 2086"/>
                <a:gd name="T57" fmla="*/ 2928 h 3461"/>
                <a:gd name="T58" fmla="*/ 821 w 2086"/>
                <a:gd name="T59" fmla="*/ 3028 h 3461"/>
                <a:gd name="T60" fmla="*/ 696 w 2086"/>
                <a:gd name="T61" fmla="*/ 3129 h 3461"/>
                <a:gd name="T62" fmla="*/ 606 w 2086"/>
                <a:gd name="T63" fmla="*/ 3303 h 3461"/>
                <a:gd name="T64" fmla="*/ 474 w 2086"/>
                <a:gd name="T65" fmla="*/ 3425 h 3461"/>
                <a:gd name="T66" fmla="*/ 355 w 2086"/>
                <a:gd name="T67" fmla="*/ 3452 h 3461"/>
                <a:gd name="T68" fmla="*/ 322 w 2086"/>
                <a:gd name="T69" fmla="*/ 3249 h 3461"/>
                <a:gd name="T70" fmla="*/ 251 w 2086"/>
                <a:gd name="T71" fmla="*/ 3242 h 3461"/>
                <a:gd name="T72" fmla="*/ 212 w 2086"/>
                <a:gd name="T73" fmla="*/ 3124 h 3461"/>
                <a:gd name="T74" fmla="*/ 67 w 2086"/>
                <a:gd name="T75" fmla="*/ 2996 h 3461"/>
                <a:gd name="T76" fmla="*/ 24 w 2086"/>
                <a:gd name="T77" fmla="*/ 2862 h 3461"/>
                <a:gd name="T78" fmla="*/ 64 w 2086"/>
                <a:gd name="T79" fmla="*/ 2647 h 3461"/>
                <a:gd name="T80" fmla="*/ 211 w 2086"/>
                <a:gd name="T81" fmla="*/ 2635 h 3461"/>
                <a:gd name="T82" fmla="*/ 276 w 2086"/>
                <a:gd name="T83" fmla="*/ 2503 h 3461"/>
                <a:gd name="T84" fmla="*/ 198 w 2086"/>
                <a:gd name="T85" fmla="*/ 2441 h 3461"/>
                <a:gd name="T86" fmla="*/ 91 w 2086"/>
                <a:gd name="T87" fmla="*/ 2368 h 3461"/>
                <a:gd name="T88" fmla="*/ 73 w 2086"/>
                <a:gd name="T89" fmla="*/ 2299 h 3461"/>
                <a:gd name="T90" fmla="*/ 127 w 2086"/>
                <a:gd name="T91" fmla="*/ 2233 h 3461"/>
                <a:gd name="T92" fmla="*/ 57 w 2086"/>
                <a:gd name="T93" fmla="*/ 2161 h 3461"/>
                <a:gd name="T94" fmla="*/ 154 w 2086"/>
                <a:gd name="T95" fmla="*/ 2034 h 3461"/>
                <a:gd name="T96" fmla="*/ 99 w 2086"/>
                <a:gd name="T97" fmla="*/ 1897 h 3461"/>
                <a:gd name="T98" fmla="*/ 91 w 2086"/>
                <a:gd name="T99" fmla="*/ 1745 h 3461"/>
                <a:gd name="T100" fmla="*/ 128 w 2086"/>
                <a:gd name="T101" fmla="*/ 1600 h 3461"/>
                <a:gd name="T102" fmla="*/ 208 w 2086"/>
                <a:gd name="T103" fmla="*/ 1380 h 3461"/>
                <a:gd name="T104" fmla="*/ 270 w 2086"/>
                <a:gd name="T105" fmla="*/ 1271 h 3461"/>
                <a:gd name="T106" fmla="*/ 375 w 2086"/>
                <a:gd name="T107" fmla="*/ 1000 h 3461"/>
                <a:gd name="T108" fmla="*/ 595 w 2086"/>
                <a:gd name="T109" fmla="*/ 911 h 3461"/>
                <a:gd name="T110" fmla="*/ 727 w 2086"/>
                <a:gd name="T111" fmla="*/ 804 h 3461"/>
                <a:gd name="T112" fmla="*/ 848 w 2086"/>
                <a:gd name="T113" fmla="*/ 647 h 3461"/>
                <a:gd name="T114" fmla="*/ 928 w 2086"/>
                <a:gd name="T115" fmla="*/ 440 h 3461"/>
                <a:gd name="T116" fmla="*/ 733 w 2086"/>
                <a:gd name="T117" fmla="*/ 305 h 3461"/>
                <a:gd name="T118" fmla="*/ 779 w 2086"/>
                <a:gd name="T119" fmla="*/ 181 h 3461"/>
                <a:gd name="T120" fmla="*/ 1057 w 2086"/>
                <a:gd name="T121" fmla="*/ 158 h 3461"/>
                <a:gd name="T122" fmla="*/ 1296 w 2086"/>
                <a:gd name="T123" fmla="*/ 87 h 3461"/>
                <a:gd name="T124" fmla="*/ 1481 w 2086"/>
                <a:gd name="T125" fmla="*/ 127 h 34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86" h="3461">
                  <a:moveTo>
                    <a:pt x="1542" y="0"/>
                  </a:moveTo>
                  <a:lnTo>
                    <a:pt x="1564" y="4"/>
                  </a:lnTo>
                  <a:lnTo>
                    <a:pt x="1581" y="8"/>
                  </a:lnTo>
                  <a:lnTo>
                    <a:pt x="1588" y="11"/>
                  </a:lnTo>
                  <a:lnTo>
                    <a:pt x="1594" y="14"/>
                  </a:lnTo>
                  <a:lnTo>
                    <a:pt x="1599" y="19"/>
                  </a:lnTo>
                  <a:lnTo>
                    <a:pt x="1603" y="22"/>
                  </a:lnTo>
                  <a:lnTo>
                    <a:pt x="1607" y="27"/>
                  </a:lnTo>
                  <a:lnTo>
                    <a:pt x="1610" y="33"/>
                  </a:lnTo>
                  <a:lnTo>
                    <a:pt x="1614" y="39"/>
                  </a:lnTo>
                  <a:lnTo>
                    <a:pt x="1616" y="46"/>
                  </a:lnTo>
                  <a:lnTo>
                    <a:pt x="1621" y="62"/>
                  </a:lnTo>
                  <a:lnTo>
                    <a:pt x="1625" y="80"/>
                  </a:lnTo>
                  <a:lnTo>
                    <a:pt x="1628" y="90"/>
                  </a:lnTo>
                  <a:lnTo>
                    <a:pt x="1631" y="98"/>
                  </a:lnTo>
                  <a:lnTo>
                    <a:pt x="1635" y="104"/>
                  </a:lnTo>
                  <a:lnTo>
                    <a:pt x="1638" y="110"/>
                  </a:lnTo>
                  <a:lnTo>
                    <a:pt x="1642" y="113"/>
                  </a:lnTo>
                  <a:lnTo>
                    <a:pt x="1645" y="117"/>
                  </a:lnTo>
                  <a:lnTo>
                    <a:pt x="1650" y="119"/>
                  </a:lnTo>
                  <a:lnTo>
                    <a:pt x="1654" y="121"/>
                  </a:lnTo>
                  <a:lnTo>
                    <a:pt x="1664" y="124"/>
                  </a:lnTo>
                  <a:lnTo>
                    <a:pt x="1675" y="127"/>
                  </a:lnTo>
                  <a:lnTo>
                    <a:pt x="1688" y="131"/>
                  </a:lnTo>
                  <a:lnTo>
                    <a:pt x="1702" y="137"/>
                  </a:lnTo>
                  <a:lnTo>
                    <a:pt x="1707" y="142"/>
                  </a:lnTo>
                  <a:lnTo>
                    <a:pt x="1713" y="147"/>
                  </a:lnTo>
                  <a:lnTo>
                    <a:pt x="1717" y="154"/>
                  </a:lnTo>
                  <a:lnTo>
                    <a:pt x="1722" y="162"/>
                  </a:lnTo>
                  <a:lnTo>
                    <a:pt x="1730" y="179"/>
                  </a:lnTo>
                  <a:lnTo>
                    <a:pt x="1738" y="199"/>
                  </a:lnTo>
                  <a:lnTo>
                    <a:pt x="1746" y="220"/>
                  </a:lnTo>
                  <a:lnTo>
                    <a:pt x="1755" y="240"/>
                  </a:lnTo>
                  <a:lnTo>
                    <a:pt x="1759" y="249"/>
                  </a:lnTo>
                  <a:lnTo>
                    <a:pt x="1764" y="257"/>
                  </a:lnTo>
                  <a:lnTo>
                    <a:pt x="1769" y="265"/>
                  </a:lnTo>
                  <a:lnTo>
                    <a:pt x="1773" y="272"/>
                  </a:lnTo>
                  <a:lnTo>
                    <a:pt x="1784" y="283"/>
                  </a:lnTo>
                  <a:lnTo>
                    <a:pt x="1794" y="293"/>
                  </a:lnTo>
                  <a:lnTo>
                    <a:pt x="1801" y="297"/>
                  </a:lnTo>
                  <a:lnTo>
                    <a:pt x="1807" y="302"/>
                  </a:lnTo>
                  <a:lnTo>
                    <a:pt x="1814" y="304"/>
                  </a:lnTo>
                  <a:lnTo>
                    <a:pt x="1821" y="306"/>
                  </a:lnTo>
                  <a:lnTo>
                    <a:pt x="1824" y="306"/>
                  </a:lnTo>
                  <a:lnTo>
                    <a:pt x="1827" y="304"/>
                  </a:lnTo>
                  <a:lnTo>
                    <a:pt x="1829" y="302"/>
                  </a:lnTo>
                  <a:lnTo>
                    <a:pt x="1833" y="298"/>
                  </a:lnTo>
                  <a:lnTo>
                    <a:pt x="1838" y="290"/>
                  </a:lnTo>
                  <a:lnTo>
                    <a:pt x="1844" y="281"/>
                  </a:lnTo>
                  <a:lnTo>
                    <a:pt x="1851" y="272"/>
                  </a:lnTo>
                  <a:lnTo>
                    <a:pt x="1858" y="267"/>
                  </a:lnTo>
                  <a:lnTo>
                    <a:pt x="1863" y="265"/>
                  </a:lnTo>
                  <a:lnTo>
                    <a:pt x="1866" y="264"/>
                  </a:lnTo>
                  <a:lnTo>
                    <a:pt x="1871" y="267"/>
                  </a:lnTo>
                  <a:lnTo>
                    <a:pt x="1876" y="269"/>
                  </a:lnTo>
                  <a:lnTo>
                    <a:pt x="1883" y="276"/>
                  </a:lnTo>
                  <a:lnTo>
                    <a:pt x="1887" y="284"/>
                  </a:lnTo>
                  <a:lnTo>
                    <a:pt x="1890" y="291"/>
                  </a:lnTo>
                  <a:lnTo>
                    <a:pt x="1890" y="299"/>
                  </a:lnTo>
                  <a:lnTo>
                    <a:pt x="1887" y="307"/>
                  </a:lnTo>
                  <a:lnTo>
                    <a:pt x="1885" y="317"/>
                  </a:lnTo>
                  <a:lnTo>
                    <a:pt x="1881" y="325"/>
                  </a:lnTo>
                  <a:lnTo>
                    <a:pt x="1877" y="334"/>
                  </a:lnTo>
                  <a:lnTo>
                    <a:pt x="1869" y="352"/>
                  </a:lnTo>
                  <a:lnTo>
                    <a:pt x="1862" y="369"/>
                  </a:lnTo>
                  <a:lnTo>
                    <a:pt x="1859" y="377"/>
                  </a:lnTo>
                  <a:lnTo>
                    <a:pt x="1859" y="385"/>
                  </a:lnTo>
                  <a:lnTo>
                    <a:pt x="1860" y="394"/>
                  </a:lnTo>
                  <a:lnTo>
                    <a:pt x="1865" y="402"/>
                  </a:lnTo>
                  <a:lnTo>
                    <a:pt x="1871" y="409"/>
                  </a:lnTo>
                  <a:lnTo>
                    <a:pt x="1876" y="413"/>
                  </a:lnTo>
                  <a:lnTo>
                    <a:pt x="1881" y="417"/>
                  </a:lnTo>
                  <a:lnTo>
                    <a:pt x="1886" y="420"/>
                  </a:lnTo>
                  <a:lnTo>
                    <a:pt x="1890" y="425"/>
                  </a:lnTo>
                  <a:lnTo>
                    <a:pt x="1893" y="431"/>
                  </a:lnTo>
                  <a:lnTo>
                    <a:pt x="1894" y="439"/>
                  </a:lnTo>
                  <a:lnTo>
                    <a:pt x="1895" y="451"/>
                  </a:lnTo>
                  <a:lnTo>
                    <a:pt x="1898" y="535"/>
                  </a:lnTo>
                  <a:lnTo>
                    <a:pt x="1908" y="546"/>
                  </a:lnTo>
                  <a:lnTo>
                    <a:pt x="1919" y="555"/>
                  </a:lnTo>
                  <a:lnTo>
                    <a:pt x="1923" y="560"/>
                  </a:lnTo>
                  <a:lnTo>
                    <a:pt x="1927" y="566"/>
                  </a:lnTo>
                  <a:lnTo>
                    <a:pt x="1930" y="572"/>
                  </a:lnTo>
                  <a:lnTo>
                    <a:pt x="1933" y="580"/>
                  </a:lnTo>
                  <a:lnTo>
                    <a:pt x="1935" y="599"/>
                  </a:lnTo>
                  <a:lnTo>
                    <a:pt x="1937" y="615"/>
                  </a:lnTo>
                  <a:lnTo>
                    <a:pt x="1940" y="617"/>
                  </a:lnTo>
                  <a:lnTo>
                    <a:pt x="1941" y="619"/>
                  </a:lnTo>
                  <a:lnTo>
                    <a:pt x="1944" y="620"/>
                  </a:lnTo>
                  <a:lnTo>
                    <a:pt x="1948" y="622"/>
                  </a:lnTo>
                  <a:lnTo>
                    <a:pt x="1956" y="622"/>
                  </a:lnTo>
                  <a:lnTo>
                    <a:pt x="1969" y="619"/>
                  </a:lnTo>
                  <a:lnTo>
                    <a:pt x="1983" y="616"/>
                  </a:lnTo>
                  <a:lnTo>
                    <a:pt x="2000" y="615"/>
                  </a:lnTo>
                  <a:lnTo>
                    <a:pt x="2008" y="613"/>
                  </a:lnTo>
                  <a:lnTo>
                    <a:pt x="2016" y="615"/>
                  </a:lnTo>
                  <a:lnTo>
                    <a:pt x="2023" y="616"/>
                  </a:lnTo>
                  <a:lnTo>
                    <a:pt x="2029" y="619"/>
                  </a:lnTo>
                  <a:lnTo>
                    <a:pt x="2041" y="625"/>
                  </a:lnTo>
                  <a:lnTo>
                    <a:pt x="2054" y="629"/>
                  </a:lnTo>
                  <a:lnTo>
                    <a:pt x="2067" y="631"/>
                  </a:lnTo>
                  <a:lnTo>
                    <a:pt x="2077" y="634"/>
                  </a:lnTo>
                  <a:lnTo>
                    <a:pt x="2082" y="636"/>
                  </a:lnTo>
                  <a:lnTo>
                    <a:pt x="2084" y="638"/>
                  </a:lnTo>
                  <a:lnTo>
                    <a:pt x="2086" y="641"/>
                  </a:lnTo>
                  <a:lnTo>
                    <a:pt x="2086" y="644"/>
                  </a:lnTo>
                  <a:lnTo>
                    <a:pt x="2085" y="648"/>
                  </a:lnTo>
                  <a:lnTo>
                    <a:pt x="2083" y="653"/>
                  </a:lnTo>
                  <a:lnTo>
                    <a:pt x="2078" y="660"/>
                  </a:lnTo>
                  <a:lnTo>
                    <a:pt x="2071" y="667"/>
                  </a:lnTo>
                  <a:lnTo>
                    <a:pt x="2063" y="675"/>
                  </a:lnTo>
                  <a:lnTo>
                    <a:pt x="2056" y="683"/>
                  </a:lnTo>
                  <a:lnTo>
                    <a:pt x="2049" y="691"/>
                  </a:lnTo>
                  <a:lnTo>
                    <a:pt x="2043" y="701"/>
                  </a:lnTo>
                  <a:lnTo>
                    <a:pt x="2039" y="710"/>
                  </a:lnTo>
                  <a:lnTo>
                    <a:pt x="2035" y="719"/>
                  </a:lnTo>
                  <a:lnTo>
                    <a:pt x="2034" y="730"/>
                  </a:lnTo>
                  <a:lnTo>
                    <a:pt x="2033" y="741"/>
                  </a:lnTo>
                  <a:lnTo>
                    <a:pt x="2032" y="751"/>
                  </a:lnTo>
                  <a:lnTo>
                    <a:pt x="2029" y="758"/>
                  </a:lnTo>
                  <a:lnTo>
                    <a:pt x="2026" y="765"/>
                  </a:lnTo>
                  <a:lnTo>
                    <a:pt x="2022" y="772"/>
                  </a:lnTo>
                  <a:lnTo>
                    <a:pt x="2016" y="776"/>
                  </a:lnTo>
                  <a:lnTo>
                    <a:pt x="2009" y="781"/>
                  </a:lnTo>
                  <a:lnTo>
                    <a:pt x="2003" y="785"/>
                  </a:lnTo>
                  <a:lnTo>
                    <a:pt x="1994" y="788"/>
                  </a:lnTo>
                  <a:lnTo>
                    <a:pt x="1978" y="793"/>
                  </a:lnTo>
                  <a:lnTo>
                    <a:pt x="1961" y="796"/>
                  </a:lnTo>
                  <a:lnTo>
                    <a:pt x="1944" y="800"/>
                  </a:lnTo>
                  <a:lnTo>
                    <a:pt x="1928" y="802"/>
                  </a:lnTo>
                  <a:lnTo>
                    <a:pt x="1918" y="805"/>
                  </a:lnTo>
                  <a:lnTo>
                    <a:pt x="1907" y="811"/>
                  </a:lnTo>
                  <a:lnTo>
                    <a:pt x="1895" y="819"/>
                  </a:lnTo>
                  <a:lnTo>
                    <a:pt x="1885" y="829"/>
                  </a:lnTo>
                  <a:lnTo>
                    <a:pt x="1876" y="839"/>
                  </a:lnTo>
                  <a:lnTo>
                    <a:pt x="1869" y="851"/>
                  </a:lnTo>
                  <a:lnTo>
                    <a:pt x="1865" y="857"/>
                  </a:lnTo>
                  <a:lnTo>
                    <a:pt x="1864" y="861"/>
                  </a:lnTo>
                  <a:lnTo>
                    <a:pt x="1863" y="867"/>
                  </a:lnTo>
                  <a:lnTo>
                    <a:pt x="1862" y="873"/>
                  </a:lnTo>
                  <a:lnTo>
                    <a:pt x="1865" y="907"/>
                  </a:lnTo>
                  <a:lnTo>
                    <a:pt x="1863" y="911"/>
                  </a:lnTo>
                  <a:lnTo>
                    <a:pt x="1863" y="917"/>
                  </a:lnTo>
                  <a:lnTo>
                    <a:pt x="1863" y="923"/>
                  </a:lnTo>
                  <a:lnTo>
                    <a:pt x="1864" y="930"/>
                  </a:lnTo>
                  <a:lnTo>
                    <a:pt x="1864" y="937"/>
                  </a:lnTo>
                  <a:lnTo>
                    <a:pt x="1864" y="944"/>
                  </a:lnTo>
                  <a:lnTo>
                    <a:pt x="1863" y="946"/>
                  </a:lnTo>
                  <a:lnTo>
                    <a:pt x="1862" y="950"/>
                  </a:lnTo>
                  <a:lnTo>
                    <a:pt x="1859" y="953"/>
                  </a:lnTo>
                  <a:lnTo>
                    <a:pt x="1856" y="957"/>
                  </a:lnTo>
                  <a:lnTo>
                    <a:pt x="1850" y="960"/>
                  </a:lnTo>
                  <a:lnTo>
                    <a:pt x="1844" y="963"/>
                  </a:lnTo>
                  <a:lnTo>
                    <a:pt x="1837" y="966"/>
                  </a:lnTo>
                  <a:lnTo>
                    <a:pt x="1830" y="968"/>
                  </a:lnTo>
                  <a:lnTo>
                    <a:pt x="1816" y="973"/>
                  </a:lnTo>
                  <a:lnTo>
                    <a:pt x="1805" y="979"/>
                  </a:lnTo>
                  <a:lnTo>
                    <a:pt x="1789" y="988"/>
                  </a:lnTo>
                  <a:lnTo>
                    <a:pt x="1773" y="996"/>
                  </a:lnTo>
                  <a:lnTo>
                    <a:pt x="1757" y="1004"/>
                  </a:lnTo>
                  <a:lnTo>
                    <a:pt x="1739" y="1011"/>
                  </a:lnTo>
                  <a:lnTo>
                    <a:pt x="1723" y="1020"/>
                  </a:lnTo>
                  <a:lnTo>
                    <a:pt x="1708" y="1029"/>
                  </a:lnTo>
                  <a:lnTo>
                    <a:pt x="1701" y="1034"/>
                  </a:lnTo>
                  <a:lnTo>
                    <a:pt x="1694" y="1039"/>
                  </a:lnTo>
                  <a:lnTo>
                    <a:pt x="1687" y="1045"/>
                  </a:lnTo>
                  <a:lnTo>
                    <a:pt x="1681" y="1052"/>
                  </a:lnTo>
                  <a:lnTo>
                    <a:pt x="1673" y="1065"/>
                  </a:lnTo>
                  <a:lnTo>
                    <a:pt x="1666" y="1077"/>
                  </a:lnTo>
                  <a:lnTo>
                    <a:pt x="1661" y="1082"/>
                  </a:lnTo>
                  <a:lnTo>
                    <a:pt x="1658" y="1087"/>
                  </a:lnTo>
                  <a:lnTo>
                    <a:pt x="1653" y="1093"/>
                  </a:lnTo>
                  <a:lnTo>
                    <a:pt x="1647" y="1099"/>
                  </a:lnTo>
                  <a:lnTo>
                    <a:pt x="1644" y="1108"/>
                  </a:lnTo>
                  <a:lnTo>
                    <a:pt x="1642" y="1120"/>
                  </a:lnTo>
                  <a:lnTo>
                    <a:pt x="1639" y="1131"/>
                  </a:lnTo>
                  <a:lnTo>
                    <a:pt x="1639" y="1144"/>
                  </a:lnTo>
                  <a:lnTo>
                    <a:pt x="1639" y="1156"/>
                  </a:lnTo>
                  <a:lnTo>
                    <a:pt x="1640" y="1169"/>
                  </a:lnTo>
                  <a:lnTo>
                    <a:pt x="1643" y="1179"/>
                  </a:lnTo>
                  <a:lnTo>
                    <a:pt x="1646" y="1190"/>
                  </a:lnTo>
                  <a:lnTo>
                    <a:pt x="1652" y="1200"/>
                  </a:lnTo>
                  <a:lnTo>
                    <a:pt x="1660" y="1209"/>
                  </a:lnTo>
                  <a:lnTo>
                    <a:pt x="1664" y="1214"/>
                  </a:lnTo>
                  <a:lnTo>
                    <a:pt x="1667" y="1219"/>
                  </a:lnTo>
                  <a:lnTo>
                    <a:pt x="1667" y="1224"/>
                  </a:lnTo>
                  <a:lnTo>
                    <a:pt x="1666" y="1230"/>
                  </a:lnTo>
                  <a:lnTo>
                    <a:pt x="1661" y="1241"/>
                  </a:lnTo>
                  <a:lnTo>
                    <a:pt x="1656" y="1249"/>
                  </a:lnTo>
                  <a:lnTo>
                    <a:pt x="1650" y="1256"/>
                  </a:lnTo>
                  <a:lnTo>
                    <a:pt x="1644" y="1262"/>
                  </a:lnTo>
                  <a:lnTo>
                    <a:pt x="1632" y="1272"/>
                  </a:lnTo>
                  <a:lnTo>
                    <a:pt x="1622" y="1280"/>
                  </a:lnTo>
                  <a:lnTo>
                    <a:pt x="1617" y="1285"/>
                  </a:lnTo>
                  <a:lnTo>
                    <a:pt x="1614" y="1290"/>
                  </a:lnTo>
                  <a:lnTo>
                    <a:pt x="1611" y="1295"/>
                  </a:lnTo>
                  <a:lnTo>
                    <a:pt x="1610" y="1302"/>
                  </a:lnTo>
                  <a:lnTo>
                    <a:pt x="1610" y="1309"/>
                  </a:lnTo>
                  <a:lnTo>
                    <a:pt x="1611" y="1319"/>
                  </a:lnTo>
                  <a:lnTo>
                    <a:pt x="1615" y="1329"/>
                  </a:lnTo>
                  <a:lnTo>
                    <a:pt x="1620" y="1341"/>
                  </a:lnTo>
                  <a:lnTo>
                    <a:pt x="1622" y="1348"/>
                  </a:lnTo>
                  <a:lnTo>
                    <a:pt x="1623" y="1352"/>
                  </a:lnTo>
                  <a:lnTo>
                    <a:pt x="1622" y="1356"/>
                  </a:lnTo>
                  <a:lnTo>
                    <a:pt x="1621" y="1358"/>
                  </a:lnTo>
                  <a:lnTo>
                    <a:pt x="1617" y="1359"/>
                  </a:lnTo>
                  <a:lnTo>
                    <a:pt x="1614" y="1359"/>
                  </a:lnTo>
                  <a:lnTo>
                    <a:pt x="1610" y="1359"/>
                  </a:lnTo>
                  <a:lnTo>
                    <a:pt x="1606" y="1359"/>
                  </a:lnTo>
                  <a:lnTo>
                    <a:pt x="1595" y="1358"/>
                  </a:lnTo>
                  <a:lnTo>
                    <a:pt x="1586" y="1356"/>
                  </a:lnTo>
                  <a:lnTo>
                    <a:pt x="1582" y="1356"/>
                  </a:lnTo>
                  <a:lnTo>
                    <a:pt x="1579" y="1357"/>
                  </a:lnTo>
                  <a:lnTo>
                    <a:pt x="1576" y="1358"/>
                  </a:lnTo>
                  <a:lnTo>
                    <a:pt x="1575" y="1359"/>
                  </a:lnTo>
                  <a:lnTo>
                    <a:pt x="1569" y="1373"/>
                  </a:lnTo>
                  <a:lnTo>
                    <a:pt x="1564" y="1386"/>
                  </a:lnTo>
                  <a:lnTo>
                    <a:pt x="1557" y="1399"/>
                  </a:lnTo>
                  <a:lnTo>
                    <a:pt x="1549" y="1412"/>
                  </a:lnTo>
                  <a:lnTo>
                    <a:pt x="1543" y="1421"/>
                  </a:lnTo>
                  <a:lnTo>
                    <a:pt x="1540" y="1432"/>
                  </a:lnTo>
                  <a:lnTo>
                    <a:pt x="1540" y="1440"/>
                  </a:lnTo>
                  <a:lnTo>
                    <a:pt x="1543" y="1448"/>
                  </a:lnTo>
                  <a:lnTo>
                    <a:pt x="1546" y="1456"/>
                  </a:lnTo>
                  <a:lnTo>
                    <a:pt x="1551" y="1463"/>
                  </a:lnTo>
                  <a:lnTo>
                    <a:pt x="1556" y="1470"/>
                  </a:lnTo>
                  <a:lnTo>
                    <a:pt x="1561" y="1477"/>
                  </a:lnTo>
                  <a:lnTo>
                    <a:pt x="1573" y="1490"/>
                  </a:lnTo>
                  <a:lnTo>
                    <a:pt x="1581" y="1501"/>
                  </a:lnTo>
                  <a:lnTo>
                    <a:pt x="1583" y="1507"/>
                  </a:lnTo>
                  <a:lnTo>
                    <a:pt x="1585" y="1513"/>
                  </a:lnTo>
                  <a:lnTo>
                    <a:pt x="1582" y="1519"/>
                  </a:lnTo>
                  <a:lnTo>
                    <a:pt x="1578" y="1524"/>
                  </a:lnTo>
                  <a:lnTo>
                    <a:pt x="1574" y="1527"/>
                  </a:lnTo>
                  <a:lnTo>
                    <a:pt x="1571" y="1528"/>
                  </a:lnTo>
                  <a:lnTo>
                    <a:pt x="1566" y="1530"/>
                  </a:lnTo>
                  <a:lnTo>
                    <a:pt x="1560" y="1532"/>
                  </a:lnTo>
                  <a:lnTo>
                    <a:pt x="1550" y="1533"/>
                  </a:lnTo>
                  <a:lnTo>
                    <a:pt x="1537" y="1533"/>
                  </a:lnTo>
                  <a:lnTo>
                    <a:pt x="1524" y="1534"/>
                  </a:lnTo>
                  <a:lnTo>
                    <a:pt x="1511" y="1534"/>
                  </a:lnTo>
                  <a:lnTo>
                    <a:pt x="1500" y="1535"/>
                  </a:lnTo>
                  <a:lnTo>
                    <a:pt x="1489" y="1537"/>
                  </a:lnTo>
                  <a:lnTo>
                    <a:pt x="1483" y="1541"/>
                  </a:lnTo>
                  <a:lnTo>
                    <a:pt x="1479" y="1544"/>
                  </a:lnTo>
                  <a:lnTo>
                    <a:pt x="1475" y="1549"/>
                  </a:lnTo>
                  <a:lnTo>
                    <a:pt x="1472" y="1554"/>
                  </a:lnTo>
                  <a:lnTo>
                    <a:pt x="1468" y="1564"/>
                  </a:lnTo>
                  <a:lnTo>
                    <a:pt x="1466" y="1577"/>
                  </a:lnTo>
                  <a:lnTo>
                    <a:pt x="1464" y="1590"/>
                  </a:lnTo>
                  <a:lnTo>
                    <a:pt x="1459" y="1601"/>
                  </a:lnTo>
                  <a:lnTo>
                    <a:pt x="1457" y="1608"/>
                  </a:lnTo>
                  <a:lnTo>
                    <a:pt x="1452" y="1613"/>
                  </a:lnTo>
                  <a:lnTo>
                    <a:pt x="1447" y="1619"/>
                  </a:lnTo>
                  <a:lnTo>
                    <a:pt x="1441" y="1624"/>
                  </a:lnTo>
                  <a:lnTo>
                    <a:pt x="1430" y="1631"/>
                  </a:lnTo>
                  <a:lnTo>
                    <a:pt x="1418" y="1636"/>
                  </a:lnTo>
                  <a:lnTo>
                    <a:pt x="1407" y="1641"/>
                  </a:lnTo>
                  <a:lnTo>
                    <a:pt x="1396" y="1642"/>
                  </a:lnTo>
                  <a:lnTo>
                    <a:pt x="1390" y="1642"/>
                  </a:lnTo>
                  <a:lnTo>
                    <a:pt x="1384" y="1641"/>
                  </a:lnTo>
                  <a:lnTo>
                    <a:pt x="1380" y="1639"/>
                  </a:lnTo>
                  <a:lnTo>
                    <a:pt x="1374" y="1636"/>
                  </a:lnTo>
                  <a:lnTo>
                    <a:pt x="1369" y="1633"/>
                  </a:lnTo>
                  <a:lnTo>
                    <a:pt x="1365" y="1628"/>
                  </a:lnTo>
                  <a:lnTo>
                    <a:pt x="1361" y="1621"/>
                  </a:lnTo>
                  <a:lnTo>
                    <a:pt x="1356" y="1614"/>
                  </a:lnTo>
                  <a:lnTo>
                    <a:pt x="1351" y="1605"/>
                  </a:lnTo>
                  <a:lnTo>
                    <a:pt x="1346" y="1598"/>
                  </a:lnTo>
                  <a:lnTo>
                    <a:pt x="1341" y="1594"/>
                  </a:lnTo>
                  <a:lnTo>
                    <a:pt x="1337" y="1592"/>
                  </a:lnTo>
                  <a:lnTo>
                    <a:pt x="1332" y="1592"/>
                  </a:lnTo>
                  <a:lnTo>
                    <a:pt x="1327" y="1592"/>
                  </a:lnTo>
                  <a:lnTo>
                    <a:pt x="1323" y="1596"/>
                  </a:lnTo>
                  <a:lnTo>
                    <a:pt x="1318" y="1598"/>
                  </a:lnTo>
                  <a:lnTo>
                    <a:pt x="1309" y="1606"/>
                  </a:lnTo>
                  <a:lnTo>
                    <a:pt x="1297" y="1615"/>
                  </a:lnTo>
                  <a:lnTo>
                    <a:pt x="1290" y="1619"/>
                  </a:lnTo>
                  <a:lnTo>
                    <a:pt x="1283" y="1622"/>
                  </a:lnTo>
                  <a:lnTo>
                    <a:pt x="1275" y="1624"/>
                  </a:lnTo>
                  <a:lnTo>
                    <a:pt x="1267" y="1625"/>
                  </a:lnTo>
                  <a:lnTo>
                    <a:pt x="1252" y="1624"/>
                  </a:lnTo>
                  <a:lnTo>
                    <a:pt x="1234" y="1621"/>
                  </a:lnTo>
                  <a:lnTo>
                    <a:pt x="1226" y="1621"/>
                  </a:lnTo>
                  <a:lnTo>
                    <a:pt x="1218" y="1622"/>
                  </a:lnTo>
                  <a:lnTo>
                    <a:pt x="1211" y="1626"/>
                  </a:lnTo>
                  <a:lnTo>
                    <a:pt x="1205" y="1631"/>
                  </a:lnTo>
                  <a:lnTo>
                    <a:pt x="1199" y="1640"/>
                  </a:lnTo>
                  <a:lnTo>
                    <a:pt x="1195" y="1648"/>
                  </a:lnTo>
                  <a:lnTo>
                    <a:pt x="1192" y="1657"/>
                  </a:lnTo>
                  <a:lnTo>
                    <a:pt x="1191" y="1665"/>
                  </a:lnTo>
                  <a:lnTo>
                    <a:pt x="1190" y="1675"/>
                  </a:lnTo>
                  <a:lnTo>
                    <a:pt x="1189" y="1683"/>
                  </a:lnTo>
                  <a:lnTo>
                    <a:pt x="1185" y="1692"/>
                  </a:lnTo>
                  <a:lnTo>
                    <a:pt x="1182" y="1702"/>
                  </a:lnTo>
                  <a:lnTo>
                    <a:pt x="1170" y="1718"/>
                  </a:lnTo>
                  <a:lnTo>
                    <a:pt x="1157" y="1735"/>
                  </a:lnTo>
                  <a:lnTo>
                    <a:pt x="1150" y="1745"/>
                  </a:lnTo>
                  <a:lnTo>
                    <a:pt x="1143" y="1753"/>
                  </a:lnTo>
                  <a:lnTo>
                    <a:pt x="1136" y="1761"/>
                  </a:lnTo>
                  <a:lnTo>
                    <a:pt x="1128" y="1768"/>
                  </a:lnTo>
                  <a:lnTo>
                    <a:pt x="1120" y="1774"/>
                  </a:lnTo>
                  <a:lnTo>
                    <a:pt x="1112" y="1777"/>
                  </a:lnTo>
                  <a:lnTo>
                    <a:pt x="1104" y="1781"/>
                  </a:lnTo>
                  <a:lnTo>
                    <a:pt x="1095" y="1782"/>
                  </a:lnTo>
                  <a:lnTo>
                    <a:pt x="1085" y="1781"/>
                  </a:lnTo>
                  <a:lnTo>
                    <a:pt x="1076" y="1777"/>
                  </a:lnTo>
                  <a:lnTo>
                    <a:pt x="1067" y="1773"/>
                  </a:lnTo>
                  <a:lnTo>
                    <a:pt x="1056" y="1763"/>
                  </a:lnTo>
                  <a:lnTo>
                    <a:pt x="1049" y="1757"/>
                  </a:lnTo>
                  <a:lnTo>
                    <a:pt x="1042" y="1755"/>
                  </a:lnTo>
                  <a:lnTo>
                    <a:pt x="1040" y="1754"/>
                  </a:lnTo>
                  <a:lnTo>
                    <a:pt x="1039" y="1755"/>
                  </a:lnTo>
                  <a:lnTo>
                    <a:pt x="1036" y="1756"/>
                  </a:lnTo>
                  <a:lnTo>
                    <a:pt x="1035" y="1759"/>
                  </a:lnTo>
                  <a:lnTo>
                    <a:pt x="1034" y="1764"/>
                  </a:lnTo>
                  <a:lnTo>
                    <a:pt x="1034" y="1771"/>
                  </a:lnTo>
                  <a:lnTo>
                    <a:pt x="1034" y="1781"/>
                  </a:lnTo>
                  <a:lnTo>
                    <a:pt x="1035" y="1791"/>
                  </a:lnTo>
                  <a:lnTo>
                    <a:pt x="1039" y="1813"/>
                  </a:lnTo>
                  <a:lnTo>
                    <a:pt x="1043" y="1833"/>
                  </a:lnTo>
                  <a:lnTo>
                    <a:pt x="1048" y="1849"/>
                  </a:lnTo>
                  <a:lnTo>
                    <a:pt x="1049" y="1856"/>
                  </a:lnTo>
                  <a:lnTo>
                    <a:pt x="1048" y="1878"/>
                  </a:lnTo>
                  <a:lnTo>
                    <a:pt x="1046" y="1901"/>
                  </a:lnTo>
                  <a:lnTo>
                    <a:pt x="1045" y="1911"/>
                  </a:lnTo>
                  <a:lnTo>
                    <a:pt x="1045" y="1923"/>
                  </a:lnTo>
                  <a:lnTo>
                    <a:pt x="1046" y="1933"/>
                  </a:lnTo>
                  <a:lnTo>
                    <a:pt x="1049" y="1944"/>
                  </a:lnTo>
                  <a:lnTo>
                    <a:pt x="1062" y="1970"/>
                  </a:lnTo>
                  <a:lnTo>
                    <a:pt x="1069" y="1989"/>
                  </a:lnTo>
                  <a:lnTo>
                    <a:pt x="1070" y="1999"/>
                  </a:lnTo>
                  <a:lnTo>
                    <a:pt x="1071" y="2010"/>
                  </a:lnTo>
                  <a:lnTo>
                    <a:pt x="1071" y="2025"/>
                  </a:lnTo>
                  <a:lnTo>
                    <a:pt x="1071" y="2043"/>
                  </a:lnTo>
                  <a:lnTo>
                    <a:pt x="1067" y="2083"/>
                  </a:lnTo>
                  <a:lnTo>
                    <a:pt x="1061" y="2132"/>
                  </a:lnTo>
                  <a:lnTo>
                    <a:pt x="1060" y="2157"/>
                  </a:lnTo>
                  <a:lnTo>
                    <a:pt x="1061" y="2179"/>
                  </a:lnTo>
                  <a:lnTo>
                    <a:pt x="1062" y="2188"/>
                  </a:lnTo>
                  <a:lnTo>
                    <a:pt x="1064" y="2197"/>
                  </a:lnTo>
                  <a:lnTo>
                    <a:pt x="1068" y="2204"/>
                  </a:lnTo>
                  <a:lnTo>
                    <a:pt x="1072" y="2211"/>
                  </a:lnTo>
                  <a:lnTo>
                    <a:pt x="1078" y="2217"/>
                  </a:lnTo>
                  <a:lnTo>
                    <a:pt x="1084" y="2222"/>
                  </a:lnTo>
                  <a:lnTo>
                    <a:pt x="1090" y="2225"/>
                  </a:lnTo>
                  <a:lnTo>
                    <a:pt x="1096" y="2230"/>
                  </a:lnTo>
                  <a:lnTo>
                    <a:pt x="1110" y="2236"/>
                  </a:lnTo>
                  <a:lnTo>
                    <a:pt x="1124" y="2240"/>
                  </a:lnTo>
                  <a:lnTo>
                    <a:pt x="1153" y="2246"/>
                  </a:lnTo>
                  <a:lnTo>
                    <a:pt x="1182" y="2250"/>
                  </a:lnTo>
                  <a:lnTo>
                    <a:pt x="1196" y="2252"/>
                  </a:lnTo>
                  <a:lnTo>
                    <a:pt x="1209" y="2256"/>
                  </a:lnTo>
                  <a:lnTo>
                    <a:pt x="1220" y="2260"/>
                  </a:lnTo>
                  <a:lnTo>
                    <a:pt x="1231" y="2266"/>
                  </a:lnTo>
                  <a:lnTo>
                    <a:pt x="1235" y="2269"/>
                  </a:lnTo>
                  <a:lnTo>
                    <a:pt x="1240" y="2273"/>
                  </a:lnTo>
                  <a:lnTo>
                    <a:pt x="1244" y="2278"/>
                  </a:lnTo>
                  <a:lnTo>
                    <a:pt x="1247" y="2283"/>
                  </a:lnTo>
                  <a:lnTo>
                    <a:pt x="1251" y="2289"/>
                  </a:lnTo>
                  <a:lnTo>
                    <a:pt x="1252" y="2296"/>
                  </a:lnTo>
                  <a:lnTo>
                    <a:pt x="1254" y="2303"/>
                  </a:lnTo>
                  <a:lnTo>
                    <a:pt x="1255" y="2311"/>
                  </a:lnTo>
                  <a:lnTo>
                    <a:pt x="1255" y="2320"/>
                  </a:lnTo>
                  <a:lnTo>
                    <a:pt x="1254" y="2328"/>
                  </a:lnTo>
                  <a:lnTo>
                    <a:pt x="1252" y="2335"/>
                  </a:lnTo>
                  <a:lnTo>
                    <a:pt x="1248" y="2343"/>
                  </a:lnTo>
                  <a:lnTo>
                    <a:pt x="1245" y="2349"/>
                  </a:lnTo>
                  <a:lnTo>
                    <a:pt x="1240" y="2356"/>
                  </a:lnTo>
                  <a:lnTo>
                    <a:pt x="1235" y="2360"/>
                  </a:lnTo>
                  <a:lnTo>
                    <a:pt x="1230" y="2365"/>
                  </a:lnTo>
                  <a:lnTo>
                    <a:pt x="1224" y="2367"/>
                  </a:lnTo>
                  <a:lnTo>
                    <a:pt x="1217" y="2370"/>
                  </a:lnTo>
                  <a:lnTo>
                    <a:pt x="1211" y="2370"/>
                  </a:lnTo>
                  <a:lnTo>
                    <a:pt x="1205" y="2368"/>
                  </a:lnTo>
                  <a:lnTo>
                    <a:pt x="1198" y="2365"/>
                  </a:lnTo>
                  <a:lnTo>
                    <a:pt x="1192" y="2360"/>
                  </a:lnTo>
                  <a:lnTo>
                    <a:pt x="1188" y="2353"/>
                  </a:lnTo>
                  <a:lnTo>
                    <a:pt x="1183" y="2344"/>
                  </a:lnTo>
                  <a:lnTo>
                    <a:pt x="1178" y="2336"/>
                  </a:lnTo>
                  <a:lnTo>
                    <a:pt x="1173" y="2328"/>
                  </a:lnTo>
                  <a:lnTo>
                    <a:pt x="1168" y="2321"/>
                  </a:lnTo>
                  <a:lnTo>
                    <a:pt x="1162" y="2316"/>
                  </a:lnTo>
                  <a:lnTo>
                    <a:pt x="1155" y="2313"/>
                  </a:lnTo>
                  <a:lnTo>
                    <a:pt x="1148" y="2309"/>
                  </a:lnTo>
                  <a:lnTo>
                    <a:pt x="1142" y="2308"/>
                  </a:lnTo>
                  <a:lnTo>
                    <a:pt x="1134" y="2307"/>
                  </a:lnTo>
                  <a:lnTo>
                    <a:pt x="1127" y="2307"/>
                  </a:lnTo>
                  <a:lnTo>
                    <a:pt x="1119" y="2308"/>
                  </a:lnTo>
                  <a:lnTo>
                    <a:pt x="1112" y="2310"/>
                  </a:lnTo>
                  <a:lnTo>
                    <a:pt x="1104" y="2313"/>
                  </a:lnTo>
                  <a:lnTo>
                    <a:pt x="1088" y="2320"/>
                  </a:lnTo>
                  <a:lnTo>
                    <a:pt x="1071" y="2330"/>
                  </a:lnTo>
                  <a:lnTo>
                    <a:pt x="1068" y="2331"/>
                  </a:lnTo>
                  <a:lnTo>
                    <a:pt x="1065" y="2332"/>
                  </a:lnTo>
                  <a:lnTo>
                    <a:pt x="1062" y="2332"/>
                  </a:lnTo>
                  <a:lnTo>
                    <a:pt x="1058" y="2332"/>
                  </a:lnTo>
                  <a:lnTo>
                    <a:pt x="1053" y="2330"/>
                  </a:lnTo>
                  <a:lnTo>
                    <a:pt x="1046" y="2325"/>
                  </a:lnTo>
                  <a:lnTo>
                    <a:pt x="1040" y="2320"/>
                  </a:lnTo>
                  <a:lnTo>
                    <a:pt x="1033" y="2313"/>
                  </a:lnTo>
                  <a:lnTo>
                    <a:pt x="1027" y="2304"/>
                  </a:lnTo>
                  <a:lnTo>
                    <a:pt x="1020" y="2295"/>
                  </a:lnTo>
                  <a:lnTo>
                    <a:pt x="1007" y="2276"/>
                  </a:lnTo>
                  <a:lnTo>
                    <a:pt x="996" y="2258"/>
                  </a:lnTo>
                  <a:lnTo>
                    <a:pt x="989" y="2250"/>
                  </a:lnTo>
                  <a:lnTo>
                    <a:pt x="983" y="2243"/>
                  </a:lnTo>
                  <a:lnTo>
                    <a:pt x="977" y="2238"/>
                  </a:lnTo>
                  <a:lnTo>
                    <a:pt x="971" y="2235"/>
                  </a:lnTo>
                  <a:lnTo>
                    <a:pt x="958" y="2230"/>
                  </a:lnTo>
                  <a:lnTo>
                    <a:pt x="940" y="2224"/>
                  </a:lnTo>
                  <a:lnTo>
                    <a:pt x="916" y="2218"/>
                  </a:lnTo>
                  <a:lnTo>
                    <a:pt x="891" y="2214"/>
                  </a:lnTo>
                  <a:lnTo>
                    <a:pt x="866" y="2209"/>
                  </a:lnTo>
                  <a:lnTo>
                    <a:pt x="844" y="2207"/>
                  </a:lnTo>
                  <a:lnTo>
                    <a:pt x="835" y="2205"/>
                  </a:lnTo>
                  <a:lnTo>
                    <a:pt x="828" y="2205"/>
                  </a:lnTo>
                  <a:lnTo>
                    <a:pt x="822" y="2207"/>
                  </a:lnTo>
                  <a:lnTo>
                    <a:pt x="819" y="2209"/>
                  </a:lnTo>
                  <a:lnTo>
                    <a:pt x="808" y="2224"/>
                  </a:lnTo>
                  <a:lnTo>
                    <a:pt x="800" y="2236"/>
                  </a:lnTo>
                  <a:lnTo>
                    <a:pt x="795" y="2246"/>
                  </a:lnTo>
                  <a:lnTo>
                    <a:pt x="792" y="2256"/>
                  </a:lnTo>
                  <a:lnTo>
                    <a:pt x="791" y="2264"/>
                  </a:lnTo>
                  <a:lnTo>
                    <a:pt x="792" y="2271"/>
                  </a:lnTo>
                  <a:lnTo>
                    <a:pt x="794" y="2276"/>
                  </a:lnTo>
                  <a:lnTo>
                    <a:pt x="797" y="2282"/>
                  </a:lnTo>
                  <a:lnTo>
                    <a:pt x="806" y="2294"/>
                  </a:lnTo>
                  <a:lnTo>
                    <a:pt x="815" y="2308"/>
                  </a:lnTo>
                  <a:lnTo>
                    <a:pt x="819" y="2316"/>
                  </a:lnTo>
                  <a:lnTo>
                    <a:pt x="822" y="2325"/>
                  </a:lnTo>
                  <a:lnTo>
                    <a:pt x="825" y="2336"/>
                  </a:lnTo>
                  <a:lnTo>
                    <a:pt x="825" y="2349"/>
                  </a:lnTo>
                  <a:lnTo>
                    <a:pt x="826" y="2360"/>
                  </a:lnTo>
                  <a:lnTo>
                    <a:pt x="828" y="2371"/>
                  </a:lnTo>
                  <a:lnTo>
                    <a:pt x="829" y="2375"/>
                  </a:lnTo>
                  <a:lnTo>
                    <a:pt x="830" y="2379"/>
                  </a:lnTo>
                  <a:lnTo>
                    <a:pt x="833" y="2382"/>
                  </a:lnTo>
                  <a:lnTo>
                    <a:pt x="835" y="2386"/>
                  </a:lnTo>
                  <a:lnTo>
                    <a:pt x="838" y="2387"/>
                  </a:lnTo>
                  <a:lnTo>
                    <a:pt x="842" y="2389"/>
                  </a:lnTo>
                  <a:lnTo>
                    <a:pt x="845" y="2389"/>
                  </a:lnTo>
                  <a:lnTo>
                    <a:pt x="850" y="2391"/>
                  </a:lnTo>
                  <a:lnTo>
                    <a:pt x="861" y="2388"/>
                  </a:lnTo>
                  <a:lnTo>
                    <a:pt x="873" y="2385"/>
                  </a:lnTo>
                  <a:lnTo>
                    <a:pt x="877" y="2384"/>
                  </a:lnTo>
                  <a:lnTo>
                    <a:pt x="880" y="2382"/>
                  </a:lnTo>
                  <a:lnTo>
                    <a:pt x="883" y="2384"/>
                  </a:lnTo>
                  <a:lnTo>
                    <a:pt x="885" y="2385"/>
                  </a:lnTo>
                  <a:lnTo>
                    <a:pt x="890" y="2388"/>
                  </a:lnTo>
                  <a:lnTo>
                    <a:pt x="892" y="2394"/>
                  </a:lnTo>
                  <a:lnTo>
                    <a:pt x="894" y="2401"/>
                  </a:lnTo>
                  <a:lnTo>
                    <a:pt x="897" y="2410"/>
                  </a:lnTo>
                  <a:lnTo>
                    <a:pt x="897" y="2421"/>
                  </a:lnTo>
                  <a:lnTo>
                    <a:pt x="898" y="2432"/>
                  </a:lnTo>
                  <a:lnTo>
                    <a:pt x="899" y="2456"/>
                  </a:lnTo>
                  <a:lnTo>
                    <a:pt x="900" y="2478"/>
                  </a:lnTo>
                  <a:lnTo>
                    <a:pt x="900" y="2488"/>
                  </a:lnTo>
                  <a:lnTo>
                    <a:pt x="903" y="2498"/>
                  </a:lnTo>
                  <a:lnTo>
                    <a:pt x="905" y="2506"/>
                  </a:lnTo>
                  <a:lnTo>
                    <a:pt x="907" y="2512"/>
                  </a:lnTo>
                  <a:lnTo>
                    <a:pt x="923" y="2534"/>
                  </a:lnTo>
                  <a:lnTo>
                    <a:pt x="934" y="2551"/>
                  </a:lnTo>
                  <a:lnTo>
                    <a:pt x="937" y="2560"/>
                  </a:lnTo>
                  <a:lnTo>
                    <a:pt x="940" y="2571"/>
                  </a:lnTo>
                  <a:lnTo>
                    <a:pt x="942" y="2584"/>
                  </a:lnTo>
                  <a:lnTo>
                    <a:pt x="942" y="2600"/>
                  </a:lnTo>
                  <a:lnTo>
                    <a:pt x="943" y="2620"/>
                  </a:lnTo>
                  <a:lnTo>
                    <a:pt x="946" y="2638"/>
                  </a:lnTo>
                  <a:lnTo>
                    <a:pt x="949" y="2658"/>
                  </a:lnTo>
                  <a:lnTo>
                    <a:pt x="953" y="2678"/>
                  </a:lnTo>
                  <a:lnTo>
                    <a:pt x="962" y="2718"/>
                  </a:lnTo>
                  <a:lnTo>
                    <a:pt x="968" y="2755"/>
                  </a:lnTo>
                  <a:lnTo>
                    <a:pt x="970" y="2764"/>
                  </a:lnTo>
                  <a:lnTo>
                    <a:pt x="975" y="2775"/>
                  </a:lnTo>
                  <a:lnTo>
                    <a:pt x="979" y="2785"/>
                  </a:lnTo>
                  <a:lnTo>
                    <a:pt x="985" y="2795"/>
                  </a:lnTo>
                  <a:lnTo>
                    <a:pt x="991" y="2806"/>
                  </a:lnTo>
                  <a:lnTo>
                    <a:pt x="994" y="2815"/>
                  </a:lnTo>
                  <a:lnTo>
                    <a:pt x="996" y="2819"/>
                  </a:lnTo>
                  <a:lnTo>
                    <a:pt x="997" y="2822"/>
                  </a:lnTo>
                  <a:lnTo>
                    <a:pt x="997" y="2826"/>
                  </a:lnTo>
                  <a:lnTo>
                    <a:pt x="996" y="2829"/>
                  </a:lnTo>
                  <a:lnTo>
                    <a:pt x="992" y="2833"/>
                  </a:lnTo>
                  <a:lnTo>
                    <a:pt x="987" y="2837"/>
                  </a:lnTo>
                  <a:lnTo>
                    <a:pt x="980" y="2842"/>
                  </a:lnTo>
                  <a:lnTo>
                    <a:pt x="972" y="2847"/>
                  </a:lnTo>
                  <a:lnTo>
                    <a:pt x="957" y="2856"/>
                  </a:lnTo>
                  <a:lnTo>
                    <a:pt x="946" y="2863"/>
                  </a:lnTo>
                  <a:lnTo>
                    <a:pt x="937" y="2891"/>
                  </a:lnTo>
                  <a:lnTo>
                    <a:pt x="929" y="2912"/>
                  </a:lnTo>
                  <a:lnTo>
                    <a:pt x="923" y="2920"/>
                  </a:lnTo>
                  <a:lnTo>
                    <a:pt x="915" y="2928"/>
                  </a:lnTo>
                  <a:lnTo>
                    <a:pt x="904" y="2935"/>
                  </a:lnTo>
                  <a:lnTo>
                    <a:pt x="890" y="2941"/>
                  </a:lnTo>
                  <a:lnTo>
                    <a:pt x="870" y="2946"/>
                  </a:lnTo>
                  <a:lnTo>
                    <a:pt x="852" y="2950"/>
                  </a:lnTo>
                  <a:lnTo>
                    <a:pt x="849" y="2953"/>
                  </a:lnTo>
                  <a:lnTo>
                    <a:pt x="847" y="2954"/>
                  </a:lnTo>
                  <a:lnTo>
                    <a:pt x="843" y="2957"/>
                  </a:lnTo>
                  <a:lnTo>
                    <a:pt x="842" y="2960"/>
                  </a:lnTo>
                  <a:lnTo>
                    <a:pt x="840" y="2964"/>
                  </a:lnTo>
                  <a:lnTo>
                    <a:pt x="840" y="2969"/>
                  </a:lnTo>
                  <a:lnTo>
                    <a:pt x="840" y="2975"/>
                  </a:lnTo>
                  <a:lnTo>
                    <a:pt x="840" y="2981"/>
                  </a:lnTo>
                  <a:lnTo>
                    <a:pt x="841" y="2990"/>
                  </a:lnTo>
                  <a:lnTo>
                    <a:pt x="840" y="2999"/>
                  </a:lnTo>
                  <a:lnTo>
                    <a:pt x="836" y="3006"/>
                  </a:lnTo>
                  <a:lnTo>
                    <a:pt x="833" y="3014"/>
                  </a:lnTo>
                  <a:lnTo>
                    <a:pt x="821" y="3028"/>
                  </a:lnTo>
                  <a:lnTo>
                    <a:pt x="808" y="3042"/>
                  </a:lnTo>
                  <a:lnTo>
                    <a:pt x="793" y="3056"/>
                  </a:lnTo>
                  <a:lnTo>
                    <a:pt x="780" y="3070"/>
                  </a:lnTo>
                  <a:lnTo>
                    <a:pt x="774" y="3078"/>
                  </a:lnTo>
                  <a:lnTo>
                    <a:pt x="770" y="3088"/>
                  </a:lnTo>
                  <a:lnTo>
                    <a:pt x="766" y="3096"/>
                  </a:lnTo>
                  <a:lnTo>
                    <a:pt x="764" y="3106"/>
                  </a:lnTo>
                  <a:lnTo>
                    <a:pt x="762" y="3114"/>
                  </a:lnTo>
                  <a:lnTo>
                    <a:pt x="758" y="3120"/>
                  </a:lnTo>
                  <a:lnTo>
                    <a:pt x="755" y="3125"/>
                  </a:lnTo>
                  <a:lnTo>
                    <a:pt x="750" y="3128"/>
                  </a:lnTo>
                  <a:lnTo>
                    <a:pt x="744" y="3131"/>
                  </a:lnTo>
                  <a:lnTo>
                    <a:pt x="738" y="3132"/>
                  </a:lnTo>
                  <a:lnTo>
                    <a:pt x="731" y="3133"/>
                  </a:lnTo>
                  <a:lnTo>
                    <a:pt x="726" y="3133"/>
                  </a:lnTo>
                  <a:lnTo>
                    <a:pt x="710" y="3132"/>
                  </a:lnTo>
                  <a:lnTo>
                    <a:pt x="696" y="3129"/>
                  </a:lnTo>
                  <a:lnTo>
                    <a:pt x="691" y="3129"/>
                  </a:lnTo>
                  <a:lnTo>
                    <a:pt x="684" y="3129"/>
                  </a:lnTo>
                  <a:lnTo>
                    <a:pt x="678" y="3131"/>
                  </a:lnTo>
                  <a:lnTo>
                    <a:pt x="673" y="3132"/>
                  </a:lnTo>
                  <a:lnTo>
                    <a:pt x="660" y="3139"/>
                  </a:lnTo>
                  <a:lnTo>
                    <a:pt x="649" y="3147"/>
                  </a:lnTo>
                  <a:lnTo>
                    <a:pt x="641" y="3156"/>
                  </a:lnTo>
                  <a:lnTo>
                    <a:pt x="634" y="3167"/>
                  </a:lnTo>
                  <a:lnTo>
                    <a:pt x="629" y="3178"/>
                  </a:lnTo>
                  <a:lnTo>
                    <a:pt x="624" y="3190"/>
                  </a:lnTo>
                  <a:lnTo>
                    <a:pt x="622" y="3202"/>
                  </a:lnTo>
                  <a:lnTo>
                    <a:pt x="620" y="3214"/>
                  </a:lnTo>
                  <a:lnTo>
                    <a:pt x="617" y="3240"/>
                  </a:lnTo>
                  <a:lnTo>
                    <a:pt x="615" y="3266"/>
                  </a:lnTo>
                  <a:lnTo>
                    <a:pt x="613" y="3278"/>
                  </a:lnTo>
                  <a:lnTo>
                    <a:pt x="609" y="3291"/>
                  </a:lnTo>
                  <a:lnTo>
                    <a:pt x="606" y="3303"/>
                  </a:lnTo>
                  <a:lnTo>
                    <a:pt x="600" y="3315"/>
                  </a:lnTo>
                  <a:lnTo>
                    <a:pt x="570" y="3415"/>
                  </a:lnTo>
                  <a:lnTo>
                    <a:pt x="564" y="3424"/>
                  </a:lnTo>
                  <a:lnTo>
                    <a:pt x="558" y="3436"/>
                  </a:lnTo>
                  <a:lnTo>
                    <a:pt x="554" y="3440"/>
                  </a:lnTo>
                  <a:lnTo>
                    <a:pt x="551" y="3445"/>
                  </a:lnTo>
                  <a:lnTo>
                    <a:pt x="546" y="3448"/>
                  </a:lnTo>
                  <a:lnTo>
                    <a:pt x="540" y="3451"/>
                  </a:lnTo>
                  <a:lnTo>
                    <a:pt x="535" y="3452"/>
                  </a:lnTo>
                  <a:lnTo>
                    <a:pt x="528" y="3452"/>
                  </a:lnTo>
                  <a:lnTo>
                    <a:pt x="522" y="3448"/>
                  </a:lnTo>
                  <a:lnTo>
                    <a:pt x="515" y="3445"/>
                  </a:lnTo>
                  <a:lnTo>
                    <a:pt x="503" y="3438"/>
                  </a:lnTo>
                  <a:lnTo>
                    <a:pt x="490" y="3431"/>
                  </a:lnTo>
                  <a:lnTo>
                    <a:pt x="485" y="3429"/>
                  </a:lnTo>
                  <a:lnTo>
                    <a:pt x="480" y="3426"/>
                  </a:lnTo>
                  <a:lnTo>
                    <a:pt x="474" y="3425"/>
                  </a:lnTo>
                  <a:lnTo>
                    <a:pt x="468" y="3425"/>
                  </a:lnTo>
                  <a:lnTo>
                    <a:pt x="458" y="3425"/>
                  </a:lnTo>
                  <a:lnTo>
                    <a:pt x="447" y="3427"/>
                  </a:lnTo>
                  <a:lnTo>
                    <a:pt x="437" y="3431"/>
                  </a:lnTo>
                  <a:lnTo>
                    <a:pt x="426" y="3436"/>
                  </a:lnTo>
                  <a:lnTo>
                    <a:pt x="417" y="3441"/>
                  </a:lnTo>
                  <a:lnTo>
                    <a:pt x="408" y="3446"/>
                  </a:lnTo>
                  <a:lnTo>
                    <a:pt x="398" y="3452"/>
                  </a:lnTo>
                  <a:lnTo>
                    <a:pt x="390" y="3456"/>
                  </a:lnTo>
                  <a:lnTo>
                    <a:pt x="382" y="3460"/>
                  </a:lnTo>
                  <a:lnTo>
                    <a:pt x="374" y="3461"/>
                  </a:lnTo>
                  <a:lnTo>
                    <a:pt x="371" y="3461"/>
                  </a:lnTo>
                  <a:lnTo>
                    <a:pt x="367" y="3461"/>
                  </a:lnTo>
                  <a:lnTo>
                    <a:pt x="364" y="3460"/>
                  </a:lnTo>
                  <a:lnTo>
                    <a:pt x="361" y="3458"/>
                  </a:lnTo>
                  <a:lnTo>
                    <a:pt x="358" y="3455"/>
                  </a:lnTo>
                  <a:lnTo>
                    <a:pt x="355" y="3452"/>
                  </a:lnTo>
                  <a:lnTo>
                    <a:pt x="353" y="3448"/>
                  </a:lnTo>
                  <a:lnTo>
                    <a:pt x="351" y="3444"/>
                  </a:lnTo>
                  <a:lnTo>
                    <a:pt x="346" y="3430"/>
                  </a:lnTo>
                  <a:lnTo>
                    <a:pt x="343" y="3413"/>
                  </a:lnTo>
                  <a:lnTo>
                    <a:pt x="339" y="3395"/>
                  </a:lnTo>
                  <a:lnTo>
                    <a:pt x="337" y="3375"/>
                  </a:lnTo>
                  <a:lnTo>
                    <a:pt x="332" y="3335"/>
                  </a:lnTo>
                  <a:lnTo>
                    <a:pt x="329" y="3303"/>
                  </a:lnTo>
                  <a:lnTo>
                    <a:pt x="330" y="3284"/>
                  </a:lnTo>
                  <a:lnTo>
                    <a:pt x="333" y="3263"/>
                  </a:lnTo>
                  <a:lnTo>
                    <a:pt x="333" y="3260"/>
                  </a:lnTo>
                  <a:lnTo>
                    <a:pt x="333" y="3255"/>
                  </a:lnTo>
                  <a:lnTo>
                    <a:pt x="332" y="3253"/>
                  </a:lnTo>
                  <a:lnTo>
                    <a:pt x="331" y="3251"/>
                  </a:lnTo>
                  <a:lnTo>
                    <a:pt x="329" y="3248"/>
                  </a:lnTo>
                  <a:lnTo>
                    <a:pt x="325" y="3248"/>
                  </a:lnTo>
                  <a:lnTo>
                    <a:pt x="322" y="3249"/>
                  </a:lnTo>
                  <a:lnTo>
                    <a:pt x="316" y="3252"/>
                  </a:lnTo>
                  <a:lnTo>
                    <a:pt x="305" y="3255"/>
                  </a:lnTo>
                  <a:lnTo>
                    <a:pt x="297" y="3256"/>
                  </a:lnTo>
                  <a:lnTo>
                    <a:pt x="290" y="3255"/>
                  </a:lnTo>
                  <a:lnTo>
                    <a:pt x="286" y="3253"/>
                  </a:lnTo>
                  <a:lnTo>
                    <a:pt x="282" y="3248"/>
                  </a:lnTo>
                  <a:lnTo>
                    <a:pt x="279" y="3242"/>
                  </a:lnTo>
                  <a:lnTo>
                    <a:pt x="277" y="3235"/>
                  </a:lnTo>
                  <a:lnTo>
                    <a:pt x="276" y="3228"/>
                  </a:lnTo>
                  <a:lnTo>
                    <a:pt x="274" y="3216"/>
                  </a:lnTo>
                  <a:lnTo>
                    <a:pt x="273" y="3205"/>
                  </a:lnTo>
                  <a:lnTo>
                    <a:pt x="273" y="3203"/>
                  </a:lnTo>
                  <a:lnTo>
                    <a:pt x="270" y="3202"/>
                  </a:lnTo>
                  <a:lnTo>
                    <a:pt x="268" y="3203"/>
                  </a:lnTo>
                  <a:lnTo>
                    <a:pt x="265" y="3206"/>
                  </a:lnTo>
                  <a:lnTo>
                    <a:pt x="256" y="3224"/>
                  </a:lnTo>
                  <a:lnTo>
                    <a:pt x="251" y="3242"/>
                  </a:lnTo>
                  <a:lnTo>
                    <a:pt x="248" y="3246"/>
                  </a:lnTo>
                  <a:lnTo>
                    <a:pt x="246" y="3248"/>
                  </a:lnTo>
                  <a:lnTo>
                    <a:pt x="245" y="3249"/>
                  </a:lnTo>
                  <a:lnTo>
                    <a:pt x="241" y="3251"/>
                  </a:lnTo>
                  <a:lnTo>
                    <a:pt x="239" y="3249"/>
                  </a:lnTo>
                  <a:lnTo>
                    <a:pt x="236" y="3247"/>
                  </a:lnTo>
                  <a:lnTo>
                    <a:pt x="231" y="3244"/>
                  </a:lnTo>
                  <a:lnTo>
                    <a:pt x="226" y="3238"/>
                  </a:lnTo>
                  <a:lnTo>
                    <a:pt x="219" y="3227"/>
                  </a:lnTo>
                  <a:lnTo>
                    <a:pt x="216" y="3217"/>
                  </a:lnTo>
                  <a:lnTo>
                    <a:pt x="212" y="3207"/>
                  </a:lnTo>
                  <a:lnTo>
                    <a:pt x="211" y="3197"/>
                  </a:lnTo>
                  <a:lnTo>
                    <a:pt x="211" y="3176"/>
                  </a:lnTo>
                  <a:lnTo>
                    <a:pt x="213" y="3155"/>
                  </a:lnTo>
                  <a:lnTo>
                    <a:pt x="213" y="3145"/>
                  </a:lnTo>
                  <a:lnTo>
                    <a:pt x="213" y="3134"/>
                  </a:lnTo>
                  <a:lnTo>
                    <a:pt x="212" y="3124"/>
                  </a:lnTo>
                  <a:lnTo>
                    <a:pt x="210" y="3112"/>
                  </a:lnTo>
                  <a:lnTo>
                    <a:pt x="205" y="3102"/>
                  </a:lnTo>
                  <a:lnTo>
                    <a:pt x="199" y="3091"/>
                  </a:lnTo>
                  <a:lnTo>
                    <a:pt x="191" y="3079"/>
                  </a:lnTo>
                  <a:lnTo>
                    <a:pt x="180" y="3068"/>
                  </a:lnTo>
                  <a:lnTo>
                    <a:pt x="162" y="3049"/>
                  </a:lnTo>
                  <a:lnTo>
                    <a:pt x="138" y="3021"/>
                  </a:lnTo>
                  <a:lnTo>
                    <a:pt x="125" y="3007"/>
                  </a:lnTo>
                  <a:lnTo>
                    <a:pt x="113" y="2996"/>
                  </a:lnTo>
                  <a:lnTo>
                    <a:pt x="109" y="2991"/>
                  </a:lnTo>
                  <a:lnTo>
                    <a:pt x="104" y="2988"/>
                  </a:lnTo>
                  <a:lnTo>
                    <a:pt x="99" y="2985"/>
                  </a:lnTo>
                  <a:lnTo>
                    <a:pt x="96" y="2984"/>
                  </a:lnTo>
                  <a:lnTo>
                    <a:pt x="89" y="2985"/>
                  </a:lnTo>
                  <a:lnTo>
                    <a:pt x="81" y="2988"/>
                  </a:lnTo>
                  <a:lnTo>
                    <a:pt x="74" y="2991"/>
                  </a:lnTo>
                  <a:lnTo>
                    <a:pt x="67" y="2996"/>
                  </a:lnTo>
                  <a:lnTo>
                    <a:pt x="59" y="3000"/>
                  </a:lnTo>
                  <a:lnTo>
                    <a:pt x="52" y="3003"/>
                  </a:lnTo>
                  <a:lnTo>
                    <a:pt x="48" y="3004"/>
                  </a:lnTo>
                  <a:lnTo>
                    <a:pt x="45" y="3005"/>
                  </a:lnTo>
                  <a:lnTo>
                    <a:pt x="41" y="3005"/>
                  </a:lnTo>
                  <a:lnTo>
                    <a:pt x="38" y="3004"/>
                  </a:lnTo>
                  <a:lnTo>
                    <a:pt x="32" y="3000"/>
                  </a:lnTo>
                  <a:lnTo>
                    <a:pt x="26" y="2994"/>
                  </a:lnTo>
                  <a:lnTo>
                    <a:pt x="20" y="2986"/>
                  </a:lnTo>
                  <a:lnTo>
                    <a:pt x="16" y="2977"/>
                  </a:lnTo>
                  <a:lnTo>
                    <a:pt x="6" y="2957"/>
                  </a:lnTo>
                  <a:lnTo>
                    <a:pt x="0" y="2942"/>
                  </a:lnTo>
                  <a:lnTo>
                    <a:pt x="9" y="2901"/>
                  </a:lnTo>
                  <a:lnTo>
                    <a:pt x="18" y="2884"/>
                  </a:lnTo>
                  <a:lnTo>
                    <a:pt x="25" y="2873"/>
                  </a:lnTo>
                  <a:lnTo>
                    <a:pt x="26" y="2868"/>
                  </a:lnTo>
                  <a:lnTo>
                    <a:pt x="24" y="2862"/>
                  </a:lnTo>
                  <a:lnTo>
                    <a:pt x="20" y="2855"/>
                  </a:lnTo>
                  <a:lnTo>
                    <a:pt x="13" y="2844"/>
                  </a:lnTo>
                  <a:lnTo>
                    <a:pt x="7" y="2837"/>
                  </a:lnTo>
                  <a:lnTo>
                    <a:pt x="4" y="2829"/>
                  </a:lnTo>
                  <a:lnTo>
                    <a:pt x="2" y="2822"/>
                  </a:lnTo>
                  <a:lnTo>
                    <a:pt x="2" y="2814"/>
                  </a:lnTo>
                  <a:lnTo>
                    <a:pt x="2" y="2807"/>
                  </a:lnTo>
                  <a:lnTo>
                    <a:pt x="3" y="2799"/>
                  </a:lnTo>
                  <a:lnTo>
                    <a:pt x="5" y="2791"/>
                  </a:lnTo>
                  <a:lnTo>
                    <a:pt x="7" y="2782"/>
                  </a:lnTo>
                  <a:lnTo>
                    <a:pt x="19" y="2742"/>
                  </a:lnTo>
                  <a:lnTo>
                    <a:pt x="29" y="2706"/>
                  </a:lnTo>
                  <a:lnTo>
                    <a:pt x="36" y="2688"/>
                  </a:lnTo>
                  <a:lnTo>
                    <a:pt x="46" y="2671"/>
                  </a:lnTo>
                  <a:lnTo>
                    <a:pt x="50" y="2663"/>
                  </a:lnTo>
                  <a:lnTo>
                    <a:pt x="57" y="2655"/>
                  </a:lnTo>
                  <a:lnTo>
                    <a:pt x="64" y="2647"/>
                  </a:lnTo>
                  <a:lnTo>
                    <a:pt x="73" y="2638"/>
                  </a:lnTo>
                  <a:lnTo>
                    <a:pt x="85" y="2624"/>
                  </a:lnTo>
                  <a:lnTo>
                    <a:pt x="106" y="2602"/>
                  </a:lnTo>
                  <a:lnTo>
                    <a:pt x="127" y="2581"/>
                  </a:lnTo>
                  <a:lnTo>
                    <a:pt x="137" y="2572"/>
                  </a:lnTo>
                  <a:lnTo>
                    <a:pt x="140" y="2579"/>
                  </a:lnTo>
                  <a:lnTo>
                    <a:pt x="144" y="2586"/>
                  </a:lnTo>
                  <a:lnTo>
                    <a:pt x="149" y="2592"/>
                  </a:lnTo>
                  <a:lnTo>
                    <a:pt x="155" y="2598"/>
                  </a:lnTo>
                  <a:lnTo>
                    <a:pt x="169" y="2608"/>
                  </a:lnTo>
                  <a:lnTo>
                    <a:pt x="180" y="2619"/>
                  </a:lnTo>
                  <a:lnTo>
                    <a:pt x="187" y="2627"/>
                  </a:lnTo>
                  <a:lnTo>
                    <a:pt x="191" y="2633"/>
                  </a:lnTo>
                  <a:lnTo>
                    <a:pt x="196" y="2636"/>
                  </a:lnTo>
                  <a:lnTo>
                    <a:pt x="201" y="2637"/>
                  </a:lnTo>
                  <a:lnTo>
                    <a:pt x="205" y="2636"/>
                  </a:lnTo>
                  <a:lnTo>
                    <a:pt x="211" y="2635"/>
                  </a:lnTo>
                  <a:lnTo>
                    <a:pt x="218" y="2631"/>
                  </a:lnTo>
                  <a:lnTo>
                    <a:pt x="227" y="2628"/>
                  </a:lnTo>
                  <a:lnTo>
                    <a:pt x="241" y="2621"/>
                  </a:lnTo>
                  <a:lnTo>
                    <a:pt x="255" y="2612"/>
                  </a:lnTo>
                  <a:lnTo>
                    <a:pt x="268" y="2600"/>
                  </a:lnTo>
                  <a:lnTo>
                    <a:pt x="279" y="2587"/>
                  </a:lnTo>
                  <a:lnTo>
                    <a:pt x="283" y="2580"/>
                  </a:lnTo>
                  <a:lnTo>
                    <a:pt x="288" y="2573"/>
                  </a:lnTo>
                  <a:lnTo>
                    <a:pt x="290" y="2565"/>
                  </a:lnTo>
                  <a:lnTo>
                    <a:pt x="293" y="2558"/>
                  </a:lnTo>
                  <a:lnTo>
                    <a:pt x="294" y="2551"/>
                  </a:lnTo>
                  <a:lnTo>
                    <a:pt x="294" y="2543"/>
                  </a:lnTo>
                  <a:lnTo>
                    <a:pt x="293" y="2536"/>
                  </a:lnTo>
                  <a:lnTo>
                    <a:pt x="290" y="2528"/>
                  </a:lnTo>
                  <a:lnTo>
                    <a:pt x="286" y="2519"/>
                  </a:lnTo>
                  <a:lnTo>
                    <a:pt x="281" y="2510"/>
                  </a:lnTo>
                  <a:lnTo>
                    <a:pt x="276" y="2503"/>
                  </a:lnTo>
                  <a:lnTo>
                    <a:pt x="272" y="2498"/>
                  </a:lnTo>
                  <a:lnTo>
                    <a:pt x="266" y="2493"/>
                  </a:lnTo>
                  <a:lnTo>
                    <a:pt x="259" y="2488"/>
                  </a:lnTo>
                  <a:lnTo>
                    <a:pt x="251" y="2485"/>
                  </a:lnTo>
                  <a:lnTo>
                    <a:pt x="240" y="2482"/>
                  </a:lnTo>
                  <a:lnTo>
                    <a:pt x="225" y="2481"/>
                  </a:lnTo>
                  <a:lnTo>
                    <a:pt x="203" y="2478"/>
                  </a:lnTo>
                  <a:lnTo>
                    <a:pt x="198" y="2477"/>
                  </a:lnTo>
                  <a:lnTo>
                    <a:pt x="194" y="2474"/>
                  </a:lnTo>
                  <a:lnTo>
                    <a:pt x="189" y="2473"/>
                  </a:lnTo>
                  <a:lnTo>
                    <a:pt x="185" y="2471"/>
                  </a:lnTo>
                  <a:lnTo>
                    <a:pt x="184" y="2467"/>
                  </a:lnTo>
                  <a:lnTo>
                    <a:pt x="183" y="2464"/>
                  </a:lnTo>
                  <a:lnTo>
                    <a:pt x="184" y="2460"/>
                  </a:lnTo>
                  <a:lnTo>
                    <a:pt x="187" y="2456"/>
                  </a:lnTo>
                  <a:lnTo>
                    <a:pt x="192" y="2449"/>
                  </a:lnTo>
                  <a:lnTo>
                    <a:pt x="198" y="2441"/>
                  </a:lnTo>
                  <a:lnTo>
                    <a:pt x="201" y="2437"/>
                  </a:lnTo>
                  <a:lnTo>
                    <a:pt x="202" y="2432"/>
                  </a:lnTo>
                  <a:lnTo>
                    <a:pt x="201" y="2429"/>
                  </a:lnTo>
                  <a:lnTo>
                    <a:pt x="197" y="2424"/>
                  </a:lnTo>
                  <a:lnTo>
                    <a:pt x="182" y="2411"/>
                  </a:lnTo>
                  <a:lnTo>
                    <a:pt x="166" y="2399"/>
                  </a:lnTo>
                  <a:lnTo>
                    <a:pt x="159" y="2393"/>
                  </a:lnTo>
                  <a:lnTo>
                    <a:pt x="151" y="2386"/>
                  </a:lnTo>
                  <a:lnTo>
                    <a:pt x="145" y="2379"/>
                  </a:lnTo>
                  <a:lnTo>
                    <a:pt x="139" y="2371"/>
                  </a:lnTo>
                  <a:lnTo>
                    <a:pt x="135" y="2365"/>
                  </a:lnTo>
                  <a:lnTo>
                    <a:pt x="132" y="2363"/>
                  </a:lnTo>
                  <a:lnTo>
                    <a:pt x="127" y="2360"/>
                  </a:lnTo>
                  <a:lnTo>
                    <a:pt x="123" y="2359"/>
                  </a:lnTo>
                  <a:lnTo>
                    <a:pt x="112" y="2361"/>
                  </a:lnTo>
                  <a:lnTo>
                    <a:pt x="102" y="2365"/>
                  </a:lnTo>
                  <a:lnTo>
                    <a:pt x="91" y="2368"/>
                  </a:lnTo>
                  <a:lnTo>
                    <a:pt x="83" y="2372"/>
                  </a:lnTo>
                  <a:lnTo>
                    <a:pt x="80" y="2372"/>
                  </a:lnTo>
                  <a:lnTo>
                    <a:pt x="76" y="2372"/>
                  </a:lnTo>
                  <a:lnTo>
                    <a:pt x="74" y="2371"/>
                  </a:lnTo>
                  <a:lnTo>
                    <a:pt x="73" y="2367"/>
                  </a:lnTo>
                  <a:lnTo>
                    <a:pt x="71" y="2361"/>
                  </a:lnTo>
                  <a:lnTo>
                    <a:pt x="73" y="2356"/>
                  </a:lnTo>
                  <a:lnTo>
                    <a:pt x="74" y="2351"/>
                  </a:lnTo>
                  <a:lnTo>
                    <a:pt x="76" y="2346"/>
                  </a:lnTo>
                  <a:lnTo>
                    <a:pt x="80" y="2343"/>
                  </a:lnTo>
                  <a:lnTo>
                    <a:pt x="82" y="2339"/>
                  </a:lnTo>
                  <a:lnTo>
                    <a:pt x="83" y="2335"/>
                  </a:lnTo>
                  <a:lnTo>
                    <a:pt x="84" y="2330"/>
                  </a:lnTo>
                  <a:lnTo>
                    <a:pt x="77" y="2318"/>
                  </a:lnTo>
                  <a:lnTo>
                    <a:pt x="70" y="2307"/>
                  </a:lnTo>
                  <a:lnTo>
                    <a:pt x="71" y="2302"/>
                  </a:lnTo>
                  <a:lnTo>
                    <a:pt x="73" y="2299"/>
                  </a:lnTo>
                  <a:lnTo>
                    <a:pt x="75" y="2296"/>
                  </a:lnTo>
                  <a:lnTo>
                    <a:pt x="77" y="2295"/>
                  </a:lnTo>
                  <a:lnTo>
                    <a:pt x="84" y="2293"/>
                  </a:lnTo>
                  <a:lnTo>
                    <a:pt x="91" y="2294"/>
                  </a:lnTo>
                  <a:lnTo>
                    <a:pt x="99" y="2295"/>
                  </a:lnTo>
                  <a:lnTo>
                    <a:pt x="106" y="2297"/>
                  </a:lnTo>
                  <a:lnTo>
                    <a:pt x="110" y="2297"/>
                  </a:lnTo>
                  <a:lnTo>
                    <a:pt x="112" y="2297"/>
                  </a:lnTo>
                  <a:lnTo>
                    <a:pt x="114" y="2296"/>
                  </a:lnTo>
                  <a:lnTo>
                    <a:pt x="116" y="2295"/>
                  </a:lnTo>
                  <a:lnTo>
                    <a:pt x="118" y="2290"/>
                  </a:lnTo>
                  <a:lnTo>
                    <a:pt x="119" y="2285"/>
                  </a:lnTo>
                  <a:lnTo>
                    <a:pt x="120" y="2276"/>
                  </a:lnTo>
                  <a:lnTo>
                    <a:pt x="121" y="2268"/>
                  </a:lnTo>
                  <a:lnTo>
                    <a:pt x="124" y="2252"/>
                  </a:lnTo>
                  <a:lnTo>
                    <a:pt x="126" y="2239"/>
                  </a:lnTo>
                  <a:lnTo>
                    <a:pt x="127" y="2233"/>
                  </a:lnTo>
                  <a:lnTo>
                    <a:pt x="128" y="2228"/>
                  </a:lnTo>
                  <a:lnTo>
                    <a:pt x="127" y="2223"/>
                  </a:lnTo>
                  <a:lnTo>
                    <a:pt x="127" y="2218"/>
                  </a:lnTo>
                  <a:lnTo>
                    <a:pt x="125" y="2214"/>
                  </a:lnTo>
                  <a:lnTo>
                    <a:pt x="123" y="2210"/>
                  </a:lnTo>
                  <a:lnTo>
                    <a:pt x="120" y="2205"/>
                  </a:lnTo>
                  <a:lnTo>
                    <a:pt x="117" y="2202"/>
                  </a:lnTo>
                  <a:lnTo>
                    <a:pt x="109" y="2196"/>
                  </a:lnTo>
                  <a:lnTo>
                    <a:pt x="99" y="2190"/>
                  </a:lnTo>
                  <a:lnTo>
                    <a:pt x="90" y="2186"/>
                  </a:lnTo>
                  <a:lnTo>
                    <a:pt x="82" y="2181"/>
                  </a:lnTo>
                  <a:lnTo>
                    <a:pt x="73" y="2176"/>
                  </a:lnTo>
                  <a:lnTo>
                    <a:pt x="66" y="2172"/>
                  </a:lnTo>
                  <a:lnTo>
                    <a:pt x="63" y="2169"/>
                  </a:lnTo>
                  <a:lnTo>
                    <a:pt x="61" y="2167"/>
                  </a:lnTo>
                  <a:lnTo>
                    <a:pt x="59" y="2164"/>
                  </a:lnTo>
                  <a:lnTo>
                    <a:pt x="57" y="2161"/>
                  </a:lnTo>
                  <a:lnTo>
                    <a:pt x="57" y="2158"/>
                  </a:lnTo>
                  <a:lnTo>
                    <a:pt x="57" y="2154"/>
                  </a:lnTo>
                  <a:lnTo>
                    <a:pt x="60" y="2151"/>
                  </a:lnTo>
                  <a:lnTo>
                    <a:pt x="62" y="2146"/>
                  </a:lnTo>
                  <a:lnTo>
                    <a:pt x="69" y="2137"/>
                  </a:lnTo>
                  <a:lnTo>
                    <a:pt x="82" y="2126"/>
                  </a:lnTo>
                  <a:lnTo>
                    <a:pt x="107" y="2111"/>
                  </a:lnTo>
                  <a:lnTo>
                    <a:pt x="128" y="2100"/>
                  </a:lnTo>
                  <a:lnTo>
                    <a:pt x="132" y="2096"/>
                  </a:lnTo>
                  <a:lnTo>
                    <a:pt x="137" y="2093"/>
                  </a:lnTo>
                  <a:lnTo>
                    <a:pt x="140" y="2088"/>
                  </a:lnTo>
                  <a:lnTo>
                    <a:pt x="144" y="2083"/>
                  </a:lnTo>
                  <a:lnTo>
                    <a:pt x="146" y="2079"/>
                  </a:lnTo>
                  <a:lnTo>
                    <a:pt x="148" y="2072"/>
                  </a:lnTo>
                  <a:lnTo>
                    <a:pt x="151" y="2065"/>
                  </a:lnTo>
                  <a:lnTo>
                    <a:pt x="152" y="2057"/>
                  </a:lnTo>
                  <a:lnTo>
                    <a:pt x="154" y="2034"/>
                  </a:lnTo>
                  <a:lnTo>
                    <a:pt x="156" y="2015"/>
                  </a:lnTo>
                  <a:lnTo>
                    <a:pt x="156" y="1996"/>
                  </a:lnTo>
                  <a:lnTo>
                    <a:pt x="158" y="1977"/>
                  </a:lnTo>
                  <a:lnTo>
                    <a:pt x="156" y="1960"/>
                  </a:lnTo>
                  <a:lnTo>
                    <a:pt x="155" y="1940"/>
                  </a:lnTo>
                  <a:lnTo>
                    <a:pt x="153" y="1922"/>
                  </a:lnTo>
                  <a:lnTo>
                    <a:pt x="151" y="1899"/>
                  </a:lnTo>
                  <a:lnTo>
                    <a:pt x="138" y="1906"/>
                  </a:lnTo>
                  <a:lnTo>
                    <a:pt x="126" y="1912"/>
                  </a:lnTo>
                  <a:lnTo>
                    <a:pt x="116" y="1917"/>
                  </a:lnTo>
                  <a:lnTo>
                    <a:pt x="107" y="1919"/>
                  </a:lnTo>
                  <a:lnTo>
                    <a:pt x="104" y="1919"/>
                  </a:lnTo>
                  <a:lnTo>
                    <a:pt x="102" y="1918"/>
                  </a:lnTo>
                  <a:lnTo>
                    <a:pt x="99" y="1915"/>
                  </a:lnTo>
                  <a:lnTo>
                    <a:pt x="98" y="1910"/>
                  </a:lnTo>
                  <a:lnTo>
                    <a:pt x="99" y="1904"/>
                  </a:lnTo>
                  <a:lnTo>
                    <a:pt x="99" y="1897"/>
                  </a:lnTo>
                  <a:lnTo>
                    <a:pt x="102" y="1887"/>
                  </a:lnTo>
                  <a:lnTo>
                    <a:pt x="105" y="1875"/>
                  </a:lnTo>
                  <a:lnTo>
                    <a:pt x="112" y="1851"/>
                  </a:lnTo>
                  <a:lnTo>
                    <a:pt x="119" y="1824"/>
                  </a:lnTo>
                  <a:lnTo>
                    <a:pt x="123" y="1811"/>
                  </a:lnTo>
                  <a:lnTo>
                    <a:pt x="125" y="1797"/>
                  </a:lnTo>
                  <a:lnTo>
                    <a:pt x="126" y="1784"/>
                  </a:lnTo>
                  <a:lnTo>
                    <a:pt x="127" y="1773"/>
                  </a:lnTo>
                  <a:lnTo>
                    <a:pt x="126" y="1768"/>
                  </a:lnTo>
                  <a:lnTo>
                    <a:pt x="125" y="1763"/>
                  </a:lnTo>
                  <a:lnTo>
                    <a:pt x="124" y="1761"/>
                  </a:lnTo>
                  <a:lnTo>
                    <a:pt x="121" y="1757"/>
                  </a:lnTo>
                  <a:lnTo>
                    <a:pt x="116" y="1754"/>
                  </a:lnTo>
                  <a:lnTo>
                    <a:pt x="109" y="1752"/>
                  </a:lnTo>
                  <a:lnTo>
                    <a:pt x="102" y="1749"/>
                  </a:lnTo>
                  <a:lnTo>
                    <a:pt x="95" y="1747"/>
                  </a:lnTo>
                  <a:lnTo>
                    <a:pt x="91" y="1745"/>
                  </a:lnTo>
                  <a:lnTo>
                    <a:pt x="89" y="1743"/>
                  </a:lnTo>
                  <a:lnTo>
                    <a:pt x="87" y="1741"/>
                  </a:lnTo>
                  <a:lnTo>
                    <a:pt x="84" y="1738"/>
                  </a:lnTo>
                  <a:lnTo>
                    <a:pt x="83" y="1733"/>
                  </a:lnTo>
                  <a:lnTo>
                    <a:pt x="82" y="1729"/>
                  </a:lnTo>
                  <a:lnTo>
                    <a:pt x="82" y="1725"/>
                  </a:lnTo>
                  <a:lnTo>
                    <a:pt x="83" y="1720"/>
                  </a:lnTo>
                  <a:lnTo>
                    <a:pt x="85" y="1712"/>
                  </a:lnTo>
                  <a:lnTo>
                    <a:pt x="88" y="1704"/>
                  </a:lnTo>
                  <a:lnTo>
                    <a:pt x="89" y="1682"/>
                  </a:lnTo>
                  <a:lnTo>
                    <a:pt x="89" y="1662"/>
                  </a:lnTo>
                  <a:lnTo>
                    <a:pt x="91" y="1653"/>
                  </a:lnTo>
                  <a:lnTo>
                    <a:pt x="94" y="1643"/>
                  </a:lnTo>
                  <a:lnTo>
                    <a:pt x="98" y="1633"/>
                  </a:lnTo>
                  <a:lnTo>
                    <a:pt x="105" y="1622"/>
                  </a:lnTo>
                  <a:lnTo>
                    <a:pt x="116" y="1611"/>
                  </a:lnTo>
                  <a:lnTo>
                    <a:pt x="128" y="1600"/>
                  </a:lnTo>
                  <a:lnTo>
                    <a:pt x="142" y="1590"/>
                  </a:lnTo>
                  <a:lnTo>
                    <a:pt x="156" y="1579"/>
                  </a:lnTo>
                  <a:lnTo>
                    <a:pt x="170" y="1568"/>
                  </a:lnTo>
                  <a:lnTo>
                    <a:pt x="182" y="1556"/>
                  </a:lnTo>
                  <a:lnTo>
                    <a:pt x="187" y="1550"/>
                  </a:lnTo>
                  <a:lnTo>
                    <a:pt x="190" y="1543"/>
                  </a:lnTo>
                  <a:lnTo>
                    <a:pt x="194" y="1536"/>
                  </a:lnTo>
                  <a:lnTo>
                    <a:pt x="196" y="1529"/>
                  </a:lnTo>
                  <a:lnTo>
                    <a:pt x="198" y="1520"/>
                  </a:lnTo>
                  <a:lnTo>
                    <a:pt x="201" y="1510"/>
                  </a:lnTo>
                  <a:lnTo>
                    <a:pt x="202" y="1497"/>
                  </a:lnTo>
                  <a:lnTo>
                    <a:pt x="203" y="1483"/>
                  </a:lnTo>
                  <a:lnTo>
                    <a:pt x="204" y="1454"/>
                  </a:lnTo>
                  <a:lnTo>
                    <a:pt x="204" y="1422"/>
                  </a:lnTo>
                  <a:lnTo>
                    <a:pt x="205" y="1407"/>
                  </a:lnTo>
                  <a:lnTo>
                    <a:pt x="206" y="1393"/>
                  </a:lnTo>
                  <a:lnTo>
                    <a:pt x="208" y="1380"/>
                  </a:lnTo>
                  <a:lnTo>
                    <a:pt x="210" y="1369"/>
                  </a:lnTo>
                  <a:lnTo>
                    <a:pt x="213" y="1358"/>
                  </a:lnTo>
                  <a:lnTo>
                    <a:pt x="217" y="1350"/>
                  </a:lnTo>
                  <a:lnTo>
                    <a:pt x="219" y="1348"/>
                  </a:lnTo>
                  <a:lnTo>
                    <a:pt x="223" y="1345"/>
                  </a:lnTo>
                  <a:lnTo>
                    <a:pt x="226" y="1343"/>
                  </a:lnTo>
                  <a:lnTo>
                    <a:pt x="230" y="1342"/>
                  </a:lnTo>
                  <a:lnTo>
                    <a:pt x="234" y="1341"/>
                  </a:lnTo>
                  <a:lnTo>
                    <a:pt x="238" y="1340"/>
                  </a:lnTo>
                  <a:lnTo>
                    <a:pt x="243" y="1337"/>
                  </a:lnTo>
                  <a:lnTo>
                    <a:pt x="246" y="1334"/>
                  </a:lnTo>
                  <a:lnTo>
                    <a:pt x="252" y="1327"/>
                  </a:lnTo>
                  <a:lnTo>
                    <a:pt x="258" y="1318"/>
                  </a:lnTo>
                  <a:lnTo>
                    <a:pt x="261" y="1308"/>
                  </a:lnTo>
                  <a:lnTo>
                    <a:pt x="265" y="1297"/>
                  </a:lnTo>
                  <a:lnTo>
                    <a:pt x="268" y="1284"/>
                  </a:lnTo>
                  <a:lnTo>
                    <a:pt x="270" y="1271"/>
                  </a:lnTo>
                  <a:lnTo>
                    <a:pt x="273" y="1244"/>
                  </a:lnTo>
                  <a:lnTo>
                    <a:pt x="276" y="1219"/>
                  </a:lnTo>
                  <a:lnTo>
                    <a:pt x="277" y="1207"/>
                  </a:lnTo>
                  <a:lnTo>
                    <a:pt x="279" y="1195"/>
                  </a:lnTo>
                  <a:lnTo>
                    <a:pt x="281" y="1185"/>
                  </a:lnTo>
                  <a:lnTo>
                    <a:pt x="284" y="1177"/>
                  </a:lnTo>
                  <a:lnTo>
                    <a:pt x="290" y="1162"/>
                  </a:lnTo>
                  <a:lnTo>
                    <a:pt x="298" y="1146"/>
                  </a:lnTo>
                  <a:lnTo>
                    <a:pt x="308" y="1131"/>
                  </a:lnTo>
                  <a:lnTo>
                    <a:pt x="316" y="1117"/>
                  </a:lnTo>
                  <a:lnTo>
                    <a:pt x="325" y="1103"/>
                  </a:lnTo>
                  <a:lnTo>
                    <a:pt x="334" y="1089"/>
                  </a:lnTo>
                  <a:lnTo>
                    <a:pt x="344" y="1075"/>
                  </a:lnTo>
                  <a:lnTo>
                    <a:pt x="352" y="1059"/>
                  </a:lnTo>
                  <a:lnTo>
                    <a:pt x="361" y="1036"/>
                  </a:lnTo>
                  <a:lnTo>
                    <a:pt x="371" y="1013"/>
                  </a:lnTo>
                  <a:lnTo>
                    <a:pt x="375" y="1000"/>
                  </a:lnTo>
                  <a:lnTo>
                    <a:pt x="380" y="988"/>
                  </a:lnTo>
                  <a:lnTo>
                    <a:pt x="386" y="978"/>
                  </a:lnTo>
                  <a:lnTo>
                    <a:pt x="393" y="966"/>
                  </a:lnTo>
                  <a:lnTo>
                    <a:pt x="397" y="960"/>
                  </a:lnTo>
                  <a:lnTo>
                    <a:pt x="403" y="954"/>
                  </a:lnTo>
                  <a:lnTo>
                    <a:pt x="410" y="950"/>
                  </a:lnTo>
                  <a:lnTo>
                    <a:pt x="418" y="945"/>
                  </a:lnTo>
                  <a:lnTo>
                    <a:pt x="437" y="938"/>
                  </a:lnTo>
                  <a:lnTo>
                    <a:pt x="457" y="931"/>
                  </a:lnTo>
                  <a:lnTo>
                    <a:pt x="500" y="921"/>
                  </a:lnTo>
                  <a:lnTo>
                    <a:pt x="536" y="911"/>
                  </a:lnTo>
                  <a:lnTo>
                    <a:pt x="543" y="910"/>
                  </a:lnTo>
                  <a:lnTo>
                    <a:pt x="551" y="909"/>
                  </a:lnTo>
                  <a:lnTo>
                    <a:pt x="558" y="909"/>
                  </a:lnTo>
                  <a:lnTo>
                    <a:pt x="566" y="910"/>
                  </a:lnTo>
                  <a:lnTo>
                    <a:pt x="581" y="911"/>
                  </a:lnTo>
                  <a:lnTo>
                    <a:pt x="595" y="911"/>
                  </a:lnTo>
                  <a:lnTo>
                    <a:pt x="607" y="909"/>
                  </a:lnTo>
                  <a:lnTo>
                    <a:pt x="616" y="903"/>
                  </a:lnTo>
                  <a:lnTo>
                    <a:pt x="627" y="896"/>
                  </a:lnTo>
                  <a:lnTo>
                    <a:pt x="636" y="889"/>
                  </a:lnTo>
                  <a:lnTo>
                    <a:pt x="645" y="881"/>
                  </a:lnTo>
                  <a:lnTo>
                    <a:pt x="656" y="874"/>
                  </a:lnTo>
                  <a:lnTo>
                    <a:pt x="667" y="868"/>
                  </a:lnTo>
                  <a:lnTo>
                    <a:pt x="679" y="864"/>
                  </a:lnTo>
                  <a:lnTo>
                    <a:pt x="687" y="863"/>
                  </a:lnTo>
                  <a:lnTo>
                    <a:pt x="694" y="861"/>
                  </a:lnTo>
                  <a:lnTo>
                    <a:pt x="700" y="858"/>
                  </a:lnTo>
                  <a:lnTo>
                    <a:pt x="705" y="854"/>
                  </a:lnTo>
                  <a:lnTo>
                    <a:pt x="709" y="850"/>
                  </a:lnTo>
                  <a:lnTo>
                    <a:pt x="713" y="844"/>
                  </a:lnTo>
                  <a:lnTo>
                    <a:pt x="716" y="838"/>
                  </a:lnTo>
                  <a:lnTo>
                    <a:pt x="719" y="832"/>
                  </a:lnTo>
                  <a:lnTo>
                    <a:pt x="727" y="804"/>
                  </a:lnTo>
                  <a:lnTo>
                    <a:pt x="737" y="776"/>
                  </a:lnTo>
                  <a:lnTo>
                    <a:pt x="748" y="752"/>
                  </a:lnTo>
                  <a:lnTo>
                    <a:pt x="758" y="731"/>
                  </a:lnTo>
                  <a:lnTo>
                    <a:pt x="765" y="723"/>
                  </a:lnTo>
                  <a:lnTo>
                    <a:pt x="773" y="715"/>
                  </a:lnTo>
                  <a:lnTo>
                    <a:pt x="778" y="711"/>
                  </a:lnTo>
                  <a:lnTo>
                    <a:pt x="784" y="708"/>
                  </a:lnTo>
                  <a:lnTo>
                    <a:pt x="790" y="705"/>
                  </a:lnTo>
                  <a:lnTo>
                    <a:pt x="797" y="703"/>
                  </a:lnTo>
                  <a:lnTo>
                    <a:pt x="808" y="698"/>
                  </a:lnTo>
                  <a:lnTo>
                    <a:pt x="818" y="693"/>
                  </a:lnTo>
                  <a:lnTo>
                    <a:pt x="826" y="687"/>
                  </a:lnTo>
                  <a:lnTo>
                    <a:pt x="831" y="680"/>
                  </a:lnTo>
                  <a:lnTo>
                    <a:pt x="837" y="672"/>
                  </a:lnTo>
                  <a:lnTo>
                    <a:pt x="842" y="665"/>
                  </a:lnTo>
                  <a:lnTo>
                    <a:pt x="845" y="657"/>
                  </a:lnTo>
                  <a:lnTo>
                    <a:pt x="848" y="647"/>
                  </a:lnTo>
                  <a:lnTo>
                    <a:pt x="855" y="631"/>
                  </a:lnTo>
                  <a:lnTo>
                    <a:pt x="862" y="615"/>
                  </a:lnTo>
                  <a:lnTo>
                    <a:pt x="868" y="606"/>
                  </a:lnTo>
                  <a:lnTo>
                    <a:pt x="873" y="598"/>
                  </a:lnTo>
                  <a:lnTo>
                    <a:pt x="880" y="591"/>
                  </a:lnTo>
                  <a:lnTo>
                    <a:pt x="890" y="586"/>
                  </a:lnTo>
                  <a:lnTo>
                    <a:pt x="915" y="573"/>
                  </a:lnTo>
                  <a:lnTo>
                    <a:pt x="933" y="563"/>
                  </a:lnTo>
                  <a:lnTo>
                    <a:pt x="935" y="561"/>
                  </a:lnTo>
                  <a:lnTo>
                    <a:pt x="939" y="558"/>
                  </a:lnTo>
                  <a:lnTo>
                    <a:pt x="940" y="553"/>
                  </a:lnTo>
                  <a:lnTo>
                    <a:pt x="941" y="548"/>
                  </a:lnTo>
                  <a:lnTo>
                    <a:pt x="942" y="537"/>
                  </a:lnTo>
                  <a:lnTo>
                    <a:pt x="940" y="519"/>
                  </a:lnTo>
                  <a:lnTo>
                    <a:pt x="936" y="492"/>
                  </a:lnTo>
                  <a:lnTo>
                    <a:pt x="933" y="467"/>
                  </a:lnTo>
                  <a:lnTo>
                    <a:pt x="928" y="440"/>
                  </a:lnTo>
                  <a:lnTo>
                    <a:pt x="921" y="416"/>
                  </a:lnTo>
                  <a:lnTo>
                    <a:pt x="916" y="404"/>
                  </a:lnTo>
                  <a:lnTo>
                    <a:pt x="911" y="392"/>
                  </a:lnTo>
                  <a:lnTo>
                    <a:pt x="905" y="382"/>
                  </a:lnTo>
                  <a:lnTo>
                    <a:pt x="898" y="371"/>
                  </a:lnTo>
                  <a:lnTo>
                    <a:pt x="890" y="362"/>
                  </a:lnTo>
                  <a:lnTo>
                    <a:pt x="880" y="353"/>
                  </a:lnTo>
                  <a:lnTo>
                    <a:pt x="870" y="345"/>
                  </a:lnTo>
                  <a:lnTo>
                    <a:pt x="858" y="336"/>
                  </a:lnTo>
                  <a:lnTo>
                    <a:pt x="849" y="332"/>
                  </a:lnTo>
                  <a:lnTo>
                    <a:pt x="837" y="328"/>
                  </a:lnTo>
                  <a:lnTo>
                    <a:pt x="826" y="326"/>
                  </a:lnTo>
                  <a:lnTo>
                    <a:pt x="813" y="323"/>
                  </a:lnTo>
                  <a:lnTo>
                    <a:pt x="786" y="318"/>
                  </a:lnTo>
                  <a:lnTo>
                    <a:pt x="758" y="312"/>
                  </a:lnTo>
                  <a:lnTo>
                    <a:pt x="745" y="310"/>
                  </a:lnTo>
                  <a:lnTo>
                    <a:pt x="733" y="305"/>
                  </a:lnTo>
                  <a:lnTo>
                    <a:pt x="722" y="300"/>
                  </a:lnTo>
                  <a:lnTo>
                    <a:pt x="713" y="295"/>
                  </a:lnTo>
                  <a:lnTo>
                    <a:pt x="705" y="289"/>
                  </a:lnTo>
                  <a:lnTo>
                    <a:pt x="698" y="281"/>
                  </a:lnTo>
                  <a:lnTo>
                    <a:pt x="696" y="276"/>
                  </a:lnTo>
                  <a:lnTo>
                    <a:pt x="694" y="271"/>
                  </a:lnTo>
                  <a:lnTo>
                    <a:pt x="693" y="265"/>
                  </a:lnTo>
                  <a:lnTo>
                    <a:pt x="693" y="260"/>
                  </a:lnTo>
                  <a:lnTo>
                    <a:pt x="702" y="238"/>
                  </a:lnTo>
                  <a:lnTo>
                    <a:pt x="713" y="220"/>
                  </a:lnTo>
                  <a:lnTo>
                    <a:pt x="717" y="213"/>
                  </a:lnTo>
                  <a:lnTo>
                    <a:pt x="722" y="207"/>
                  </a:lnTo>
                  <a:lnTo>
                    <a:pt x="728" y="203"/>
                  </a:lnTo>
                  <a:lnTo>
                    <a:pt x="734" y="198"/>
                  </a:lnTo>
                  <a:lnTo>
                    <a:pt x="747" y="191"/>
                  </a:lnTo>
                  <a:lnTo>
                    <a:pt x="762" y="185"/>
                  </a:lnTo>
                  <a:lnTo>
                    <a:pt x="779" y="181"/>
                  </a:lnTo>
                  <a:lnTo>
                    <a:pt x="801" y="174"/>
                  </a:lnTo>
                  <a:lnTo>
                    <a:pt x="834" y="164"/>
                  </a:lnTo>
                  <a:lnTo>
                    <a:pt x="864" y="157"/>
                  </a:lnTo>
                  <a:lnTo>
                    <a:pt x="879" y="155"/>
                  </a:lnTo>
                  <a:lnTo>
                    <a:pt x="896" y="155"/>
                  </a:lnTo>
                  <a:lnTo>
                    <a:pt x="912" y="156"/>
                  </a:lnTo>
                  <a:lnTo>
                    <a:pt x="929" y="158"/>
                  </a:lnTo>
                  <a:lnTo>
                    <a:pt x="950" y="163"/>
                  </a:lnTo>
                  <a:lnTo>
                    <a:pt x="969" y="167"/>
                  </a:lnTo>
                  <a:lnTo>
                    <a:pt x="987" y="169"/>
                  </a:lnTo>
                  <a:lnTo>
                    <a:pt x="1005" y="170"/>
                  </a:lnTo>
                  <a:lnTo>
                    <a:pt x="1014" y="170"/>
                  </a:lnTo>
                  <a:lnTo>
                    <a:pt x="1022" y="169"/>
                  </a:lnTo>
                  <a:lnTo>
                    <a:pt x="1031" y="168"/>
                  </a:lnTo>
                  <a:lnTo>
                    <a:pt x="1040" y="165"/>
                  </a:lnTo>
                  <a:lnTo>
                    <a:pt x="1048" y="162"/>
                  </a:lnTo>
                  <a:lnTo>
                    <a:pt x="1057" y="158"/>
                  </a:lnTo>
                  <a:lnTo>
                    <a:pt x="1067" y="153"/>
                  </a:lnTo>
                  <a:lnTo>
                    <a:pt x="1075" y="147"/>
                  </a:lnTo>
                  <a:lnTo>
                    <a:pt x="1102" y="128"/>
                  </a:lnTo>
                  <a:lnTo>
                    <a:pt x="1129" y="111"/>
                  </a:lnTo>
                  <a:lnTo>
                    <a:pt x="1143" y="101"/>
                  </a:lnTo>
                  <a:lnTo>
                    <a:pt x="1157" y="94"/>
                  </a:lnTo>
                  <a:lnTo>
                    <a:pt x="1171" y="87"/>
                  </a:lnTo>
                  <a:lnTo>
                    <a:pt x="1187" y="82"/>
                  </a:lnTo>
                  <a:lnTo>
                    <a:pt x="1249" y="56"/>
                  </a:lnTo>
                  <a:lnTo>
                    <a:pt x="1261" y="58"/>
                  </a:lnTo>
                  <a:lnTo>
                    <a:pt x="1272" y="61"/>
                  </a:lnTo>
                  <a:lnTo>
                    <a:pt x="1278" y="64"/>
                  </a:lnTo>
                  <a:lnTo>
                    <a:pt x="1284" y="68"/>
                  </a:lnTo>
                  <a:lnTo>
                    <a:pt x="1289" y="72"/>
                  </a:lnTo>
                  <a:lnTo>
                    <a:pt x="1292" y="77"/>
                  </a:lnTo>
                  <a:lnTo>
                    <a:pt x="1295" y="83"/>
                  </a:lnTo>
                  <a:lnTo>
                    <a:pt x="1296" y="87"/>
                  </a:lnTo>
                  <a:lnTo>
                    <a:pt x="1298" y="99"/>
                  </a:lnTo>
                  <a:lnTo>
                    <a:pt x="1302" y="110"/>
                  </a:lnTo>
                  <a:lnTo>
                    <a:pt x="1305" y="115"/>
                  </a:lnTo>
                  <a:lnTo>
                    <a:pt x="1309" y="120"/>
                  </a:lnTo>
                  <a:lnTo>
                    <a:pt x="1315" y="124"/>
                  </a:lnTo>
                  <a:lnTo>
                    <a:pt x="1322" y="128"/>
                  </a:lnTo>
                  <a:lnTo>
                    <a:pt x="1334" y="133"/>
                  </a:lnTo>
                  <a:lnTo>
                    <a:pt x="1346" y="136"/>
                  </a:lnTo>
                  <a:lnTo>
                    <a:pt x="1358" y="137"/>
                  </a:lnTo>
                  <a:lnTo>
                    <a:pt x="1369" y="139"/>
                  </a:lnTo>
                  <a:lnTo>
                    <a:pt x="1391" y="137"/>
                  </a:lnTo>
                  <a:lnTo>
                    <a:pt x="1417" y="134"/>
                  </a:lnTo>
                  <a:lnTo>
                    <a:pt x="1446" y="133"/>
                  </a:lnTo>
                  <a:lnTo>
                    <a:pt x="1468" y="133"/>
                  </a:lnTo>
                  <a:lnTo>
                    <a:pt x="1473" y="132"/>
                  </a:lnTo>
                  <a:lnTo>
                    <a:pt x="1478" y="129"/>
                  </a:lnTo>
                  <a:lnTo>
                    <a:pt x="1481" y="127"/>
                  </a:lnTo>
                  <a:lnTo>
                    <a:pt x="1485" y="122"/>
                  </a:lnTo>
                  <a:lnTo>
                    <a:pt x="1488" y="118"/>
                  </a:lnTo>
                  <a:lnTo>
                    <a:pt x="1490" y="111"/>
                  </a:lnTo>
                  <a:lnTo>
                    <a:pt x="1493" y="103"/>
                  </a:lnTo>
                  <a:lnTo>
                    <a:pt x="1495" y="93"/>
                  </a:lnTo>
                  <a:lnTo>
                    <a:pt x="1501" y="60"/>
                  </a:lnTo>
                  <a:lnTo>
                    <a:pt x="1505" y="37"/>
                  </a:lnTo>
                  <a:lnTo>
                    <a:pt x="1507" y="32"/>
                  </a:lnTo>
                  <a:lnTo>
                    <a:pt x="1509" y="27"/>
                  </a:lnTo>
                  <a:lnTo>
                    <a:pt x="1512" y="23"/>
                  </a:lnTo>
                  <a:lnTo>
                    <a:pt x="1516" y="19"/>
                  </a:lnTo>
                  <a:lnTo>
                    <a:pt x="1526" y="9"/>
                  </a:lnTo>
                  <a:lnTo>
                    <a:pt x="1542" y="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sz="1200" dirty="0"/>
            </a:p>
          </p:txBody>
        </p:sp>
        <p:sp>
          <p:nvSpPr>
            <p:cNvPr id="19" name="Freeform 58"/>
            <p:cNvSpPr>
              <a:spLocks/>
            </p:cNvSpPr>
            <p:nvPr/>
          </p:nvSpPr>
          <p:spPr bwMode="auto">
            <a:xfrm>
              <a:off x="3830824" y="5121897"/>
              <a:ext cx="428814" cy="773875"/>
            </a:xfrm>
            <a:custGeom>
              <a:avLst/>
              <a:gdLst>
                <a:gd name="T0" fmla="*/ 280 w 1278"/>
                <a:gd name="T1" fmla="*/ 463 h 2309"/>
                <a:gd name="T2" fmla="*/ 235 w 1278"/>
                <a:gd name="T3" fmla="*/ 372 h 2309"/>
                <a:gd name="T4" fmla="*/ 158 w 1278"/>
                <a:gd name="T5" fmla="*/ 319 h 2309"/>
                <a:gd name="T6" fmla="*/ 79 w 1278"/>
                <a:gd name="T7" fmla="*/ 139 h 2309"/>
                <a:gd name="T8" fmla="*/ 138 w 1278"/>
                <a:gd name="T9" fmla="*/ 68 h 2309"/>
                <a:gd name="T10" fmla="*/ 219 w 1278"/>
                <a:gd name="T11" fmla="*/ 134 h 2309"/>
                <a:gd name="T12" fmla="*/ 270 w 1278"/>
                <a:gd name="T13" fmla="*/ 229 h 2309"/>
                <a:gd name="T14" fmla="*/ 404 w 1278"/>
                <a:gd name="T15" fmla="*/ 336 h 2309"/>
                <a:gd name="T16" fmla="*/ 518 w 1278"/>
                <a:gd name="T17" fmla="*/ 387 h 2309"/>
                <a:gd name="T18" fmla="*/ 628 w 1278"/>
                <a:gd name="T19" fmla="*/ 432 h 2309"/>
                <a:gd name="T20" fmla="*/ 720 w 1278"/>
                <a:gd name="T21" fmla="*/ 462 h 2309"/>
                <a:gd name="T22" fmla="*/ 774 w 1278"/>
                <a:gd name="T23" fmla="*/ 511 h 2309"/>
                <a:gd name="T24" fmla="*/ 685 w 1278"/>
                <a:gd name="T25" fmla="*/ 598 h 2309"/>
                <a:gd name="T26" fmla="*/ 691 w 1278"/>
                <a:gd name="T27" fmla="*/ 641 h 2309"/>
                <a:gd name="T28" fmla="*/ 782 w 1278"/>
                <a:gd name="T29" fmla="*/ 672 h 2309"/>
                <a:gd name="T30" fmla="*/ 826 w 1278"/>
                <a:gd name="T31" fmla="*/ 697 h 2309"/>
                <a:gd name="T32" fmla="*/ 806 w 1278"/>
                <a:gd name="T33" fmla="*/ 778 h 2309"/>
                <a:gd name="T34" fmla="*/ 832 w 1278"/>
                <a:gd name="T35" fmla="*/ 800 h 2309"/>
                <a:gd name="T36" fmla="*/ 918 w 1278"/>
                <a:gd name="T37" fmla="*/ 804 h 2309"/>
                <a:gd name="T38" fmla="*/ 889 w 1278"/>
                <a:gd name="T39" fmla="*/ 896 h 2309"/>
                <a:gd name="T40" fmla="*/ 925 w 1278"/>
                <a:gd name="T41" fmla="*/ 930 h 2309"/>
                <a:gd name="T42" fmla="*/ 986 w 1278"/>
                <a:gd name="T43" fmla="*/ 986 h 2309"/>
                <a:gd name="T44" fmla="*/ 994 w 1278"/>
                <a:gd name="T45" fmla="*/ 1057 h 2309"/>
                <a:gd name="T46" fmla="*/ 953 w 1278"/>
                <a:gd name="T47" fmla="*/ 1100 h 2309"/>
                <a:gd name="T48" fmla="*/ 993 w 1278"/>
                <a:gd name="T49" fmla="*/ 1139 h 2309"/>
                <a:gd name="T50" fmla="*/ 987 w 1278"/>
                <a:gd name="T51" fmla="*/ 1207 h 2309"/>
                <a:gd name="T52" fmla="*/ 996 w 1278"/>
                <a:gd name="T53" fmla="*/ 1275 h 2309"/>
                <a:gd name="T54" fmla="*/ 1046 w 1278"/>
                <a:gd name="T55" fmla="*/ 1306 h 2309"/>
                <a:gd name="T56" fmla="*/ 1149 w 1278"/>
                <a:gd name="T57" fmla="*/ 1259 h 2309"/>
                <a:gd name="T58" fmla="*/ 1170 w 1278"/>
                <a:gd name="T59" fmla="*/ 1299 h 2309"/>
                <a:gd name="T60" fmla="*/ 1202 w 1278"/>
                <a:gd name="T61" fmla="*/ 1391 h 2309"/>
                <a:gd name="T62" fmla="*/ 1195 w 1278"/>
                <a:gd name="T63" fmla="*/ 1516 h 2309"/>
                <a:gd name="T64" fmla="*/ 1199 w 1278"/>
                <a:gd name="T65" fmla="*/ 1633 h 2309"/>
                <a:gd name="T66" fmla="*/ 1262 w 1278"/>
                <a:gd name="T67" fmla="*/ 1620 h 2309"/>
                <a:gd name="T68" fmla="*/ 1278 w 1278"/>
                <a:gd name="T69" fmla="*/ 1667 h 2309"/>
                <a:gd name="T70" fmla="*/ 1220 w 1278"/>
                <a:gd name="T71" fmla="*/ 1820 h 2309"/>
                <a:gd name="T72" fmla="*/ 1164 w 1278"/>
                <a:gd name="T73" fmla="*/ 1942 h 2309"/>
                <a:gd name="T74" fmla="*/ 1201 w 1278"/>
                <a:gd name="T75" fmla="*/ 2004 h 2309"/>
                <a:gd name="T76" fmla="*/ 1205 w 1278"/>
                <a:gd name="T77" fmla="*/ 2049 h 2309"/>
                <a:gd name="T78" fmla="*/ 1196 w 1278"/>
                <a:gd name="T79" fmla="*/ 2106 h 2309"/>
                <a:gd name="T80" fmla="*/ 1226 w 1278"/>
                <a:gd name="T81" fmla="*/ 2169 h 2309"/>
                <a:gd name="T82" fmla="*/ 1171 w 1278"/>
                <a:gd name="T83" fmla="*/ 2242 h 2309"/>
                <a:gd name="T84" fmla="*/ 1074 w 1278"/>
                <a:gd name="T85" fmla="*/ 2235 h 2309"/>
                <a:gd name="T86" fmla="*/ 960 w 1278"/>
                <a:gd name="T87" fmla="*/ 2090 h 2309"/>
                <a:gd name="T88" fmla="*/ 869 w 1278"/>
                <a:gd name="T89" fmla="*/ 1990 h 2309"/>
                <a:gd name="T90" fmla="*/ 865 w 1278"/>
                <a:gd name="T91" fmla="*/ 1956 h 2309"/>
                <a:gd name="T92" fmla="*/ 907 w 1278"/>
                <a:gd name="T93" fmla="*/ 1924 h 2309"/>
                <a:gd name="T94" fmla="*/ 858 w 1278"/>
                <a:gd name="T95" fmla="*/ 1926 h 2309"/>
                <a:gd name="T96" fmla="*/ 812 w 1278"/>
                <a:gd name="T97" fmla="*/ 1832 h 2309"/>
                <a:gd name="T98" fmla="*/ 767 w 1278"/>
                <a:gd name="T99" fmla="*/ 1757 h 2309"/>
                <a:gd name="T100" fmla="*/ 733 w 1278"/>
                <a:gd name="T101" fmla="*/ 1591 h 2309"/>
                <a:gd name="T102" fmla="*/ 734 w 1278"/>
                <a:gd name="T103" fmla="*/ 1528 h 2309"/>
                <a:gd name="T104" fmla="*/ 759 w 1278"/>
                <a:gd name="T105" fmla="*/ 1594 h 2309"/>
                <a:gd name="T106" fmla="*/ 766 w 1278"/>
                <a:gd name="T107" fmla="*/ 1645 h 2309"/>
                <a:gd name="T108" fmla="*/ 797 w 1278"/>
                <a:gd name="T109" fmla="*/ 1644 h 2309"/>
                <a:gd name="T110" fmla="*/ 744 w 1278"/>
                <a:gd name="T111" fmla="*/ 1456 h 2309"/>
                <a:gd name="T112" fmla="*/ 624 w 1278"/>
                <a:gd name="T113" fmla="*/ 1190 h 2309"/>
                <a:gd name="T114" fmla="*/ 515 w 1278"/>
                <a:gd name="T115" fmla="*/ 931 h 2309"/>
                <a:gd name="T116" fmla="*/ 475 w 1278"/>
                <a:gd name="T117" fmla="*/ 816 h 2309"/>
                <a:gd name="T118" fmla="*/ 410 w 1278"/>
                <a:gd name="T119" fmla="*/ 665 h 2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78" h="2309">
                  <a:moveTo>
                    <a:pt x="356" y="557"/>
                  </a:moveTo>
                  <a:lnTo>
                    <a:pt x="350" y="548"/>
                  </a:lnTo>
                  <a:lnTo>
                    <a:pt x="344" y="540"/>
                  </a:lnTo>
                  <a:lnTo>
                    <a:pt x="337" y="531"/>
                  </a:lnTo>
                  <a:lnTo>
                    <a:pt x="332" y="522"/>
                  </a:lnTo>
                  <a:lnTo>
                    <a:pt x="311" y="499"/>
                  </a:lnTo>
                  <a:lnTo>
                    <a:pt x="290" y="475"/>
                  </a:lnTo>
                  <a:lnTo>
                    <a:pt x="280" y="463"/>
                  </a:lnTo>
                  <a:lnTo>
                    <a:pt x="271" y="451"/>
                  </a:lnTo>
                  <a:lnTo>
                    <a:pt x="262" y="439"/>
                  </a:lnTo>
                  <a:lnTo>
                    <a:pt x="255" y="425"/>
                  </a:lnTo>
                  <a:lnTo>
                    <a:pt x="245" y="404"/>
                  </a:lnTo>
                  <a:lnTo>
                    <a:pt x="241" y="390"/>
                  </a:lnTo>
                  <a:lnTo>
                    <a:pt x="238" y="382"/>
                  </a:lnTo>
                  <a:lnTo>
                    <a:pt x="237" y="376"/>
                  </a:lnTo>
                  <a:lnTo>
                    <a:pt x="235" y="372"/>
                  </a:lnTo>
                  <a:lnTo>
                    <a:pt x="228" y="370"/>
                  </a:lnTo>
                  <a:lnTo>
                    <a:pt x="216" y="365"/>
                  </a:lnTo>
                  <a:lnTo>
                    <a:pt x="198" y="357"/>
                  </a:lnTo>
                  <a:lnTo>
                    <a:pt x="191" y="354"/>
                  </a:lnTo>
                  <a:lnTo>
                    <a:pt x="185" y="349"/>
                  </a:lnTo>
                  <a:lnTo>
                    <a:pt x="178" y="343"/>
                  </a:lnTo>
                  <a:lnTo>
                    <a:pt x="171" y="335"/>
                  </a:lnTo>
                  <a:lnTo>
                    <a:pt x="158" y="319"/>
                  </a:lnTo>
                  <a:lnTo>
                    <a:pt x="146" y="299"/>
                  </a:lnTo>
                  <a:lnTo>
                    <a:pt x="135" y="279"/>
                  </a:lnTo>
                  <a:lnTo>
                    <a:pt x="126" y="259"/>
                  </a:lnTo>
                  <a:lnTo>
                    <a:pt x="119" y="241"/>
                  </a:lnTo>
                  <a:lnTo>
                    <a:pt x="113" y="226"/>
                  </a:lnTo>
                  <a:lnTo>
                    <a:pt x="105" y="199"/>
                  </a:lnTo>
                  <a:lnTo>
                    <a:pt x="93" y="170"/>
                  </a:lnTo>
                  <a:lnTo>
                    <a:pt x="79" y="139"/>
                  </a:lnTo>
                  <a:lnTo>
                    <a:pt x="64" y="108"/>
                  </a:lnTo>
                  <a:lnTo>
                    <a:pt x="49" y="77"/>
                  </a:lnTo>
                  <a:lnTo>
                    <a:pt x="31" y="49"/>
                  </a:lnTo>
                  <a:lnTo>
                    <a:pt x="15" y="22"/>
                  </a:lnTo>
                  <a:lnTo>
                    <a:pt x="0" y="0"/>
                  </a:lnTo>
                  <a:lnTo>
                    <a:pt x="121" y="53"/>
                  </a:lnTo>
                  <a:lnTo>
                    <a:pt x="129" y="62"/>
                  </a:lnTo>
                  <a:lnTo>
                    <a:pt x="138" y="68"/>
                  </a:lnTo>
                  <a:lnTo>
                    <a:pt x="149" y="75"/>
                  </a:lnTo>
                  <a:lnTo>
                    <a:pt x="159" y="81"/>
                  </a:lnTo>
                  <a:lnTo>
                    <a:pt x="171" y="88"/>
                  </a:lnTo>
                  <a:lnTo>
                    <a:pt x="181" y="95"/>
                  </a:lnTo>
                  <a:lnTo>
                    <a:pt x="192" y="103"/>
                  </a:lnTo>
                  <a:lnTo>
                    <a:pt x="201" y="113"/>
                  </a:lnTo>
                  <a:lnTo>
                    <a:pt x="212" y="123"/>
                  </a:lnTo>
                  <a:lnTo>
                    <a:pt x="219" y="134"/>
                  </a:lnTo>
                  <a:lnTo>
                    <a:pt x="224" y="143"/>
                  </a:lnTo>
                  <a:lnTo>
                    <a:pt x="229" y="152"/>
                  </a:lnTo>
                  <a:lnTo>
                    <a:pt x="238" y="173"/>
                  </a:lnTo>
                  <a:lnTo>
                    <a:pt x="249" y="197"/>
                  </a:lnTo>
                  <a:lnTo>
                    <a:pt x="252" y="205"/>
                  </a:lnTo>
                  <a:lnTo>
                    <a:pt x="258" y="213"/>
                  </a:lnTo>
                  <a:lnTo>
                    <a:pt x="264" y="221"/>
                  </a:lnTo>
                  <a:lnTo>
                    <a:pt x="270" y="229"/>
                  </a:lnTo>
                  <a:lnTo>
                    <a:pt x="285" y="245"/>
                  </a:lnTo>
                  <a:lnTo>
                    <a:pt x="301" y="261"/>
                  </a:lnTo>
                  <a:lnTo>
                    <a:pt x="335" y="292"/>
                  </a:lnTo>
                  <a:lnTo>
                    <a:pt x="365" y="320"/>
                  </a:lnTo>
                  <a:lnTo>
                    <a:pt x="373" y="327"/>
                  </a:lnTo>
                  <a:lnTo>
                    <a:pt x="383" y="330"/>
                  </a:lnTo>
                  <a:lnTo>
                    <a:pt x="392" y="334"/>
                  </a:lnTo>
                  <a:lnTo>
                    <a:pt x="404" y="336"/>
                  </a:lnTo>
                  <a:lnTo>
                    <a:pt x="426" y="340"/>
                  </a:lnTo>
                  <a:lnTo>
                    <a:pt x="446" y="343"/>
                  </a:lnTo>
                  <a:lnTo>
                    <a:pt x="461" y="349"/>
                  </a:lnTo>
                  <a:lnTo>
                    <a:pt x="474" y="355"/>
                  </a:lnTo>
                  <a:lnTo>
                    <a:pt x="484" y="363"/>
                  </a:lnTo>
                  <a:lnTo>
                    <a:pt x="495" y="371"/>
                  </a:lnTo>
                  <a:lnTo>
                    <a:pt x="506" y="379"/>
                  </a:lnTo>
                  <a:lnTo>
                    <a:pt x="518" y="387"/>
                  </a:lnTo>
                  <a:lnTo>
                    <a:pt x="524" y="391"/>
                  </a:lnTo>
                  <a:lnTo>
                    <a:pt x="531" y="394"/>
                  </a:lnTo>
                  <a:lnTo>
                    <a:pt x="539" y="397"/>
                  </a:lnTo>
                  <a:lnTo>
                    <a:pt x="547" y="399"/>
                  </a:lnTo>
                  <a:lnTo>
                    <a:pt x="568" y="405"/>
                  </a:lnTo>
                  <a:lnTo>
                    <a:pt x="589" y="413"/>
                  </a:lnTo>
                  <a:lnTo>
                    <a:pt x="609" y="422"/>
                  </a:lnTo>
                  <a:lnTo>
                    <a:pt x="628" y="432"/>
                  </a:lnTo>
                  <a:lnTo>
                    <a:pt x="647" y="441"/>
                  </a:lnTo>
                  <a:lnTo>
                    <a:pt x="667" y="449"/>
                  </a:lnTo>
                  <a:lnTo>
                    <a:pt x="676" y="453"/>
                  </a:lnTo>
                  <a:lnTo>
                    <a:pt x="687" y="455"/>
                  </a:lnTo>
                  <a:lnTo>
                    <a:pt x="696" y="457"/>
                  </a:lnTo>
                  <a:lnTo>
                    <a:pt x="706" y="458"/>
                  </a:lnTo>
                  <a:lnTo>
                    <a:pt x="713" y="460"/>
                  </a:lnTo>
                  <a:lnTo>
                    <a:pt x="720" y="462"/>
                  </a:lnTo>
                  <a:lnTo>
                    <a:pt x="727" y="464"/>
                  </a:lnTo>
                  <a:lnTo>
                    <a:pt x="734" y="468"/>
                  </a:lnTo>
                  <a:lnTo>
                    <a:pt x="740" y="471"/>
                  </a:lnTo>
                  <a:lnTo>
                    <a:pt x="746" y="476"/>
                  </a:lnTo>
                  <a:lnTo>
                    <a:pt x="752" y="480"/>
                  </a:lnTo>
                  <a:lnTo>
                    <a:pt x="756" y="486"/>
                  </a:lnTo>
                  <a:lnTo>
                    <a:pt x="766" y="498"/>
                  </a:lnTo>
                  <a:lnTo>
                    <a:pt x="774" y="511"/>
                  </a:lnTo>
                  <a:lnTo>
                    <a:pt x="779" y="525"/>
                  </a:lnTo>
                  <a:lnTo>
                    <a:pt x="782" y="539"/>
                  </a:lnTo>
                  <a:lnTo>
                    <a:pt x="729" y="582"/>
                  </a:lnTo>
                  <a:lnTo>
                    <a:pt x="716" y="586"/>
                  </a:lnTo>
                  <a:lnTo>
                    <a:pt x="701" y="590"/>
                  </a:lnTo>
                  <a:lnTo>
                    <a:pt x="694" y="593"/>
                  </a:lnTo>
                  <a:lnTo>
                    <a:pt x="688" y="596"/>
                  </a:lnTo>
                  <a:lnTo>
                    <a:pt x="685" y="598"/>
                  </a:lnTo>
                  <a:lnTo>
                    <a:pt x="683" y="600"/>
                  </a:lnTo>
                  <a:lnTo>
                    <a:pt x="682" y="603"/>
                  </a:lnTo>
                  <a:lnTo>
                    <a:pt x="682" y="605"/>
                  </a:lnTo>
                  <a:lnTo>
                    <a:pt x="681" y="614"/>
                  </a:lnTo>
                  <a:lnTo>
                    <a:pt x="682" y="622"/>
                  </a:lnTo>
                  <a:lnTo>
                    <a:pt x="684" y="629"/>
                  </a:lnTo>
                  <a:lnTo>
                    <a:pt x="688" y="636"/>
                  </a:lnTo>
                  <a:lnTo>
                    <a:pt x="691" y="641"/>
                  </a:lnTo>
                  <a:lnTo>
                    <a:pt x="696" y="647"/>
                  </a:lnTo>
                  <a:lnTo>
                    <a:pt x="701" y="650"/>
                  </a:lnTo>
                  <a:lnTo>
                    <a:pt x="706" y="654"/>
                  </a:lnTo>
                  <a:lnTo>
                    <a:pt x="720" y="660"/>
                  </a:lnTo>
                  <a:lnTo>
                    <a:pt x="735" y="664"/>
                  </a:lnTo>
                  <a:lnTo>
                    <a:pt x="751" y="667"/>
                  </a:lnTo>
                  <a:lnTo>
                    <a:pt x="767" y="669"/>
                  </a:lnTo>
                  <a:lnTo>
                    <a:pt x="782" y="672"/>
                  </a:lnTo>
                  <a:lnTo>
                    <a:pt x="796" y="675"/>
                  </a:lnTo>
                  <a:lnTo>
                    <a:pt x="802" y="677"/>
                  </a:lnTo>
                  <a:lnTo>
                    <a:pt x="808" y="678"/>
                  </a:lnTo>
                  <a:lnTo>
                    <a:pt x="813" y="682"/>
                  </a:lnTo>
                  <a:lnTo>
                    <a:pt x="818" y="684"/>
                  </a:lnTo>
                  <a:lnTo>
                    <a:pt x="822" y="688"/>
                  </a:lnTo>
                  <a:lnTo>
                    <a:pt x="825" y="692"/>
                  </a:lnTo>
                  <a:lnTo>
                    <a:pt x="826" y="697"/>
                  </a:lnTo>
                  <a:lnTo>
                    <a:pt x="827" y="702"/>
                  </a:lnTo>
                  <a:lnTo>
                    <a:pt x="827" y="709"/>
                  </a:lnTo>
                  <a:lnTo>
                    <a:pt x="826" y="716"/>
                  </a:lnTo>
                  <a:lnTo>
                    <a:pt x="824" y="724"/>
                  </a:lnTo>
                  <a:lnTo>
                    <a:pt x="819" y="732"/>
                  </a:lnTo>
                  <a:lnTo>
                    <a:pt x="815" y="746"/>
                  </a:lnTo>
                  <a:lnTo>
                    <a:pt x="809" y="768"/>
                  </a:lnTo>
                  <a:lnTo>
                    <a:pt x="806" y="778"/>
                  </a:lnTo>
                  <a:lnTo>
                    <a:pt x="806" y="789"/>
                  </a:lnTo>
                  <a:lnTo>
                    <a:pt x="806" y="792"/>
                  </a:lnTo>
                  <a:lnTo>
                    <a:pt x="808" y="796"/>
                  </a:lnTo>
                  <a:lnTo>
                    <a:pt x="809" y="798"/>
                  </a:lnTo>
                  <a:lnTo>
                    <a:pt x="810" y="799"/>
                  </a:lnTo>
                  <a:lnTo>
                    <a:pt x="816" y="800"/>
                  </a:lnTo>
                  <a:lnTo>
                    <a:pt x="824" y="800"/>
                  </a:lnTo>
                  <a:lnTo>
                    <a:pt x="832" y="800"/>
                  </a:lnTo>
                  <a:lnTo>
                    <a:pt x="843" y="798"/>
                  </a:lnTo>
                  <a:lnTo>
                    <a:pt x="864" y="796"/>
                  </a:lnTo>
                  <a:lnTo>
                    <a:pt x="884" y="794"/>
                  </a:lnTo>
                  <a:lnTo>
                    <a:pt x="895" y="794"/>
                  </a:lnTo>
                  <a:lnTo>
                    <a:pt x="903" y="795"/>
                  </a:lnTo>
                  <a:lnTo>
                    <a:pt x="910" y="797"/>
                  </a:lnTo>
                  <a:lnTo>
                    <a:pt x="916" y="800"/>
                  </a:lnTo>
                  <a:lnTo>
                    <a:pt x="918" y="804"/>
                  </a:lnTo>
                  <a:lnTo>
                    <a:pt x="919" y="806"/>
                  </a:lnTo>
                  <a:lnTo>
                    <a:pt x="921" y="811"/>
                  </a:lnTo>
                  <a:lnTo>
                    <a:pt x="921" y="814"/>
                  </a:lnTo>
                  <a:lnTo>
                    <a:pt x="919" y="825"/>
                  </a:lnTo>
                  <a:lnTo>
                    <a:pt x="915" y="839"/>
                  </a:lnTo>
                  <a:lnTo>
                    <a:pt x="902" y="864"/>
                  </a:lnTo>
                  <a:lnTo>
                    <a:pt x="890" y="890"/>
                  </a:lnTo>
                  <a:lnTo>
                    <a:pt x="889" y="896"/>
                  </a:lnTo>
                  <a:lnTo>
                    <a:pt x="888" y="902"/>
                  </a:lnTo>
                  <a:lnTo>
                    <a:pt x="889" y="906"/>
                  </a:lnTo>
                  <a:lnTo>
                    <a:pt x="891" y="912"/>
                  </a:lnTo>
                  <a:lnTo>
                    <a:pt x="895" y="917"/>
                  </a:lnTo>
                  <a:lnTo>
                    <a:pt x="900" y="920"/>
                  </a:lnTo>
                  <a:lnTo>
                    <a:pt x="907" y="924"/>
                  </a:lnTo>
                  <a:lnTo>
                    <a:pt x="916" y="927"/>
                  </a:lnTo>
                  <a:lnTo>
                    <a:pt x="925" y="930"/>
                  </a:lnTo>
                  <a:lnTo>
                    <a:pt x="935" y="933"/>
                  </a:lnTo>
                  <a:lnTo>
                    <a:pt x="944" y="938"/>
                  </a:lnTo>
                  <a:lnTo>
                    <a:pt x="953" y="944"/>
                  </a:lnTo>
                  <a:lnTo>
                    <a:pt x="961" y="949"/>
                  </a:lnTo>
                  <a:lnTo>
                    <a:pt x="969" y="955"/>
                  </a:lnTo>
                  <a:lnTo>
                    <a:pt x="975" y="963"/>
                  </a:lnTo>
                  <a:lnTo>
                    <a:pt x="980" y="970"/>
                  </a:lnTo>
                  <a:lnTo>
                    <a:pt x="986" y="986"/>
                  </a:lnTo>
                  <a:lnTo>
                    <a:pt x="992" y="1001"/>
                  </a:lnTo>
                  <a:lnTo>
                    <a:pt x="996" y="1016"/>
                  </a:lnTo>
                  <a:lnTo>
                    <a:pt x="1002" y="1031"/>
                  </a:lnTo>
                  <a:lnTo>
                    <a:pt x="1004" y="1037"/>
                  </a:lnTo>
                  <a:lnTo>
                    <a:pt x="1004" y="1041"/>
                  </a:lnTo>
                  <a:lnTo>
                    <a:pt x="1004" y="1046"/>
                  </a:lnTo>
                  <a:lnTo>
                    <a:pt x="1002" y="1051"/>
                  </a:lnTo>
                  <a:lnTo>
                    <a:pt x="994" y="1057"/>
                  </a:lnTo>
                  <a:lnTo>
                    <a:pt x="983" y="1062"/>
                  </a:lnTo>
                  <a:lnTo>
                    <a:pt x="973" y="1067"/>
                  </a:lnTo>
                  <a:lnTo>
                    <a:pt x="962" y="1074"/>
                  </a:lnTo>
                  <a:lnTo>
                    <a:pt x="959" y="1079"/>
                  </a:lnTo>
                  <a:lnTo>
                    <a:pt x="955" y="1083"/>
                  </a:lnTo>
                  <a:lnTo>
                    <a:pt x="953" y="1088"/>
                  </a:lnTo>
                  <a:lnTo>
                    <a:pt x="952" y="1095"/>
                  </a:lnTo>
                  <a:lnTo>
                    <a:pt x="953" y="1100"/>
                  </a:lnTo>
                  <a:lnTo>
                    <a:pt x="955" y="1103"/>
                  </a:lnTo>
                  <a:lnTo>
                    <a:pt x="958" y="1107"/>
                  </a:lnTo>
                  <a:lnTo>
                    <a:pt x="961" y="1110"/>
                  </a:lnTo>
                  <a:lnTo>
                    <a:pt x="971" y="1117"/>
                  </a:lnTo>
                  <a:lnTo>
                    <a:pt x="981" y="1124"/>
                  </a:lnTo>
                  <a:lnTo>
                    <a:pt x="986" y="1129"/>
                  </a:lnTo>
                  <a:lnTo>
                    <a:pt x="989" y="1133"/>
                  </a:lnTo>
                  <a:lnTo>
                    <a:pt x="993" y="1139"/>
                  </a:lnTo>
                  <a:lnTo>
                    <a:pt x="996" y="1146"/>
                  </a:lnTo>
                  <a:lnTo>
                    <a:pt x="997" y="1153"/>
                  </a:lnTo>
                  <a:lnTo>
                    <a:pt x="999" y="1162"/>
                  </a:lnTo>
                  <a:lnTo>
                    <a:pt x="997" y="1172"/>
                  </a:lnTo>
                  <a:lnTo>
                    <a:pt x="994" y="1182"/>
                  </a:lnTo>
                  <a:lnTo>
                    <a:pt x="992" y="1190"/>
                  </a:lnTo>
                  <a:lnTo>
                    <a:pt x="989" y="1198"/>
                  </a:lnTo>
                  <a:lnTo>
                    <a:pt x="987" y="1207"/>
                  </a:lnTo>
                  <a:lnTo>
                    <a:pt x="986" y="1215"/>
                  </a:lnTo>
                  <a:lnTo>
                    <a:pt x="985" y="1224"/>
                  </a:lnTo>
                  <a:lnTo>
                    <a:pt x="985" y="1233"/>
                  </a:lnTo>
                  <a:lnTo>
                    <a:pt x="986" y="1242"/>
                  </a:lnTo>
                  <a:lnTo>
                    <a:pt x="987" y="1251"/>
                  </a:lnTo>
                  <a:lnTo>
                    <a:pt x="989" y="1259"/>
                  </a:lnTo>
                  <a:lnTo>
                    <a:pt x="993" y="1267"/>
                  </a:lnTo>
                  <a:lnTo>
                    <a:pt x="996" y="1275"/>
                  </a:lnTo>
                  <a:lnTo>
                    <a:pt x="1001" y="1282"/>
                  </a:lnTo>
                  <a:lnTo>
                    <a:pt x="1007" y="1289"/>
                  </a:lnTo>
                  <a:lnTo>
                    <a:pt x="1013" y="1294"/>
                  </a:lnTo>
                  <a:lnTo>
                    <a:pt x="1020" y="1300"/>
                  </a:lnTo>
                  <a:lnTo>
                    <a:pt x="1028" y="1303"/>
                  </a:lnTo>
                  <a:lnTo>
                    <a:pt x="1035" y="1304"/>
                  </a:lnTo>
                  <a:lnTo>
                    <a:pt x="1040" y="1306"/>
                  </a:lnTo>
                  <a:lnTo>
                    <a:pt x="1046" y="1306"/>
                  </a:lnTo>
                  <a:lnTo>
                    <a:pt x="1053" y="1304"/>
                  </a:lnTo>
                  <a:lnTo>
                    <a:pt x="1066" y="1302"/>
                  </a:lnTo>
                  <a:lnTo>
                    <a:pt x="1079" y="1296"/>
                  </a:lnTo>
                  <a:lnTo>
                    <a:pt x="1103" y="1282"/>
                  </a:lnTo>
                  <a:lnTo>
                    <a:pt x="1125" y="1268"/>
                  </a:lnTo>
                  <a:lnTo>
                    <a:pt x="1135" y="1264"/>
                  </a:lnTo>
                  <a:lnTo>
                    <a:pt x="1144" y="1260"/>
                  </a:lnTo>
                  <a:lnTo>
                    <a:pt x="1149" y="1259"/>
                  </a:lnTo>
                  <a:lnTo>
                    <a:pt x="1152" y="1259"/>
                  </a:lnTo>
                  <a:lnTo>
                    <a:pt x="1156" y="1260"/>
                  </a:lnTo>
                  <a:lnTo>
                    <a:pt x="1159" y="1263"/>
                  </a:lnTo>
                  <a:lnTo>
                    <a:pt x="1162" y="1266"/>
                  </a:lnTo>
                  <a:lnTo>
                    <a:pt x="1164" y="1269"/>
                  </a:lnTo>
                  <a:lnTo>
                    <a:pt x="1166" y="1275"/>
                  </a:lnTo>
                  <a:lnTo>
                    <a:pt x="1167" y="1281"/>
                  </a:lnTo>
                  <a:lnTo>
                    <a:pt x="1170" y="1299"/>
                  </a:lnTo>
                  <a:lnTo>
                    <a:pt x="1170" y="1322"/>
                  </a:lnTo>
                  <a:lnTo>
                    <a:pt x="1171" y="1332"/>
                  </a:lnTo>
                  <a:lnTo>
                    <a:pt x="1172" y="1340"/>
                  </a:lnTo>
                  <a:lnTo>
                    <a:pt x="1175" y="1347"/>
                  </a:lnTo>
                  <a:lnTo>
                    <a:pt x="1180" y="1356"/>
                  </a:lnTo>
                  <a:lnTo>
                    <a:pt x="1189" y="1368"/>
                  </a:lnTo>
                  <a:lnTo>
                    <a:pt x="1200" y="1385"/>
                  </a:lnTo>
                  <a:lnTo>
                    <a:pt x="1202" y="1391"/>
                  </a:lnTo>
                  <a:lnTo>
                    <a:pt x="1203" y="1397"/>
                  </a:lnTo>
                  <a:lnTo>
                    <a:pt x="1205" y="1406"/>
                  </a:lnTo>
                  <a:lnTo>
                    <a:pt x="1205" y="1415"/>
                  </a:lnTo>
                  <a:lnTo>
                    <a:pt x="1205" y="1434"/>
                  </a:lnTo>
                  <a:lnTo>
                    <a:pt x="1202" y="1455"/>
                  </a:lnTo>
                  <a:lnTo>
                    <a:pt x="1199" y="1475"/>
                  </a:lnTo>
                  <a:lnTo>
                    <a:pt x="1196" y="1496"/>
                  </a:lnTo>
                  <a:lnTo>
                    <a:pt x="1195" y="1516"/>
                  </a:lnTo>
                  <a:lnTo>
                    <a:pt x="1195" y="1532"/>
                  </a:lnTo>
                  <a:lnTo>
                    <a:pt x="1194" y="1557"/>
                  </a:lnTo>
                  <a:lnTo>
                    <a:pt x="1192" y="1590"/>
                  </a:lnTo>
                  <a:lnTo>
                    <a:pt x="1191" y="1606"/>
                  </a:lnTo>
                  <a:lnTo>
                    <a:pt x="1192" y="1620"/>
                  </a:lnTo>
                  <a:lnTo>
                    <a:pt x="1193" y="1626"/>
                  </a:lnTo>
                  <a:lnTo>
                    <a:pt x="1195" y="1629"/>
                  </a:lnTo>
                  <a:lnTo>
                    <a:pt x="1199" y="1633"/>
                  </a:lnTo>
                  <a:lnTo>
                    <a:pt x="1202" y="1634"/>
                  </a:lnTo>
                  <a:lnTo>
                    <a:pt x="1209" y="1634"/>
                  </a:lnTo>
                  <a:lnTo>
                    <a:pt x="1219" y="1631"/>
                  </a:lnTo>
                  <a:lnTo>
                    <a:pt x="1229" y="1629"/>
                  </a:lnTo>
                  <a:lnTo>
                    <a:pt x="1240" y="1626"/>
                  </a:lnTo>
                  <a:lnTo>
                    <a:pt x="1249" y="1622"/>
                  </a:lnTo>
                  <a:lnTo>
                    <a:pt x="1258" y="1620"/>
                  </a:lnTo>
                  <a:lnTo>
                    <a:pt x="1262" y="1620"/>
                  </a:lnTo>
                  <a:lnTo>
                    <a:pt x="1265" y="1620"/>
                  </a:lnTo>
                  <a:lnTo>
                    <a:pt x="1267" y="1621"/>
                  </a:lnTo>
                  <a:lnTo>
                    <a:pt x="1269" y="1622"/>
                  </a:lnTo>
                  <a:lnTo>
                    <a:pt x="1272" y="1629"/>
                  </a:lnTo>
                  <a:lnTo>
                    <a:pt x="1274" y="1637"/>
                  </a:lnTo>
                  <a:lnTo>
                    <a:pt x="1277" y="1644"/>
                  </a:lnTo>
                  <a:lnTo>
                    <a:pt x="1278" y="1652"/>
                  </a:lnTo>
                  <a:lnTo>
                    <a:pt x="1278" y="1667"/>
                  </a:lnTo>
                  <a:lnTo>
                    <a:pt x="1277" y="1683"/>
                  </a:lnTo>
                  <a:lnTo>
                    <a:pt x="1274" y="1699"/>
                  </a:lnTo>
                  <a:lnTo>
                    <a:pt x="1270" y="1714"/>
                  </a:lnTo>
                  <a:lnTo>
                    <a:pt x="1264" y="1729"/>
                  </a:lnTo>
                  <a:lnTo>
                    <a:pt x="1257" y="1745"/>
                  </a:lnTo>
                  <a:lnTo>
                    <a:pt x="1242" y="1776"/>
                  </a:lnTo>
                  <a:lnTo>
                    <a:pt x="1227" y="1806"/>
                  </a:lnTo>
                  <a:lnTo>
                    <a:pt x="1220" y="1820"/>
                  </a:lnTo>
                  <a:lnTo>
                    <a:pt x="1214" y="1834"/>
                  </a:lnTo>
                  <a:lnTo>
                    <a:pt x="1209" y="1848"/>
                  </a:lnTo>
                  <a:lnTo>
                    <a:pt x="1206" y="1862"/>
                  </a:lnTo>
                  <a:lnTo>
                    <a:pt x="1192" y="1890"/>
                  </a:lnTo>
                  <a:lnTo>
                    <a:pt x="1173" y="1919"/>
                  </a:lnTo>
                  <a:lnTo>
                    <a:pt x="1169" y="1927"/>
                  </a:lnTo>
                  <a:lnTo>
                    <a:pt x="1166" y="1934"/>
                  </a:lnTo>
                  <a:lnTo>
                    <a:pt x="1164" y="1942"/>
                  </a:lnTo>
                  <a:lnTo>
                    <a:pt x="1163" y="1949"/>
                  </a:lnTo>
                  <a:lnTo>
                    <a:pt x="1163" y="1956"/>
                  </a:lnTo>
                  <a:lnTo>
                    <a:pt x="1165" y="1964"/>
                  </a:lnTo>
                  <a:lnTo>
                    <a:pt x="1169" y="1970"/>
                  </a:lnTo>
                  <a:lnTo>
                    <a:pt x="1174" y="1977"/>
                  </a:lnTo>
                  <a:lnTo>
                    <a:pt x="1184" y="1986"/>
                  </a:lnTo>
                  <a:lnTo>
                    <a:pt x="1193" y="1996"/>
                  </a:lnTo>
                  <a:lnTo>
                    <a:pt x="1201" y="2004"/>
                  </a:lnTo>
                  <a:lnTo>
                    <a:pt x="1207" y="2012"/>
                  </a:lnTo>
                  <a:lnTo>
                    <a:pt x="1209" y="2017"/>
                  </a:lnTo>
                  <a:lnTo>
                    <a:pt x="1210" y="2021"/>
                  </a:lnTo>
                  <a:lnTo>
                    <a:pt x="1210" y="2026"/>
                  </a:lnTo>
                  <a:lnTo>
                    <a:pt x="1210" y="2031"/>
                  </a:lnTo>
                  <a:lnTo>
                    <a:pt x="1209" y="2036"/>
                  </a:lnTo>
                  <a:lnTo>
                    <a:pt x="1208" y="2042"/>
                  </a:lnTo>
                  <a:lnTo>
                    <a:pt x="1205" y="2049"/>
                  </a:lnTo>
                  <a:lnTo>
                    <a:pt x="1201" y="2056"/>
                  </a:lnTo>
                  <a:lnTo>
                    <a:pt x="1195" y="2065"/>
                  </a:lnTo>
                  <a:lnTo>
                    <a:pt x="1192" y="2075"/>
                  </a:lnTo>
                  <a:lnTo>
                    <a:pt x="1189" y="2083"/>
                  </a:lnTo>
                  <a:lnTo>
                    <a:pt x="1189" y="2090"/>
                  </a:lnTo>
                  <a:lnTo>
                    <a:pt x="1191" y="2096"/>
                  </a:lnTo>
                  <a:lnTo>
                    <a:pt x="1193" y="2102"/>
                  </a:lnTo>
                  <a:lnTo>
                    <a:pt x="1196" y="2106"/>
                  </a:lnTo>
                  <a:lnTo>
                    <a:pt x="1201" y="2112"/>
                  </a:lnTo>
                  <a:lnTo>
                    <a:pt x="1209" y="2121"/>
                  </a:lnTo>
                  <a:lnTo>
                    <a:pt x="1219" y="2132"/>
                  </a:lnTo>
                  <a:lnTo>
                    <a:pt x="1222" y="2139"/>
                  </a:lnTo>
                  <a:lnTo>
                    <a:pt x="1224" y="2146"/>
                  </a:lnTo>
                  <a:lnTo>
                    <a:pt x="1227" y="2154"/>
                  </a:lnTo>
                  <a:lnTo>
                    <a:pt x="1227" y="2163"/>
                  </a:lnTo>
                  <a:lnTo>
                    <a:pt x="1226" y="2169"/>
                  </a:lnTo>
                  <a:lnTo>
                    <a:pt x="1222" y="2175"/>
                  </a:lnTo>
                  <a:lnTo>
                    <a:pt x="1216" y="2182"/>
                  </a:lnTo>
                  <a:lnTo>
                    <a:pt x="1210" y="2188"/>
                  </a:lnTo>
                  <a:lnTo>
                    <a:pt x="1198" y="2199"/>
                  </a:lnTo>
                  <a:lnTo>
                    <a:pt x="1188" y="2209"/>
                  </a:lnTo>
                  <a:lnTo>
                    <a:pt x="1182" y="2217"/>
                  </a:lnTo>
                  <a:lnTo>
                    <a:pt x="1177" y="2228"/>
                  </a:lnTo>
                  <a:lnTo>
                    <a:pt x="1171" y="2242"/>
                  </a:lnTo>
                  <a:lnTo>
                    <a:pt x="1166" y="2258"/>
                  </a:lnTo>
                  <a:lnTo>
                    <a:pt x="1157" y="2287"/>
                  </a:lnTo>
                  <a:lnTo>
                    <a:pt x="1151" y="2309"/>
                  </a:lnTo>
                  <a:lnTo>
                    <a:pt x="1134" y="2296"/>
                  </a:lnTo>
                  <a:lnTo>
                    <a:pt x="1117" y="2281"/>
                  </a:lnTo>
                  <a:lnTo>
                    <a:pt x="1102" y="2267"/>
                  </a:lnTo>
                  <a:lnTo>
                    <a:pt x="1088" y="2252"/>
                  </a:lnTo>
                  <a:lnTo>
                    <a:pt x="1074" y="2235"/>
                  </a:lnTo>
                  <a:lnTo>
                    <a:pt x="1061" y="2220"/>
                  </a:lnTo>
                  <a:lnTo>
                    <a:pt x="1051" y="2205"/>
                  </a:lnTo>
                  <a:lnTo>
                    <a:pt x="1040" y="2190"/>
                  </a:lnTo>
                  <a:lnTo>
                    <a:pt x="1028" y="2180"/>
                  </a:lnTo>
                  <a:lnTo>
                    <a:pt x="1015" y="2166"/>
                  </a:lnTo>
                  <a:lnTo>
                    <a:pt x="1001" y="2148"/>
                  </a:lnTo>
                  <a:lnTo>
                    <a:pt x="986" y="2128"/>
                  </a:lnTo>
                  <a:lnTo>
                    <a:pt x="960" y="2090"/>
                  </a:lnTo>
                  <a:lnTo>
                    <a:pt x="939" y="2057"/>
                  </a:lnTo>
                  <a:lnTo>
                    <a:pt x="931" y="2046"/>
                  </a:lnTo>
                  <a:lnTo>
                    <a:pt x="921" y="2035"/>
                  </a:lnTo>
                  <a:lnTo>
                    <a:pt x="910" y="2025"/>
                  </a:lnTo>
                  <a:lnTo>
                    <a:pt x="900" y="2017"/>
                  </a:lnTo>
                  <a:lnTo>
                    <a:pt x="889" y="2008"/>
                  </a:lnTo>
                  <a:lnTo>
                    <a:pt x="879" y="1999"/>
                  </a:lnTo>
                  <a:lnTo>
                    <a:pt x="869" y="1990"/>
                  </a:lnTo>
                  <a:lnTo>
                    <a:pt x="861" y="1979"/>
                  </a:lnTo>
                  <a:lnTo>
                    <a:pt x="859" y="1975"/>
                  </a:lnTo>
                  <a:lnTo>
                    <a:pt x="858" y="1971"/>
                  </a:lnTo>
                  <a:lnTo>
                    <a:pt x="858" y="1968"/>
                  </a:lnTo>
                  <a:lnTo>
                    <a:pt x="858" y="1964"/>
                  </a:lnTo>
                  <a:lnTo>
                    <a:pt x="860" y="1961"/>
                  </a:lnTo>
                  <a:lnTo>
                    <a:pt x="862" y="1958"/>
                  </a:lnTo>
                  <a:lnTo>
                    <a:pt x="865" y="1956"/>
                  </a:lnTo>
                  <a:lnTo>
                    <a:pt x="868" y="1955"/>
                  </a:lnTo>
                  <a:lnTo>
                    <a:pt x="883" y="1947"/>
                  </a:lnTo>
                  <a:lnTo>
                    <a:pt x="897" y="1940"/>
                  </a:lnTo>
                  <a:lnTo>
                    <a:pt x="902" y="1935"/>
                  </a:lnTo>
                  <a:lnTo>
                    <a:pt x="905" y="1932"/>
                  </a:lnTo>
                  <a:lnTo>
                    <a:pt x="908" y="1928"/>
                  </a:lnTo>
                  <a:lnTo>
                    <a:pt x="908" y="1926"/>
                  </a:lnTo>
                  <a:lnTo>
                    <a:pt x="907" y="1924"/>
                  </a:lnTo>
                  <a:lnTo>
                    <a:pt x="905" y="1921"/>
                  </a:lnTo>
                  <a:lnTo>
                    <a:pt x="902" y="1920"/>
                  </a:lnTo>
                  <a:lnTo>
                    <a:pt x="898" y="1919"/>
                  </a:lnTo>
                  <a:lnTo>
                    <a:pt x="889" y="1919"/>
                  </a:lnTo>
                  <a:lnTo>
                    <a:pt x="880" y="1920"/>
                  </a:lnTo>
                  <a:lnTo>
                    <a:pt x="869" y="1922"/>
                  </a:lnTo>
                  <a:lnTo>
                    <a:pt x="861" y="1926"/>
                  </a:lnTo>
                  <a:lnTo>
                    <a:pt x="858" y="1926"/>
                  </a:lnTo>
                  <a:lnTo>
                    <a:pt x="854" y="1925"/>
                  </a:lnTo>
                  <a:lnTo>
                    <a:pt x="851" y="1921"/>
                  </a:lnTo>
                  <a:lnTo>
                    <a:pt x="847" y="1915"/>
                  </a:lnTo>
                  <a:lnTo>
                    <a:pt x="839" y="1900"/>
                  </a:lnTo>
                  <a:lnTo>
                    <a:pt x="832" y="1882"/>
                  </a:lnTo>
                  <a:lnTo>
                    <a:pt x="824" y="1861"/>
                  </a:lnTo>
                  <a:lnTo>
                    <a:pt x="817" y="1841"/>
                  </a:lnTo>
                  <a:lnTo>
                    <a:pt x="812" y="1832"/>
                  </a:lnTo>
                  <a:lnTo>
                    <a:pt x="809" y="1825"/>
                  </a:lnTo>
                  <a:lnTo>
                    <a:pt x="805" y="1818"/>
                  </a:lnTo>
                  <a:lnTo>
                    <a:pt x="802" y="1813"/>
                  </a:lnTo>
                  <a:lnTo>
                    <a:pt x="793" y="1804"/>
                  </a:lnTo>
                  <a:lnTo>
                    <a:pt x="786" y="1792"/>
                  </a:lnTo>
                  <a:lnTo>
                    <a:pt x="779" y="1782"/>
                  </a:lnTo>
                  <a:lnTo>
                    <a:pt x="773" y="1770"/>
                  </a:lnTo>
                  <a:lnTo>
                    <a:pt x="767" y="1757"/>
                  </a:lnTo>
                  <a:lnTo>
                    <a:pt x="762" y="1744"/>
                  </a:lnTo>
                  <a:lnTo>
                    <a:pt x="759" y="1731"/>
                  </a:lnTo>
                  <a:lnTo>
                    <a:pt x="755" y="1718"/>
                  </a:lnTo>
                  <a:lnTo>
                    <a:pt x="748" y="1691"/>
                  </a:lnTo>
                  <a:lnTo>
                    <a:pt x="744" y="1664"/>
                  </a:lnTo>
                  <a:lnTo>
                    <a:pt x="740" y="1637"/>
                  </a:lnTo>
                  <a:lnTo>
                    <a:pt x="737" y="1613"/>
                  </a:lnTo>
                  <a:lnTo>
                    <a:pt x="733" y="1591"/>
                  </a:lnTo>
                  <a:lnTo>
                    <a:pt x="730" y="1559"/>
                  </a:lnTo>
                  <a:lnTo>
                    <a:pt x="729" y="1544"/>
                  </a:lnTo>
                  <a:lnTo>
                    <a:pt x="729" y="1531"/>
                  </a:lnTo>
                  <a:lnTo>
                    <a:pt x="729" y="1526"/>
                  </a:lnTo>
                  <a:lnTo>
                    <a:pt x="730" y="1522"/>
                  </a:lnTo>
                  <a:lnTo>
                    <a:pt x="731" y="1520"/>
                  </a:lnTo>
                  <a:lnTo>
                    <a:pt x="733" y="1519"/>
                  </a:lnTo>
                  <a:lnTo>
                    <a:pt x="734" y="1528"/>
                  </a:lnTo>
                  <a:lnTo>
                    <a:pt x="738" y="1538"/>
                  </a:lnTo>
                  <a:lnTo>
                    <a:pt x="744" y="1548"/>
                  </a:lnTo>
                  <a:lnTo>
                    <a:pt x="748" y="1558"/>
                  </a:lnTo>
                  <a:lnTo>
                    <a:pt x="754" y="1569"/>
                  </a:lnTo>
                  <a:lnTo>
                    <a:pt x="758" y="1579"/>
                  </a:lnTo>
                  <a:lnTo>
                    <a:pt x="759" y="1584"/>
                  </a:lnTo>
                  <a:lnTo>
                    <a:pt x="759" y="1590"/>
                  </a:lnTo>
                  <a:lnTo>
                    <a:pt x="759" y="1594"/>
                  </a:lnTo>
                  <a:lnTo>
                    <a:pt x="756" y="1600"/>
                  </a:lnTo>
                  <a:lnTo>
                    <a:pt x="754" y="1610"/>
                  </a:lnTo>
                  <a:lnTo>
                    <a:pt x="753" y="1619"/>
                  </a:lnTo>
                  <a:lnTo>
                    <a:pt x="754" y="1627"/>
                  </a:lnTo>
                  <a:lnTo>
                    <a:pt x="755" y="1633"/>
                  </a:lnTo>
                  <a:lnTo>
                    <a:pt x="759" y="1638"/>
                  </a:lnTo>
                  <a:lnTo>
                    <a:pt x="762" y="1642"/>
                  </a:lnTo>
                  <a:lnTo>
                    <a:pt x="766" y="1645"/>
                  </a:lnTo>
                  <a:lnTo>
                    <a:pt x="770" y="1649"/>
                  </a:lnTo>
                  <a:lnTo>
                    <a:pt x="775" y="1650"/>
                  </a:lnTo>
                  <a:lnTo>
                    <a:pt x="780" y="1651"/>
                  </a:lnTo>
                  <a:lnTo>
                    <a:pt x="784" y="1651"/>
                  </a:lnTo>
                  <a:lnTo>
                    <a:pt x="789" y="1650"/>
                  </a:lnTo>
                  <a:lnTo>
                    <a:pt x="793" y="1649"/>
                  </a:lnTo>
                  <a:lnTo>
                    <a:pt x="795" y="1647"/>
                  </a:lnTo>
                  <a:lnTo>
                    <a:pt x="797" y="1644"/>
                  </a:lnTo>
                  <a:lnTo>
                    <a:pt x="797" y="1642"/>
                  </a:lnTo>
                  <a:lnTo>
                    <a:pt x="795" y="1621"/>
                  </a:lnTo>
                  <a:lnTo>
                    <a:pt x="791" y="1599"/>
                  </a:lnTo>
                  <a:lnTo>
                    <a:pt x="787" y="1578"/>
                  </a:lnTo>
                  <a:lnTo>
                    <a:pt x="783" y="1557"/>
                  </a:lnTo>
                  <a:lnTo>
                    <a:pt x="772" y="1523"/>
                  </a:lnTo>
                  <a:lnTo>
                    <a:pt x="758" y="1489"/>
                  </a:lnTo>
                  <a:lnTo>
                    <a:pt x="744" y="1456"/>
                  </a:lnTo>
                  <a:lnTo>
                    <a:pt x="727" y="1422"/>
                  </a:lnTo>
                  <a:lnTo>
                    <a:pt x="711" y="1388"/>
                  </a:lnTo>
                  <a:lnTo>
                    <a:pt x="695" y="1356"/>
                  </a:lnTo>
                  <a:lnTo>
                    <a:pt x="678" y="1323"/>
                  </a:lnTo>
                  <a:lnTo>
                    <a:pt x="663" y="1292"/>
                  </a:lnTo>
                  <a:lnTo>
                    <a:pt x="648" y="1258"/>
                  </a:lnTo>
                  <a:lnTo>
                    <a:pt x="635" y="1224"/>
                  </a:lnTo>
                  <a:lnTo>
                    <a:pt x="624" y="1190"/>
                  </a:lnTo>
                  <a:lnTo>
                    <a:pt x="613" y="1155"/>
                  </a:lnTo>
                  <a:lnTo>
                    <a:pt x="602" y="1121"/>
                  </a:lnTo>
                  <a:lnTo>
                    <a:pt x="590" y="1087"/>
                  </a:lnTo>
                  <a:lnTo>
                    <a:pt x="577" y="1053"/>
                  </a:lnTo>
                  <a:lnTo>
                    <a:pt x="562" y="1020"/>
                  </a:lnTo>
                  <a:lnTo>
                    <a:pt x="543" y="984"/>
                  </a:lnTo>
                  <a:lnTo>
                    <a:pt x="524" y="949"/>
                  </a:lnTo>
                  <a:lnTo>
                    <a:pt x="515" y="931"/>
                  </a:lnTo>
                  <a:lnTo>
                    <a:pt x="508" y="912"/>
                  </a:lnTo>
                  <a:lnTo>
                    <a:pt x="503" y="892"/>
                  </a:lnTo>
                  <a:lnTo>
                    <a:pt x="498" y="871"/>
                  </a:lnTo>
                  <a:lnTo>
                    <a:pt x="496" y="859"/>
                  </a:lnTo>
                  <a:lnTo>
                    <a:pt x="493" y="847"/>
                  </a:lnTo>
                  <a:lnTo>
                    <a:pt x="490" y="839"/>
                  </a:lnTo>
                  <a:lnTo>
                    <a:pt x="485" y="831"/>
                  </a:lnTo>
                  <a:lnTo>
                    <a:pt x="475" y="816"/>
                  </a:lnTo>
                  <a:lnTo>
                    <a:pt x="462" y="795"/>
                  </a:lnTo>
                  <a:lnTo>
                    <a:pt x="461" y="781"/>
                  </a:lnTo>
                  <a:lnTo>
                    <a:pt x="458" y="768"/>
                  </a:lnTo>
                  <a:lnTo>
                    <a:pt x="454" y="755"/>
                  </a:lnTo>
                  <a:lnTo>
                    <a:pt x="449" y="742"/>
                  </a:lnTo>
                  <a:lnTo>
                    <a:pt x="437" y="716"/>
                  </a:lnTo>
                  <a:lnTo>
                    <a:pt x="425" y="691"/>
                  </a:lnTo>
                  <a:lnTo>
                    <a:pt x="410" y="665"/>
                  </a:lnTo>
                  <a:lnTo>
                    <a:pt x="396" y="640"/>
                  </a:lnTo>
                  <a:lnTo>
                    <a:pt x="383" y="615"/>
                  </a:lnTo>
                  <a:lnTo>
                    <a:pt x="372" y="591"/>
                  </a:lnTo>
                  <a:lnTo>
                    <a:pt x="365" y="574"/>
                  </a:lnTo>
                  <a:lnTo>
                    <a:pt x="356" y="557"/>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sz="1200" dirty="0"/>
            </a:p>
          </p:txBody>
        </p:sp>
        <p:sp>
          <p:nvSpPr>
            <p:cNvPr id="20" name="Freeform 38"/>
            <p:cNvSpPr>
              <a:spLocks/>
            </p:cNvSpPr>
            <p:nvPr/>
          </p:nvSpPr>
          <p:spPr bwMode="auto">
            <a:xfrm>
              <a:off x="4948084" y="3363090"/>
              <a:ext cx="1030157" cy="857627"/>
            </a:xfrm>
            <a:custGeom>
              <a:avLst/>
              <a:gdLst>
                <a:gd name="T0" fmla="*/ 2836 w 3075"/>
                <a:gd name="T1" fmla="*/ 326 h 2562"/>
                <a:gd name="T2" fmla="*/ 2950 w 3075"/>
                <a:gd name="T3" fmla="*/ 314 h 2562"/>
                <a:gd name="T4" fmla="*/ 3023 w 3075"/>
                <a:gd name="T5" fmla="*/ 407 h 2562"/>
                <a:gd name="T6" fmla="*/ 2908 w 3075"/>
                <a:gd name="T7" fmla="*/ 565 h 2562"/>
                <a:gd name="T8" fmla="*/ 2760 w 3075"/>
                <a:gd name="T9" fmla="*/ 738 h 2562"/>
                <a:gd name="T10" fmla="*/ 2819 w 3075"/>
                <a:gd name="T11" fmla="*/ 1027 h 2562"/>
                <a:gd name="T12" fmla="*/ 2679 w 3075"/>
                <a:gd name="T13" fmla="*/ 1162 h 2562"/>
                <a:gd name="T14" fmla="*/ 2552 w 3075"/>
                <a:gd name="T15" fmla="*/ 1352 h 2562"/>
                <a:gd name="T16" fmla="*/ 2468 w 3075"/>
                <a:gd name="T17" fmla="*/ 1426 h 2562"/>
                <a:gd name="T18" fmla="*/ 2005 w 3075"/>
                <a:gd name="T19" fmla="*/ 1584 h 2562"/>
                <a:gd name="T20" fmla="*/ 2077 w 3075"/>
                <a:gd name="T21" fmla="*/ 1444 h 2562"/>
                <a:gd name="T22" fmla="*/ 1886 w 3075"/>
                <a:gd name="T23" fmla="*/ 1621 h 2562"/>
                <a:gd name="T24" fmla="*/ 1976 w 3075"/>
                <a:gd name="T25" fmla="*/ 1605 h 2562"/>
                <a:gd name="T26" fmla="*/ 1718 w 3075"/>
                <a:gd name="T27" fmla="*/ 1844 h 2562"/>
                <a:gd name="T28" fmla="*/ 1530 w 3075"/>
                <a:gd name="T29" fmla="*/ 1930 h 2562"/>
                <a:gd name="T30" fmla="*/ 1364 w 3075"/>
                <a:gd name="T31" fmla="*/ 2043 h 2562"/>
                <a:gd name="T32" fmla="*/ 1195 w 3075"/>
                <a:gd name="T33" fmla="*/ 1931 h 2562"/>
                <a:gd name="T34" fmla="*/ 1121 w 3075"/>
                <a:gd name="T35" fmla="*/ 1852 h 2562"/>
                <a:gd name="T36" fmla="*/ 1050 w 3075"/>
                <a:gd name="T37" fmla="*/ 1898 h 2562"/>
                <a:gd name="T38" fmla="*/ 996 w 3075"/>
                <a:gd name="T39" fmla="*/ 1968 h 2562"/>
                <a:gd name="T40" fmla="*/ 860 w 3075"/>
                <a:gd name="T41" fmla="*/ 2074 h 2562"/>
                <a:gd name="T42" fmla="*/ 860 w 3075"/>
                <a:gd name="T43" fmla="*/ 2256 h 2562"/>
                <a:gd name="T44" fmla="*/ 692 w 3075"/>
                <a:gd name="T45" fmla="*/ 2233 h 2562"/>
                <a:gd name="T46" fmla="*/ 600 w 3075"/>
                <a:gd name="T47" fmla="*/ 2256 h 2562"/>
                <a:gd name="T48" fmla="*/ 529 w 3075"/>
                <a:gd name="T49" fmla="*/ 2180 h 2562"/>
                <a:gd name="T50" fmla="*/ 448 w 3075"/>
                <a:gd name="T51" fmla="*/ 2439 h 2562"/>
                <a:gd name="T52" fmla="*/ 282 w 3075"/>
                <a:gd name="T53" fmla="*/ 2458 h 2562"/>
                <a:gd name="T54" fmla="*/ 35 w 3075"/>
                <a:gd name="T55" fmla="*/ 2559 h 2562"/>
                <a:gd name="T56" fmla="*/ 103 w 3075"/>
                <a:gd name="T57" fmla="*/ 2265 h 2562"/>
                <a:gd name="T58" fmla="*/ 210 w 3075"/>
                <a:gd name="T59" fmla="*/ 2203 h 2562"/>
                <a:gd name="T60" fmla="*/ 320 w 3075"/>
                <a:gd name="T61" fmla="*/ 2074 h 2562"/>
                <a:gd name="T62" fmla="*/ 415 w 3075"/>
                <a:gd name="T63" fmla="*/ 1928 h 2562"/>
                <a:gd name="T64" fmla="*/ 333 w 3075"/>
                <a:gd name="T65" fmla="*/ 1631 h 2562"/>
                <a:gd name="T66" fmla="*/ 272 w 3075"/>
                <a:gd name="T67" fmla="*/ 1522 h 2562"/>
                <a:gd name="T68" fmla="*/ 222 w 3075"/>
                <a:gd name="T69" fmla="*/ 1389 h 2562"/>
                <a:gd name="T70" fmla="*/ 426 w 3075"/>
                <a:gd name="T71" fmla="*/ 1391 h 2562"/>
                <a:gd name="T72" fmla="*/ 564 w 3075"/>
                <a:gd name="T73" fmla="*/ 1440 h 2562"/>
                <a:gd name="T74" fmla="*/ 670 w 3075"/>
                <a:gd name="T75" fmla="*/ 1489 h 2562"/>
                <a:gd name="T76" fmla="*/ 612 w 3075"/>
                <a:gd name="T77" fmla="*/ 1383 h 2562"/>
                <a:gd name="T78" fmla="*/ 501 w 3075"/>
                <a:gd name="T79" fmla="*/ 1143 h 2562"/>
                <a:gd name="T80" fmla="*/ 465 w 3075"/>
                <a:gd name="T81" fmla="*/ 892 h 2562"/>
                <a:gd name="T82" fmla="*/ 587 w 3075"/>
                <a:gd name="T83" fmla="*/ 868 h 2562"/>
                <a:gd name="T84" fmla="*/ 713 w 3075"/>
                <a:gd name="T85" fmla="*/ 755 h 2562"/>
                <a:gd name="T86" fmla="*/ 814 w 3075"/>
                <a:gd name="T87" fmla="*/ 774 h 2562"/>
                <a:gd name="T88" fmla="*/ 919 w 3075"/>
                <a:gd name="T89" fmla="*/ 670 h 2562"/>
                <a:gd name="T90" fmla="*/ 981 w 3075"/>
                <a:gd name="T91" fmla="*/ 596 h 2562"/>
                <a:gd name="T92" fmla="*/ 1044 w 3075"/>
                <a:gd name="T93" fmla="*/ 492 h 2562"/>
                <a:gd name="T94" fmla="*/ 1086 w 3075"/>
                <a:gd name="T95" fmla="*/ 382 h 2562"/>
                <a:gd name="T96" fmla="*/ 1088 w 3075"/>
                <a:gd name="T97" fmla="*/ 220 h 2562"/>
                <a:gd name="T98" fmla="*/ 1274 w 3075"/>
                <a:gd name="T99" fmla="*/ 96 h 2562"/>
                <a:gd name="T100" fmla="*/ 1341 w 3075"/>
                <a:gd name="T101" fmla="*/ 19 h 2562"/>
                <a:gd name="T102" fmla="*/ 1594 w 3075"/>
                <a:gd name="T103" fmla="*/ 58 h 2562"/>
                <a:gd name="T104" fmla="*/ 1852 w 3075"/>
                <a:gd name="T105" fmla="*/ 36 h 2562"/>
                <a:gd name="T106" fmla="*/ 1825 w 3075"/>
                <a:gd name="T107" fmla="*/ 220 h 2562"/>
                <a:gd name="T108" fmla="*/ 1919 w 3075"/>
                <a:gd name="T109" fmla="*/ 253 h 2562"/>
                <a:gd name="T110" fmla="*/ 2183 w 3075"/>
                <a:gd name="T111" fmla="*/ 239 h 2562"/>
                <a:gd name="T112" fmla="*/ 2264 w 3075"/>
                <a:gd name="T113" fmla="*/ 295 h 2562"/>
                <a:gd name="T114" fmla="*/ 2292 w 3075"/>
                <a:gd name="T115" fmla="*/ 192 h 2562"/>
                <a:gd name="T116" fmla="*/ 2325 w 3075"/>
                <a:gd name="T117" fmla="*/ 35 h 2562"/>
                <a:gd name="T118" fmla="*/ 2450 w 3075"/>
                <a:gd name="T119" fmla="*/ 51 h 2562"/>
                <a:gd name="T120" fmla="*/ 2637 w 3075"/>
                <a:gd name="T121" fmla="*/ 178 h 2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075" h="2562">
                  <a:moveTo>
                    <a:pt x="2682" y="199"/>
                  </a:moveTo>
                  <a:lnTo>
                    <a:pt x="2688" y="206"/>
                  </a:lnTo>
                  <a:lnTo>
                    <a:pt x="2695" y="212"/>
                  </a:lnTo>
                  <a:lnTo>
                    <a:pt x="2704" y="217"/>
                  </a:lnTo>
                  <a:lnTo>
                    <a:pt x="2712" y="220"/>
                  </a:lnTo>
                  <a:lnTo>
                    <a:pt x="2730" y="225"/>
                  </a:lnTo>
                  <a:lnTo>
                    <a:pt x="2749" y="229"/>
                  </a:lnTo>
                  <a:lnTo>
                    <a:pt x="2766" y="234"/>
                  </a:lnTo>
                  <a:lnTo>
                    <a:pt x="2785" y="240"/>
                  </a:lnTo>
                  <a:lnTo>
                    <a:pt x="2793" y="245"/>
                  </a:lnTo>
                  <a:lnTo>
                    <a:pt x="2800" y="249"/>
                  </a:lnTo>
                  <a:lnTo>
                    <a:pt x="2807" y="256"/>
                  </a:lnTo>
                  <a:lnTo>
                    <a:pt x="2814" y="264"/>
                  </a:lnTo>
                  <a:lnTo>
                    <a:pt x="2820" y="276"/>
                  </a:lnTo>
                  <a:lnTo>
                    <a:pt x="2826" y="290"/>
                  </a:lnTo>
                  <a:lnTo>
                    <a:pt x="2829" y="304"/>
                  </a:lnTo>
                  <a:lnTo>
                    <a:pt x="2834" y="319"/>
                  </a:lnTo>
                  <a:lnTo>
                    <a:pt x="2836" y="326"/>
                  </a:lnTo>
                  <a:lnTo>
                    <a:pt x="2840" y="332"/>
                  </a:lnTo>
                  <a:lnTo>
                    <a:pt x="2842" y="338"/>
                  </a:lnTo>
                  <a:lnTo>
                    <a:pt x="2847" y="343"/>
                  </a:lnTo>
                  <a:lnTo>
                    <a:pt x="2851" y="348"/>
                  </a:lnTo>
                  <a:lnTo>
                    <a:pt x="2856" y="352"/>
                  </a:lnTo>
                  <a:lnTo>
                    <a:pt x="2862" y="355"/>
                  </a:lnTo>
                  <a:lnTo>
                    <a:pt x="2869" y="356"/>
                  </a:lnTo>
                  <a:lnTo>
                    <a:pt x="2874" y="356"/>
                  </a:lnTo>
                  <a:lnTo>
                    <a:pt x="2877" y="356"/>
                  </a:lnTo>
                  <a:lnTo>
                    <a:pt x="2882" y="354"/>
                  </a:lnTo>
                  <a:lnTo>
                    <a:pt x="2886" y="352"/>
                  </a:lnTo>
                  <a:lnTo>
                    <a:pt x="2897" y="345"/>
                  </a:lnTo>
                  <a:lnTo>
                    <a:pt x="2907" y="336"/>
                  </a:lnTo>
                  <a:lnTo>
                    <a:pt x="2919" y="328"/>
                  </a:lnTo>
                  <a:lnTo>
                    <a:pt x="2931" y="321"/>
                  </a:lnTo>
                  <a:lnTo>
                    <a:pt x="2938" y="318"/>
                  </a:lnTo>
                  <a:lnTo>
                    <a:pt x="2943" y="316"/>
                  </a:lnTo>
                  <a:lnTo>
                    <a:pt x="2950" y="314"/>
                  </a:lnTo>
                  <a:lnTo>
                    <a:pt x="2957" y="314"/>
                  </a:lnTo>
                  <a:lnTo>
                    <a:pt x="2963" y="314"/>
                  </a:lnTo>
                  <a:lnTo>
                    <a:pt x="2968" y="317"/>
                  </a:lnTo>
                  <a:lnTo>
                    <a:pt x="2971" y="320"/>
                  </a:lnTo>
                  <a:lnTo>
                    <a:pt x="2973" y="324"/>
                  </a:lnTo>
                  <a:lnTo>
                    <a:pt x="2971" y="335"/>
                  </a:lnTo>
                  <a:lnTo>
                    <a:pt x="2970" y="348"/>
                  </a:lnTo>
                  <a:lnTo>
                    <a:pt x="2969" y="355"/>
                  </a:lnTo>
                  <a:lnTo>
                    <a:pt x="2968" y="361"/>
                  </a:lnTo>
                  <a:lnTo>
                    <a:pt x="2969" y="368"/>
                  </a:lnTo>
                  <a:lnTo>
                    <a:pt x="2970" y="375"/>
                  </a:lnTo>
                  <a:lnTo>
                    <a:pt x="2973" y="381"/>
                  </a:lnTo>
                  <a:lnTo>
                    <a:pt x="2977" y="385"/>
                  </a:lnTo>
                  <a:lnTo>
                    <a:pt x="2983" y="390"/>
                  </a:lnTo>
                  <a:lnTo>
                    <a:pt x="2992" y="394"/>
                  </a:lnTo>
                  <a:lnTo>
                    <a:pt x="3004" y="397"/>
                  </a:lnTo>
                  <a:lnTo>
                    <a:pt x="3013" y="402"/>
                  </a:lnTo>
                  <a:lnTo>
                    <a:pt x="3023" y="407"/>
                  </a:lnTo>
                  <a:lnTo>
                    <a:pt x="3030" y="412"/>
                  </a:lnTo>
                  <a:lnTo>
                    <a:pt x="3037" y="419"/>
                  </a:lnTo>
                  <a:lnTo>
                    <a:pt x="3042" y="425"/>
                  </a:lnTo>
                  <a:lnTo>
                    <a:pt x="3047" y="432"/>
                  </a:lnTo>
                  <a:lnTo>
                    <a:pt x="3051" y="440"/>
                  </a:lnTo>
                  <a:lnTo>
                    <a:pt x="3057" y="456"/>
                  </a:lnTo>
                  <a:lnTo>
                    <a:pt x="3063" y="475"/>
                  </a:lnTo>
                  <a:lnTo>
                    <a:pt x="3068" y="495"/>
                  </a:lnTo>
                  <a:lnTo>
                    <a:pt x="3075" y="517"/>
                  </a:lnTo>
                  <a:lnTo>
                    <a:pt x="3038" y="525"/>
                  </a:lnTo>
                  <a:lnTo>
                    <a:pt x="3002" y="532"/>
                  </a:lnTo>
                  <a:lnTo>
                    <a:pt x="2983" y="535"/>
                  </a:lnTo>
                  <a:lnTo>
                    <a:pt x="2966" y="540"/>
                  </a:lnTo>
                  <a:lnTo>
                    <a:pt x="2948" y="545"/>
                  </a:lnTo>
                  <a:lnTo>
                    <a:pt x="2932" y="552"/>
                  </a:lnTo>
                  <a:lnTo>
                    <a:pt x="2924" y="555"/>
                  </a:lnTo>
                  <a:lnTo>
                    <a:pt x="2915" y="560"/>
                  </a:lnTo>
                  <a:lnTo>
                    <a:pt x="2908" y="565"/>
                  </a:lnTo>
                  <a:lnTo>
                    <a:pt x="2900" y="570"/>
                  </a:lnTo>
                  <a:lnTo>
                    <a:pt x="2888" y="582"/>
                  </a:lnTo>
                  <a:lnTo>
                    <a:pt x="2874" y="594"/>
                  </a:lnTo>
                  <a:lnTo>
                    <a:pt x="2861" y="608"/>
                  </a:lnTo>
                  <a:lnTo>
                    <a:pt x="2848" y="619"/>
                  </a:lnTo>
                  <a:lnTo>
                    <a:pt x="2834" y="631"/>
                  </a:lnTo>
                  <a:lnTo>
                    <a:pt x="2820" y="641"/>
                  </a:lnTo>
                  <a:lnTo>
                    <a:pt x="2807" y="650"/>
                  </a:lnTo>
                  <a:lnTo>
                    <a:pt x="2797" y="658"/>
                  </a:lnTo>
                  <a:lnTo>
                    <a:pt x="2787" y="665"/>
                  </a:lnTo>
                  <a:lnTo>
                    <a:pt x="2779" y="673"/>
                  </a:lnTo>
                  <a:lnTo>
                    <a:pt x="2773" y="681"/>
                  </a:lnTo>
                  <a:lnTo>
                    <a:pt x="2769" y="690"/>
                  </a:lnTo>
                  <a:lnTo>
                    <a:pt x="2765" y="698"/>
                  </a:lnTo>
                  <a:lnTo>
                    <a:pt x="2762" y="708"/>
                  </a:lnTo>
                  <a:lnTo>
                    <a:pt x="2761" y="717"/>
                  </a:lnTo>
                  <a:lnTo>
                    <a:pt x="2760" y="727"/>
                  </a:lnTo>
                  <a:lnTo>
                    <a:pt x="2760" y="738"/>
                  </a:lnTo>
                  <a:lnTo>
                    <a:pt x="2761" y="748"/>
                  </a:lnTo>
                  <a:lnTo>
                    <a:pt x="2763" y="774"/>
                  </a:lnTo>
                  <a:lnTo>
                    <a:pt x="2768" y="802"/>
                  </a:lnTo>
                  <a:lnTo>
                    <a:pt x="2770" y="816"/>
                  </a:lnTo>
                  <a:lnTo>
                    <a:pt x="2772" y="829"/>
                  </a:lnTo>
                  <a:lnTo>
                    <a:pt x="2777" y="842"/>
                  </a:lnTo>
                  <a:lnTo>
                    <a:pt x="2780" y="854"/>
                  </a:lnTo>
                  <a:lnTo>
                    <a:pt x="2790" y="879"/>
                  </a:lnTo>
                  <a:lnTo>
                    <a:pt x="2800" y="902"/>
                  </a:lnTo>
                  <a:lnTo>
                    <a:pt x="2810" y="927"/>
                  </a:lnTo>
                  <a:lnTo>
                    <a:pt x="2817" y="951"/>
                  </a:lnTo>
                  <a:lnTo>
                    <a:pt x="2820" y="964"/>
                  </a:lnTo>
                  <a:lnTo>
                    <a:pt x="2822" y="977"/>
                  </a:lnTo>
                  <a:lnTo>
                    <a:pt x="2824" y="991"/>
                  </a:lnTo>
                  <a:lnTo>
                    <a:pt x="2824" y="1004"/>
                  </a:lnTo>
                  <a:lnTo>
                    <a:pt x="2824" y="1013"/>
                  </a:lnTo>
                  <a:lnTo>
                    <a:pt x="2821" y="1021"/>
                  </a:lnTo>
                  <a:lnTo>
                    <a:pt x="2819" y="1027"/>
                  </a:lnTo>
                  <a:lnTo>
                    <a:pt x="2815" y="1032"/>
                  </a:lnTo>
                  <a:lnTo>
                    <a:pt x="2811" y="1037"/>
                  </a:lnTo>
                  <a:lnTo>
                    <a:pt x="2806" y="1043"/>
                  </a:lnTo>
                  <a:lnTo>
                    <a:pt x="2800" y="1046"/>
                  </a:lnTo>
                  <a:lnTo>
                    <a:pt x="2794" y="1051"/>
                  </a:lnTo>
                  <a:lnTo>
                    <a:pt x="2780" y="1058"/>
                  </a:lnTo>
                  <a:lnTo>
                    <a:pt x="2766" y="1065"/>
                  </a:lnTo>
                  <a:lnTo>
                    <a:pt x="2754" y="1072"/>
                  </a:lnTo>
                  <a:lnTo>
                    <a:pt x="2741" y="1081"/>
                  </a:lnTo>
                  <a:lnTo>
                    <a:pt x="2734" y="1088"/>
                  </a:lnTo>
                  <a:lnTo>
                    <a:pt x="2728" y="1096"/>
                  </a:lnTo>
                  <a:lnTo>
                    <a:pt x="2723" y="1106"/>
                  </a:lnTo>
                  <a:lnTo>
                    <a:pt x="2718" y="1115"/>
                  </a:lnTo>
                  <a:lnTo>
                    <a:pt x="2713" y="1123"/>
                  </a:lnTo>
                  <a:lnTo>
                    <a:pt x="2707" y="1131"/>
                  </a:lnTo>
                  <a:lnTo>
                    <a:pt x="2700" y="1138"/>
                  </a:lnTo>
                  <a:lnTo>
                    <a:pt x="2693" y="1144"/>
                  </a:lnTo>
                  <a:lnTo>
                    <a:pt x="2679" y="1162"/>
                  </a:lnTo>
                  <a:lnTo>
                    <a:pt x="2669" y="1179"/>
                  </a:lnTo>
                  <a:lnTo>
                    <a:pt x="2664" y="1188"/>
                  </a:lnTo>
                  <a:lnTo>
                    <a:pt x="2661" y="1198"/>
                  </a:lnTo>
                  <a:lnTo>
                    <a:pt x="2658" y="1208"/>
                  </a:lnTo>
                  <a:lnTo>
                    <a:pt x="2658" y="1219"/>
                  </a:lnTo>
                  <a:lnTo>
                    <a:pt x="2657" y="1224"/>
                  </a:lnTo>
                  <a:lnTo>
                    <a:pt x="2656" y="1229"/>
                  </a:lnTo>
                  <a:lnTo>
                    <a:pt x="2655" y="1234"/>
                  </a:lnTo>
                  <a:lnTo>
                    <a:pt x="2652" y="1237"/>
                  </a:lnTo>
                  <a:lnTo>
                    <a:pt x="2647" y="1244"/>
                  </a:lnTo>
                  <a:lnTo>
                    <a:pt x="2640" y="1250"/>
                  </a:lnTo>
                  <a:lnTo>
                    <a:pt x="2631" y="1255"/>
                  </a:lnTo>
                  <a:lnTo>
                    <a:pt x="2623" y="1260"/>
                  </a:lnTo>
                  <a:lnTo>
                    <a:pt x="2616" y="1266"/>
                  </a:lnTo>
                  <a:lnTo>
                    <a:pt x="2609" y="1272"/>
                  </a:lnTo>
                  <a:lnTo>
                    <a:pt x="2587" y="1305"/>
                  </a:lnTo>
                  <a:lnTo>
                    <a:pt x="2560" y="1343"/>
                  </a:lnTo>
                  <a:lnTo>
                    <a:pt x="2552" y="1352"/>
                  </a:lnTo>
                  <a:lnTo>
                    <a:pt x="2545" y="1361"/>
                  </a:lnTo>
                  <a:lnTo>
                    <a:pt x="2537" y="1368"/>
                  </a:lnTo>
                  <a:lnTo>
                    <a:pt x="2528" y="1372"/>
                  </a:lnTo>
                  <a:lnTo>
                    <a:pt x="2519" y="1376"/>
                  </a:lnTo>
                  <a:lnTo>
                    <a:pt x="2510" y="1378"/>
                  </a:lnTo>
                  <a:lnTo>
                    <a:pt x="2505" y="1378"/>
                  </a:lnTo>
                  <a:lnTo>
                    <a:pt x="2500" y="1378"/>
                  </a:lnTo>
                  <a:lnTo>
                    <a:pt x="2495" y="1377"/>
                  </a:lnTo>
                  <a:lnTo>
                    <a:pt x="2491" y="1375"/>
                  </a:lnTo>
                  <a:lnTo>
                    <a:pt x="2492" y="1380"/>
                  </a:lnTo>
                  <a:lnTo>
                    <a:pt x="2494" y="1394"/>
                  </a:lnTo>
                  <a:lnTo>
                    <a:pt x="2494" y="1399"/>
                  </a:lnTo>
                  <a:lnTo>
                    <a:pt x="2493" y="1404"/>
                  </a:lnTo>
                  <a:lnTo>
                    <a:pt x="2491" y="1408"/>
                  </a:lnTo>
                  <a:lnTo>
                    <a:pt x="2487" y="1413"/>
                  </a:lnTo>
                  <a:lnTo>
                    <a:pt x="2482" y="1418"/>
                  </a:lnTo>
                  <a:lnTo>
                    <a:pt x="2475" y="1421"/>
                  </a:lnTo>
                  <a:lnTo>
                    <a:pt x="2468" y="1426"/>
                  </a:lnTo>
                  <a:lnTo>
                    <a:pt x="2458" y="1429"/>
                  </a:lnTo>
                  <a:lnTo>
                    <a:pt x="2432" y="1437"/>
                  </a:lnTo>
                  <a:lnTo>
                    <a:pt x="2407" y="1444"/>
                  </a:lnTo>
                  <a:lnTo>
                    <a:pt x="2381" y="1451"/>
                  </a:lnTo>
                  <a:lnTo>
                    <a:pt x="2354" y="1457"/>
                  </a:lnTo>
                  <a:lnTo>
                    <a:pt x="2328" y="1463"/>
                  </a:lnTo>
                  <a:lnTo>
                    <a:pt x="2302" y="1470"/>
                  </a:lnTo>
                  <a:lnTo>
                    <a:pt x="2276" y="1478"/>
                  </a:lnTo>
                  <a:lnTo>
                    <a:pt x="2253" y="1487"/>
                  </a:lnTo>
                  <a:lnTo>
                    <a:pt x="2222" y="1499"/>
                  </a:lnTo>
                  <a:lnTo>
                    <a:pt x="2193" y="1510"/>
                  </a:lnTo>
                  <a:lnTo>
                    <a:pt x="2162" y="1520"/>
                  </a:lnTo>
                  <a:lnTo>
                    <a:pt x="2133" y="1529"/>
                  </a:lnTo>
                  <a:lnTo>
                    <a:pt x="2104" y="1539"/>
                  </a:lnTo>
                  <a:lnTo>
                    <a:pt x="2075" y="1550"/>
                  </a:lnTo>
                  <a:lnTo>
                    <a:pt x="2046" y="1563"/>
                  </a:lnTo>
                  <a:lnTo>
                    <a:pt x="2017" y="1578"/>
                  </a:lnTo>
                  <a:lnTo>
                    <a:pt x="2005" y="1584"/>
                  </a:lnTo>
                  <a:lnTo>
                    <a:pt x="1999" y="1588"/>
                  </a:lnTo>
                  <a:lnTo>
                    <a:pt x="1998" y="1588"/>
                  </a:lnTo>
                  <a:lnTo>
                    <a:pt x="1997" y="1586"/>
                  </a:lnTo>
                  <a:lnTo>
                    <a:pt x="1998" y="1585"/>
                  </a:lnTo>
                  <a:lnTo>
                    <a:pt x="1999" y="1583"/>
                  </a:lnTo>
                  <a:lnTo>
                    <a:pt x="2012" y="1569"/>
                  </a:lnTo>
                  <a:lnTo>
                    <a:pt x="2034" y="1549"/>
                  </a:lnTo>
                  <a:lnTo>
                    <a:pt x="2059" y="1527"/>
                  </a:lnTo>
                  <a:lnTo>
                    <a:pt x="2082" y="1506"/>
                  </a:lnTo>
                  <a:lnTo>
                    <a:pt x="2093" y="1497"/>
                  </a:lnTo>
                  <a:lnTo>
                    <a:pt x="2099" y="1490"/>
                  </a:lnTo>
                  <a:lnTo>
                    <a:pt x="2104" y="1484"/>
                  </a:lnTo>
                  <a:lnTo>
                    <a:pt x="2105" y="1482"/>
                  </a:lnTo>
                  <a:lnTo>
                    <a:pt x="2099" y="1470"/>
                  </a:lnTo>
                  <a:lnTo>
                    <a:pt x="2094" y="1461"/>
                  </a:lnTo>
                  <a:lnTo>
                    <a:pt x="2088" y="1454"/>
                  </a:lnTo>
                  <a:lnTo>
                    <a:pt x="2082" y="1448"/>
                  </a:lnTo>
                  <a:lnTo>
                    <a:pt x="2077" y="1444"/>
                  </a:lnTo>
                  <a:lnTo>
                    <a:pt x="2072" y="1442"/>
                  </a:lnTo>
                  <a:lnTo>
                    <a:pt x="2066" y="1441"/>
                  </a:lnTo>
                  <a:lnTo>
                    <a:pt x="2060" y="1441"/>
                  </a:lnTo>
                  <a:lnTo>
                    <a:pt x="2053" y="1443"/>
                  </a:lnTo>
                  <a:lnTo>
                    <a:pt x="2047" y="1446"/>
                  </a:lnTo>
                  <a:lnTo>
                    <a:pt x="2039" y="1449"/>
                  </a:lnTo>
                  <a:lnTo>
                    <a:pt x="2032" y="1453"/>
                  </a:lnTo>
                  <a:lnTo>
                    <a:pt x="2015" y="1463"/>
                  </a:lnTo>
                  <a:lnTo>
                    <a:pt x="1995" y="1475"/>
                  </a:lnTo>
                  <a:lnTo>
                    <a:pt x="1989" y="1479"/>
                  </a:lnTo>
                  <a:lnTo>
                    <a:pt x="1983" y="1485"/>
                  </a:lnTo>
                  <a:lnTo>
                    <a:pt x="1975" y="1493"/>
                  </a:lnTo>
                  <a:lnTo>
                    <a:pt x="1967" y="1504"/>
                  </a:lnTo>
                  <a:lnTo>
                    <a:pt x="1948" y="1528"/>
                  </a:lnTo>
                  <a:lnTo>
                    <a:pt x="1927" y="1556"/>
                  </a:lnTo>
                  <a:lnTo>
                    <a:pt x="1909" y="1584"/>
                  </a:lnTo>
                  <a:lnTo>
                    <a:pt x="1892" y="1610"/>
                  </a:lnTo>
                  <a:lnTo>
                    <a:pt x="1886" y="1621"/>
                  </a:lnTo>
                  <a:lnTo>
                    <a:pt x="1882" y="1631"/>
                  </a:lnTo>
                  <a:lnTo>
                    <a:pt x="1878" y="1638"/>
                  </a:lnTo>
                  <a:lnTo>
                    <a:pt x="1877" y="1642"/>
                  </a:lnTo>
                  <a:lnTo>
                    <a:pt x="1878" y="1650"/>
                  </a:lnTo>
                  <a:lnTo>
                    <a:pt x="1881" y="1656"/>
                  </a:lnTo>
                  <a:lnTo>
                    <a:pt x="1884" y="1658"/>
                  </a:lnTo>
                  <a:lnTo>
                    <a:pt x="1890" y="1660"/>
                  </a:lnTo>
                  <a:lnTo>
                    <a:pt x="1896" y="1660"/>
                  </a:lnTo>
                  <a:lnTo>
                    <a:pt x="1902" y="1657"/>
                  </a:lnTo>
                  <a:lnTo>
                    <a:pt x="1910" y="1654"/>
                  </a:lnTo>
                  <a:lnTo>
                    <a:pt x="1917" y="1650"/>
                  </a:lnTo>
                  <a:lnTo>
                    <a:pt x="1933" y="1639"/>
                  </a:lnTo>
                  <a:lnTo>
                    <a:pt x="1949" y="1627"/>
                  </a:lnTo>
                  <a:lnTo>
                    <a:pt x="1962" y="1615"/>
                  </a:lnTo>
                  <a:lnTo>
                    <a:pt x="1971" y="1606"/>
                  </a:lnTo>
                  <a:lnTo>
                    <a:pt x="1976" y="1603"/>
                  </a:lnTo>
                  <a:lnTo>
                    <a:pt x="1977" y="1603"/>
                  </a:lnTo>
                  <a:lnTo>
                    <a:pt x="1976" y="1605"/>
                  </a:lnTo>
                  <a:lnTo>
                    <a:pt x="1974" y="1608"/>
                  </a:lnTo>
                  <a:lnTo>
                    <a:pt x="1968" y="1620"/>
                  </a:lnTo>
                  <a:lnTo>
                    <a:pt x="1960" y="1632"/>
                  </a:lnTo>
                  <a:lnTo>
                    <a:pt x="1949" y="1645"/>
                  </a:lnTo>
                  <a:lnTo>
                    <a:pt x="1937" y="1657"/>
                  </a:lnTo>
                  <a:lnTo>
                    <a:pt x="1923" y="1671"/>
                  </a:lnTo>
                  <a:lnTo>
                    <a:pt x="1909" y="1685"/>
                  </a:lnTo>
                  <a:lnTo>
                    <a:pt x="1892" y="1698"/>
                  </a:lnTo>
                  <a:lnTo>
                    <a:pt x="1876" y="1712"/>
                  </a:lnTo>
                  <a:lnTo>
                    <a:pt x="1843" y="1736"/>
                  </a:lnTo>
                  <a:lnTo>
                    <a:pt x="1812" y="1759"/>
                  </a:lnTo>
                  <a:lnTo>
                    <a:pt x="1797" y="1767"/>
                  </a:lnTo>
                  <a:lnTo>
                    <a:pt x="1784" y="1775"/>
                  </a:lnTo>
                  <a:lnTo>
                    <a:pt x="1774" y="1780"/>
                  </a:lnTo>
                  <a:lnTo>
                    <a:pt x="1764" y="1784"/>
                  </a:lnTo>
                  <a:lnTo>
                    <a:pt x="1747" y="1803"/>
                  </a:lnTo>
                  <a:lnTo>
                    <a:pt x="1732" y="1823"/>
                  </a:lnTo>
                  <a:lnTo>
                    <a:pt x="1718" y="1844"/>
                  </a:lnTo>
                  <a:lnTo>
                    <a:pt x="1705" y="1863"/>
                  </a:lnTo>
                  <a:lnTo>
                    <a:pt x="1694" y="1861"/>
                  </a:lnTo>
                  <a:lnTo>
                    <a:pt x="1683" y="1859"/>
                  </a:lnTo>
                  <a:lnTo>
                    <a:pt x="1670" y="1859"/>
                  </a:lnTo>
                  <a:lnTo>
                    <a:pt x="1657" y="1859"/>
                  </a:lnTo>
                  <a:lnTo>
                    <a:pt x="1644" y="1861"/>
                  </a:lnTo>
                  <a:lnTo>
                    <a:pt x="1633" y="1863"/>
                  </a:lnTo>
                  <a:lnTo>
                    <a:pt x="1623" y="1868"/>
                  </a:lnTo>
                  <a:lnTo>
                    <a:pt x="1614" y="1874"/>
                  </a:lnTo>
                  <a:lnTo>
                    <a:pt x="1602" y="1888"/>
                  </a:lnTo>
                  <a:lnTo>
                    <a:pt x="1590" y="1903"/>
                  </a:lnTo>
                  <a:lnTo>
                    <a:pt x="1583" y="1911"/>
                  </a:lnTo>
                  <a:lnTo>
                    <a:pt x="1576" y="1917"/>
                  </a:lnTo>
                  <a:lnTo>
                    <a:pt x="1568" y="1922"/>
                  </a:lnTo>
                  <a:lnTo>
                    <a:pt x="1559" y="1925"/>
                  </a:lnTo>
                  <a:lnTo>
                    <a:pt x="1547" y="1927"/>
                  </a:lnTo>
                  <a:lnTo>
                    <a:pt x="1535" y="1928"/>
                  </a:lnTo>
                  <a:lnTo>
                    <a:pt x="1530" y="1930"/>
                  </a:lnTo>
                  <a:lnTo>
                    <a:pt x="1524" y="1932"/>
                  </a:lnTo>
                  <a:lnTo>
                    <a:pt x="1519" y="1935"/>
                  </a:lnTo>
                  <a:lnTo>
                    <a:pt x="1513" y="1940"/>
                  </a:lnTo>
                  <a:lnTo>
                    <a:pt x="1507" y="1946"/>
                  </a:lnTo>
                  <a:lnTo>
                    <a:pt x="1501" y="1954"/>
                  </a:lnTo>
                  <a:lnTo>
                    <a:pt x="1497" y="1962"/>
                  </a:lnTo>
                  <a:lnTo>
                    <a:pt x="1492" y="1972"/>
                  </a:lnTo>
                  <a:lnTo>
                    <a:pt x="1483" y="1990"/>
                  </a:lnTo>
                  <a:lnTo>
                    <a:pt x="1476" y="2009"/>
                  </a:lnTo>
                  <a:lnTo>
                    <a:pt x="1469" y="2024"/>
                  </a:lnTo>
                  <a:lnTo>
                    <a:pt x="1463" y="2034"/>
                  </a:lnTo>
                  <a:lnTo>
                    <a:pt x="1459" y="2038"/>
                  </a:lnTo>
                  <a:lnTo>
                    <a:pt x="1456" y="2040"/>
                  </a:lnTo>
                  <a:lnTo>
                    <a:pt x="1452" y="2043"/>
                  </a:lnTo>
                  <a:lnTo>
                    <a:pt x="1448" y="2044"/>
                  </a:lnTo>
                  <a:lnTo>
                    <a:pt x="1428" y="2045"/>
                  </a:lnTo>
                  <a:lnTo>
                    <a:pt x="1398" y="2044"/>
                  </a:lnTo>
                  <a:lnTo>
                    <a:pt x="1364" y="2043"/>
                  </a:lnTo>
                  <a:lnTo>
                    <a:pt x="1324" y="2038"/>
                  </a:lnTo>
                  <a:lnTo>
                    <a:pt x="1304" y="2034"/>
                  </a:lnTo>
                  <a:lnTo>
                    <a:pt x="1286" y="2030"/>
                  </a:lnTo>
                  <a:lnTo>
                    <a:pt x="1278" y="2026"/>
                  </a:lnTo>
                  <a:lnTo>
                    <a:pt x="1270" y="2023"/>
                  </a:lnTo>
                  <a:lnTo>
                    <a:pt x="1263" y="2018"/>
                  </a:lnTo>
                  <a:lnTo>
                    <a:pt x="1256" y="2013"/>
                  </a:lnTo>
                  <a:lnTo>
                    <a:pt x="1249" y="2005"/>
                  </a:lnTo>
                  <a:lnTo>
                    <a:pt x="1242" y="1995"/>
                  </a:lnTo>
                  <a:lnTo>
                    <a:pt x="1236" y="1983"/>
                  </a:lnTo>
                  <a:lnTo>
                    <a:pt x="1231" y="1972"/>
                  </a:lnTo>
                  <a:lnTo>
                    <a:pt x="1226" y="1960"/>
                  </a:lnTo>
                  <a:lnTo>
                    <a:pt x="1221" y="1951"/>
                  </a:lnTo>
                  <a:lnTo>
                    <a:pt x="1218" y="1946"/>
                  </a:lnTo>
                  <a:lnTo>
                    <a:pt x="1215" y="1942"/>
                  </a:lnTo>
                  <a:lnTo>
                    <a:pt x="1213" y="1939"/>
                  </a:lnTo>
                  <a:lnTo>
                    <a:pt x="1208" y="1937"/>
                  </a:lnTo>
                  <a:lnTo>
                    <a:pt x="1195" y="1931"/>
                  </a:lnTo>
                  <a:lnTo>
                    <a:pt x="1182" y="1927"/>
                  </a:lnTo>
                  <a:lnTo>
                    <a:pt x="1176" y="1925"/>
                  </a:lnTo>
                  <a:lnTo>
                    <a:pt x="1171" y="1922"/>
                  </a:lnTo>
                  <a:lnTo>
                    <a:pt x="1165" y="1918"/>
                  </a:lnTo>
                  <a:lnTo>
                    <a:pt x="1158" y="1912"/>
                  </a:lnTo>
                  <a:lnTo>
                    <a:pt x="1153" y="1905"/>
                  </a:lnTo>
                  <a:lnTo>
                    <a:pt x="1150" y="1895"/>
                  </a:lnTo>
                  <a:lnTo>
                    <a:pt x="1146" y="1883"/>
                  </a:lnTo>
                  <a:lnTo>
                    <a:pt x="1144" y="1869"/>
                  </a:lnTo>
                  <a:lnTo>
                    <a:pt x="1140" y="1858"/>
                  </a:lnTo>
                  <a:lnTo>
                    <a:pt x="1137" y="1847"/>
                  </a:lnTo>
                  <a:lnTo>
                    <a:pt x="1136" y="1844"/>
                  </a:lnTo>
                  <a:lnTo>
                    <a:pt x="1133" y="1841"/>
                  </a:lnTo>
                  <a:lnTo>
                    <a:pt x="1132" y="1839"/>
                  </a:lnTo>
                  <a:lnTo>
                    <a:pt x="1130" y="1839"/>
                  </a:lnTo>
                  <a:lnTo>
                    <a:pt x="1126" y="1842"/>
                  </a:lnTo>
                  <a:lnTo>
                    <a:pt x="1123" y="1846"/>
                  </a:lnTo>
                  <a:lnTo>
                    <a:pt x="1121" y="1852"/>
                  </a:lnTo>
                  <a:lnTo>
                    <a:pt x="1118" y="1859"/>
                  </a:lnTo>
                  <a:lnTo>
                    <a:pt x="1115" y="1874"/>
                  </a:lnTo>
                  <a:lnTo>
                    <a:pt x="1111" y="1889"/>
                  </a:lnTo>
                  <a:lnTo>
                    <a:pt x="1109" y="1895"/>
                  </a:lnTo>
                  <a:lnTo>
                    <a:pt x="1107" y="1901"/>
                  </a:lnTo>
                  <a:lnTo>
                    <a:pt x="1104" y="1904"/>
                  </a:lnTo>
                  <a:lnTo>
                    <a:pt x="1101" y="1905"/>
                  </a:lnTo>
                  <a:lnTo>
                    <a:pt x="1096" y="1905"/>
                  </a:lnTo>
                  <a:lnTo>
                    <a:pt x="1090" y="1902"/>
                  </a:lnTo>
                  <a:lnTo>
                    <a:pt x="1084" y="1896"/>
                  </a:lnTo>
                  <a:lnTo>
                    <a:pt x="1076" y="1887"/>
                  </a:lnTo>
                  <a:lnTo>
                    <a:pt x="1074" y="1883"/>
                  </a:lnTo>
                  <a:lnTo>
                    <a:pt x="1070" y="1881"/>
                  </a:lnTo>
                  <a:lnTo>
                    <a:pt x="1068" y="1880"/>
                  </a:lnTo>
                  <a:lnTo>
                    <a:pt x="1066" y="1880"/>
                  </a:lnTo>
                  <a:lnTo>
                    <a:pt x="1061" y="1882"/>
                  </a:lnTo>
                  <a:lnTo>
                    <a:pt x="1058" y="1887"/>
                  </a:lnTo>
                  <a:lnTo>
                    <a:pt x="1050" y="1898"/>
                  </a:lnTo>
                  <a:lnTo>
                    <a:pt x="1043" y="1909"/>
                  </a:lnTo>
                  <a:lnTo>
                    <a:pt x="1039" y="1912"/>
                  </a:lnTo>
                  <a:lnTo>
                    <a:pt x="1034" y="1913"/>
                  </a:lnTo>
                  <a:lnTo>
                    <a:pt x="1031" y="1916"/>
                  </a:lnTo>
                  <a:lnTo>
                    <a:pt x="1026" y="1917"/>
                  </a:lnTo>
                  <a:lnTo>
                    <a:pt x="1017" y="1918"/>
                  </a:lnTo>
                  <a:lnTo>
                    <a:pt x="1009" y="1918"/>
                  </a:lnTo>
                  <a:lnTo>
                    <a:pt x="999" y="1918"/>
                  </a:lnTo>
                  <a:lnTo>
                    <a:pt x="991" y="1918"/>
                  </a:lnTo>
                  <a:lnTo>
                    <a:pt x="984" y="1919"/>
                  </a:lnTo>
                  <a:lnTo>
                    <a:pt x="979" y="1923"/>
                  </a:lnTo>
                  <a:lnTo>
                    <a:pt x="979" y="1928"/>
                  </a:lnTo>
                  <a:lnTo>
                    <a:pt x="980" y="1934"/>
                  </a:lnTo>
                  <a:lnTo>
                    <a:pt x="981" y="1940"/>
                  </a:lnTo>
                  <a:lnTo>
                    <a:pt x="983" y="1945"/>
                  </a:lnTo>
                  <a:lnTo>
                    <a:pt x="989" y="1954"/>
                  </a:lnTo>
                  <a:lnTo>
                    <a:pt x="994" y="1963"/>
                  </a:lnTo>
                  <a:lnTo>
                    <a:pt x="996" y="1968"/>
                  </a:lnTo>
                  <a:lnTo>
                    <a:pt x="998" y="1973"/>
                  </a:lnTo>
                  <a:lnTo>
                    <a:pt x="999" y="1977"/>
                  </a:lnTo>
                  <a:lnTo>
                    <a:pt x="999" y="1982"/>
                  </a:lnTo>
                  <a:lnTo>
                    <a:pt x="999" y="1987"/>
                  </a:lnTo>
                  <a:lnTo>
                    <a:pt x="997" y="1991"/>
                  </a:lnTo>
                  <a:lnTo>
                    <a:pt x="995" y="1997"/>
                  </a:lnTo>
                  <a:lnTo>
                    <a:pt x="991" y="2003"/>
                  </a:lnTo>
                  <a:lnTo>
                    <a:pt x="980" y="2013"/>
                  </a:lnTo>
                  <a:lnTo>
                    <a:pt x="969" y="2023"/>
                  </a:lnTo>
                  <a:lnTo>
                    <a:pt x="958" y="2031"/>
                  </a:lnTo>
                  <a:lnTo>
                    <a:pt x="946" y="2037"/>
                  </a:lnTo>
                  <a:lnTo>
                    <a:pt x="920" y="2047"/>
                  </a:lnTo>
                  <a:lnTo>
                    <a:pt x="892" y="2057"/>
                  </a:lnTo>
                  <a:lnTo>
                    <a:pt x="884" y="2059"/>
                  </a:lnTo>
                  <a:lnTo>
                    <a:pt x="877" y="2062"/>
                  </a:lnTo>
                  <a:lnTo>
                    <a:pt x="870" y="2066"/>
                  </a:lnTo>
                  <a:lnTo>
                    <a:pt x="864" y="2069"/>
                  </a:lnTo>
                  <a:lnTo>
                    <a:pt x="860" y="2074"/>
                  </a:lnTo>
                  <a:lnTo>
                    <a:pt x="855" y="2077"/>
                  </a:lnTo>
                  <a:lnTo>
                    <a:pt x="850" y="2082"/>
                  </a:lnTo>
                  <a:lnTo>
                    <a:pt x="847" y="2087"/>
                  </a:lnTo>
                  <a:lnTo>
                    <a:pt x="842" y="2097"/>
                  </a:lnTo>
                  <a:lnTo>
                    <a:pt x="839" y="2108"/>
                  </a:lnTo>
                  <a:lnTo>
                    <a:pt x="838" y="2119"/>
                  </a:lnTo>
                  <a:lnTo>
                    <a:pt x="838" y="2132"/>
                  </a:lnTo>
                  <a:lnTo>
                    <a:pt x="839" y="2144"/>
                  </a:lnTo>
                  <a:lnTo>
                    <a:pt x="841" y="2157"/>
                  </a:lnTo>
                  <a:lnTo>
                    <a:pt x="845" y="2169"/>
                  </a:lnTo>
                  <a:lnTo>
                    <a:pt x="848" y="2182"/>
                  </a:lnTo>
                  <a:lnTo>
                    <a:pt x="855" y="2209"/>
                  </a:lnTo>
                  <a:lnTo>
                    <a:pt x="862" y="2233"/>
                  </a:lnTo>
                  <a:lnTo>
                    <a:pt x="863" y="2239"/>
                  </a:lnTo>
                  <a:lnTo>
                    <a:pt x="863" y="2244"/>
                  </a:lnTo>
                  <a:lnTo>
                    <a:pt x="862" y="2249"/>
                  </a:lnTo>
                  <a:lnTo>
                    <a:pt x="861" y="2252"/>
                  </a:lnTo>
                  <a:lnTo>
                    <a:pt x="860" y="2256"/>
                  </a:lnTo>
                  <a:lnTo>
                    <a:pt x="857" y="2258"/>
                  </a:lnTo>
                  <a:lnTo>
                    <a:pt x="854" y="2261"/>
                  </a:lnTo>
                  <a:lnTo>
                    <a:pt x="850" y="2262"/>
                  </a:lnTo>
                  <a:lnTo>
                    <a:pt x="842" y="2266"/>
                  </a:lnTo>
                  <a:lnTo>
                    <a:pt x="833" y="2267"/>
                  </a:lnTo>
                  <a:lnTo>
                    <a:pt x="823" y="2268"/>
                  </a:lnTo>
                  <a:lnTo>
                    <a:pt x="811" y="2267"/>
                  </a:lnTo>
                  <a:lnTo>
                    <a:pt x="788" y="2264"/>
                  </a:lnTo>
                  <a:lnTo>
                    <a:pt x="766" y="2258"/>
                  </a:lnTo>
                  <a:lnTo>
                    <a:pt x="747" y="2251"/>
                  </a:lnTo>
                  <a:lnTo>
                    <a:pt x="735" y="2245"/>
                  </a:lnTo>
                  <a:lnTo>
                    <a:pt x="727" y="2240"/>
                  </a:lnTo>
                  <a:lnTo>
                    <a:pt x="720" y="2237"/>
                  </a:lnTo>
                  <a:lnTo>
                    <a:pt x="714" y="2235"/>
                  </a:lnTo>
                  <a:lnTo>
                    <a:pt x="707" y="2233"/>
                  </a:lnTo>
                  <a:lnTo>
                    <a:pt x="703" y="2232"/>
                  </a:lnTo>
                  <a:lnTo>
                    <a:pt x="697" y="2233"/>
                  </a:lnTo>
                  <a:lnTo>
                    <a:pt x="692" y="2233"/>
                  </a:lnTo>
                  <a:lnTo>
                    <a:pt x="688" y="2236"/>
                  </a:lnTo>
                  <a:lnTo>
                    <a:pt x="679" y="2240"/>
                  </a:lnTo>
                  <a:lnTo>
                    <a:pt x="672" y="2249"/>
                  </a:lnTo>
                  <a:lnTo>
                    <a:pt x="665" y="2257"/>
                  </a:lnTo>
                  <a:lnTo>
                    <a:pt x="660" y="2267"/>
                  </a:lnTo>
                  <a:lnTo>
                    <a:pt x="649" y="2288"/>
                  </a:lnTo>
                  <a:lnTo>
                    <a:pt x="637" y="2307"/>
                  </a:lnTo>
                  <a:lnTo>
                    <a:pt x="632" y="2315"/>
                  </a:lnTo>
                  <a:lnTo>
                    <a:pt x="625" y="2321"/>
                  </a:lnTo>
                  <a:lnTo>
                    <a:pt x="620" y="2322"/>
                  </a:lnTo>
                  <a:lnTo>
                    <a:pt x="617" y="2323"/>
                  </a:lnTo>
                  <a:lnTo>
                    <a:pt x="612" y="2324"/>
                  </a:lnTo>
                  <a:lnTo>
                    <a:pt x="606" y="2324"/>
                  </a:lnTo>
                  <a:lnTo>
                    <a:pt x="604" y="2308"/>
                  </a:lnTo>
                  <a:lnTo>
                    <a:pt x="604" y="2293"/>
                  </a:lnTo>
                  <a:lnTo>
                    <a:pt x="603" y="2278"/>
                  </a:lnTo>
                  <a:lnTo>
                    <a:pt x="601" y="2262"/>
                  </a:lnTo>
                  <a:lnTo>
                    <a:pt x="600" y="2256"/>
                  </a:lnTo>
                  <a:lnTo>
                    <a:pt x="597" y="2251"/>
                  </a:lnTo>
                  <a:lnTo>
                    <a:pt x="591" y="2247"/>
                  </a:lnTo>
                  <a:lnTo>
                    <a:pt x="586" y="2243"/>
                  </a:lnTo>
                  <a:lnTo>
                    <a:pt x="580" y="2239"/>
                  </a:lnTo>
                  <a:lnTo>
                    <a:pt x="576" y="2235"/>
                  </a:lnTo>
                  <a:lnTo>
                    <a:pt x="572" y="2229"/>
                  </a:lnTo>
                  <a:lnTo>
                    <a:pt x="570" y="2222"/>
                  </a:lnTo>
                  <a:lnTo>
                    <a:pt x="565" y="2200"/>
                  </a:lnTo>
                  <a:lnTo>
                    <a:pt x="561" y="2185"/>
                  </a:lnTo>
                  <a:lnTo>
                    <a:pt x="558" y="2180"/>
                  </a:lnTo>
                  <a:lnTo>
                    <a:pt x="555" y="2175"/>
                  </a:lnTo>
                  <a:lnTo>
                    <a:pt x="553" y="2173"/>
                  </a:lnTo>
                  <a:lnTo>
                    <a:pt x="549" y="2171"/>
                  </a:lnTo>
                  <a:lnTo>
                    <a:pt x="546" y="2169"/>
                  </a:lnTo>
                  <a:lnTo>
                    <a:pt x="542" y="2171"/>
                  </a:lnTo>
                  <a:lnTo>
                    <a:pt x="540" y="2172"/>
                  </a:lnTo>
                  <a:lnTo>
                    <a:pt x="536" y="2173"/>
                  </a:lnTo>
                  <a:lnTo>
                    <a:pt x="529" y="2180"/>
                  </a:lnTo>
                  <a:lnTo>
                    <a:pt x="521" y="2188"/>
                  </a:lnTo>
                  <a:lnTo>
                    <a:pt x="507" y="2210"/>
                  </a:lnTo>
                  <a:lnTo>
                    <a:pt x="494" y="2233"/>
                  </a:lnTo>
                  <a:lnTo>
                    <a:pt x="483" y="2254"/>
                  </a:lnTo>
                  <a:lnTo>
                    <a:pt x="473" y="2267"/>
                  </a:lnTo>
                  <a:lnTo>
                    <a:pt x="469" y="2281"/>
                  </a:lnTo>
                  <a:lnTo>
                    <a:pt x="465" y="2294"/>
                  </a:lnTo>
                  <a:lnTo>
                    <a:pt x="464" y="2307"/>
                  </a:lnTo>
                  <a:lnTo>
                    <a:pt x="463" y="2320"/>
                  </a:lnTo>
                  <a:lnTo>
                    <a:pt x="465" y="2343"/>
                  </a:lnTo>
                  <a:lnTo>
                    <a:pt x="469" y="2365"/>
                  </a:lnTo>
                  <a:lnTo>
                    <a:pt x="469" y="2375"/>
                  </a:lnTo>
                  <a:lnTo>
                    <a:pt x="470" y="2386"/>
                  </a:lnTo>
                  <a:lnTo>
                    <a:pt x="469" y="2396"/>
                  </a:lnTo>
                  <a:lnTo>
                    <a:pt x="466" y="2407"/>
                  </a:lnTo>
                  <a:lnTo>
                    <a:pt x="462" y="2418"/>
                  </a:lnTo>
                  <a:lnTo>
                    <a:pt x="456" y="2429"/>
                  </a:lnTo>
                  <a:lnTo>
                    <a:pt x="448" y="2439"/>
                  </a:lnTo>
                  <a:lnTo>
                    <a:pt x="436" y="2451"/>
                  </a:lnTo>
                  <a:lnTo>
                    <a:pt x="427" y="2458"/>
                  </a:lnTo>
                  <a:lnTo>
                    <a:pt x="417" y="2461"/>
                  </a:lnTo>
                  <a:lnTo>
                    <a:pt x="409" y="2464"/>
                  </a:lnTo>
                  <a:lnTo>
                    <a:pt x="401" y="2463"/>
                  </a:lnTo>
                  <a:lnTo>
                    <a:pt x="394" y="2461"/>
                  </a:lnTo>
                  <a:lnTo>
                    <a:pt x="386" y="2458"/>
                  </a:lnTo>
                  <a:lnTo>
                    <a:pt x="378" y="2455"/>
                  </a:lnTo>
                  <a:lnTo>
                    <a:pt x="371" y="2450"/>
                  </a:lnTo>
                  <a:lnTo>
                    <a:pt x="363" y="2446"/>
                  </a:lnTo>
                  <a:lnTo>
                    <a:pt x="355" y="2443"/>
                  </a:lnTo>
                  <a:lnTo>
                    <a:pt x="346" y="2439"/>
                  </a:lnTo>
                  <a:lnTo>
                    <a:pt x="337" y="2437"/>
                  </a:lnTo>
                  <a:lnTo>
                    <a:pt x="328" y="2437"/>
                  </a:lnTo>
                  <a:lnTo>
                    <a:pt x="319" y="2438"/>
                  </a:lnTo>
                  <a:lnTo>
                    <a:pt x="308" y="2443"/>
                  </a:lnTo>
                  <a:lnTo>
                    <a:pt x="296" y="2449"/>
                  </a:lnTo>
                  <a:lnTo>
                    <a:pt x="282" y="2458"/>
                  </a:lnTo>
                  <a:lnTo>
                    <a:pt x="268" y="2466"/>
                  </a:lnTo>
                  <a:lnTo>
                    <a:pt x="255" y="2473"/>
                  </a:lnTo>
                  <a:lnTo>
                    <a:pt x="239" y="2481"/>
                  </a:lnTo>
                  <a:lnTo>
                    <a:pt x="224" y="2488"/>
                  </a:lnTo>
                  <a:lnTo>
                    <a:pt x="210" y="2496"/>
                  </a:lnTo>
                  <a:lnTo>
                    <a:pt x="196" y="2503"/>
                  </a:lnTo>
                  <a:lnTo>
                    <a:pt x="184" y="2513"/>
                  </a:lnTo>
                  <a:lnTo>
                    <a:pt x="163" y="2527"/>
                  </a:lnTo>
                  <a:lnTo>
                    <a:pt x="140" y="2539"/>
                  </a:lnTo>
                  <a:lnTo>
                    <a:pt x="130" y="2544"/>
                  </a:lnTo>
                  <a:lnTo>
                    <a:pt x="118" y="2549"/>
                  </a:lnTo>
                  <a:lnTo>
                    <a:pt x="107" y="2553"/>
                  </a:lnTo>
                  <a:lnTo>
                    <a:pt x="95" y="2557"/>
                  </a:lnTo>
                  <a:lnTo>
                    <a:pt x="82" y="2559"/>
                  </a:lnTo>
                  <a:lnTo>
                    <a:pt x="71" y="2560"/>
                  </a:lnTo>
                  <a:lnTo>
                    <a:pt x="59" y="2562"/>
                  </a:lnTo>
                  <a:lnTo>
                    <a:pt x="47" y="2562"/>
                  </a:lnTo>
                  <a:lnTo>
                    <a:pt x="35" y="2559"/>
                  </a:lnTo>
                  <a:lnTo>
                    <a:pt x="23" y="2557"/>
                  </a:lnTo>
                  <a:lnTo>
                    <a:pt x="11" y="2552"/>
                  </a:lnTo>
                  <a:lnTo>
                    <a:pt x="0" y="2548"/>
                  </a:lnTo>
                  <a:lnTo>
                    <a:pt x="30" y="2448"/>
                  </a:lnTo>
                  <a:lnTo>
                    <a:pt x="36" y="2436"/>
                  </a:lnTo>
                  <a:lnTo>
                    <a:pt x="39" y="2424"/>
                  </a:lnTo>
                  <a:lnTo>
                    <a:pt x="43" y="2411"/>
                  </a:lnTo>
                  <a:lnTo>
                    <a:pt x="45" y="2399"/>
                  </a:lnTo>
                  <a:lnTo>
                    <a:pt x="47" y="2373"/>
                  </a:lnTo>
                  <a:lnTo>
                    <a:pt x="50" y="2347"/>
                  </a:lnTo>
                  <a:lnTo>
                    <a:pt x="52" y="2335"/>
                  </a:lnTo>
                  <a:lnTo>
                    <a:pt x="54" y="2323"/>
                  </a:lnTo>
                  <a:lnTo>
                    <a:pt x="59" y="2311"/>
                  </a:lnTo>
                  <a:lnTo>
                    <a:pt x="64" y="2300"/>
                  </a:lnTo>
                  <a:lnTo>
                    <a:pt x="71" y="2289"/>
                  </a:lnTo>
                  <a:lnTo>
                    <a:pt x="79" y="2280"/>
                  </a:lnTo>
                  <a:lnTo>
                    <a:pt x="90" y="2272"/>
                  </a:lnTo>
                  <a:lnTo>
                    <a:pt x="103" y="2265"/>
                  </a:lnTo>
                  <a:lnTo>
                    <a:pt x="108" y="2264"/>
                  </a:lnTo>
                  <a:lnTo>
                    <a:pt x="114" y="2262"/>
                  </a:lnTo>
                  <a:lnTo>
                    <a:pt x="121" y="2262"/>
                  </a:lnTo>
                  <a:lnTo>
                    <a:pt x="126" y="2262"/>
                  </a:lnTo>
                  <a:lnTo>
                    <a:pt x="140" y="2265"/>
                  </a:lnTo>
                  <a:lnTo>
                    <a:pt x="156" y="2266"/>
                  </a:lnTo>
                  <a:lnTo>
                    <a:pt x="161" y="2266"/>
                  </a:lnTo>
                  <a:lnTo>
                    <a:pt x="168" y="2265"/>
                  </a:lnTo>
                  <a:lnTo>
                    <a:pt x="174" y="2264"/>
                  </a:lnTo>
                  <a:lnTo>
                    <a:pt x="180" y="2261"/>
                  </a:lnTo>
                  <a:lnTo>
                    <a:pt x="185" y="2258"/>
                  </a:lnTo>
                  <a:lnTo>
                    <a:pt x="188" y="2253"/>
                  </a:lnTo>
                  <a:lnTo>
                    <a:pt x="192" y="2247"/>
                  </a:lnTo>
                  <a:lnTo>
                    <a:pt x="194" y="2239"/>
                  </a:lnTo>
                  <a:lnTo>
                    <a:pt x="196" y="2229"/>
                  </a:lnTo>
                  <a:lnTo>
                    <a:pt x="200" y="2221"/>
                  </a:lnTo>
                  <a:lnTo>
                    <a:pt x="204" y="2211"/>
                  </a:lnTo>
                  <a:lnTo>
                    <a:pt x="210" y="2203"/>
                  </a:lnTo>
                  <a:lnTo>
                    <a:pt x="223" y="2189"/>
                  </a:lnTo>
                  <a:lnTo>
                    <a:pt x="238" y="2175"/>
                  </a:lnTo>
                  <a:lnTo>
                    <a:pt x="251" y="2161"/>
                  </a:lnTo>
                  <a:lnTo>
                    <a:pt x="263" y="2147"/>
                  </a:lnTo>
                  <a:lnTo>
                    <a:pt x="266" y="2139"/>
                  </a:lnTo>
                  <a:lnTo>
                    <a:pt x="270" y="2132"/>
                  </a:lnTo>
                  <a:lnTo>
                    <a:pt x="271" y="2123"/>
                  </a:lnTo>
                  <a:lnTo>
                    <a:pt x="270" y="2114"/>
                  </a:lnTo>
                  <a:lnTo>
                    <a:pt x="270" y="2108"/>
                  </a:lnTo>
                  <a:lnTo>
                    <a:pt x="270" y="2102"/>
                  </a:lnTo>
                  <a:lnTo>
                    <a:pt x="270" y="2097"/>
                  </a:lnTo>
                  <a:lnTo>
                    <a:pt x="272" y="2093"/>
                  </a:lnTo>
                  <a:lnTo>
                    <a:pt x="273" y="2090"/>
                  </a:lnTo>
                  <a:lnTo>
                    <a:pt x="277" y="2087"/>
                  </a:lnTo>
                  <a:lnTo>
                    <a:pt x="279" y="2086"/>
                  </a:lnTo>
                  <a:lnTo>
                    <a:pt x="282" y="2083"/>
                  </a:lnTo>
                  <a:lnTo>
                    <a:pt x="300" y="2079"/>
                  </a:lnTo>
                  <a:lnTo>
                    <a:pt x="320" y="2074"/>
                  </a:lnTo>
                  <a:lnTo>
                    <a:pt x="334" y="2068"/>
                  </a:lnTo>
                  <a:lnTo>
                    <a:pt x="345" y="2061"/>
                  </a:lnTo>
                  <a:lnTo>
                    <a:pt x="353" y="2053"/>
                  </a:lnTo>
                  <a:lnTo>
                    <a:pt x="359" y="2045"/>
                  </a:lnTo>
                  <a:lnTo>
                    <a:pt x="367" y="2024"/>
                  </a:lnTo>
                  <a:lnTo>
                    <a:pt x="376" y="1996"/>
                  </a:lnTo>
                  <a:lnTo>
                    <a:pt x="387" y="1989"/>
                  </a:lnTo>
                  <a:lnTo>
                    <a:pt x="402" y="1980"/>
                  </a:lnTo>
                  <a:lnTo>
                    <a:pt x="410" y="1975"/>
                  </a:lnTo>
                  <a:lnTo>
                    <a:pt x="417" y="1970"/>
                  </a:lnTo>
                  <a:lnTo>
                    <a:pt x="422" y="1966"/>
                  </a:lnTo>
                  <a:lnTo>
                    <a:pt x="426" y="1962"/>
                  </a:lnTo>
                  <a:lnTo>
                    <a:pt x="427" y="1959"/>
                  </a:lnTo>
                  <a:lnTo>
                    <a:pt x="427" y="1955"/>
                  </a:lnTo>
                  <a:lnTo>
                    <a:pt x="426" y="1952"/>
                  </a:lnTo>
                  <a:lnTo>
                    <a:pt x="424" y="1948"/>
                  </a:lnTo>
                  <a:lnTo>
                    <a:pt x="421" y="1939"/>
                  </a:lnTo>
                  <a:lnTo>
                    <a:pt x="415" y="1928"/>
                  </a:lnTo>
                  <a:lnTo>
                    <a:pt x="409" y="1918"/>
                  </a:lnTo>
                  <a:lnTo>
                    <a:pt x="405" y="1908"/>
                  </a:lnTo>
                  <a:lnTo>
                    <a:pt x="400" y="1897"/>
                  </a:lnTo>
                  <a:lnTo>
                    <a:pt x="398" y="1888"/>
                  </a:lnTo>
                  <a:lnTo>
                    <a:pt x="392" y="1851"/>
                  </a:lnTo>
                  <a:lnTo>
                    <a:pt x="383" y="1811"/>
                  </a:lnTo>
                  <a:lnTo>
                    <a:pt x="379" y="1791"/>
                  </a:lnTo>
                  <a:lnTo>
                    <a:pt x="376" y="1771"/>
                  </a:lnTo>
                  <a:lnTo>
                    <a:pt x="373" y="1753"/>
                  </a:lnTo>
                  <a:lnTo>
                    <a:pt x="372" y="1733"/>
                  </a:lnTo>
                  <a:lnTo>
                    <a:pt x="372" y="1717"/>
                  </a:lnTo>
                  <a:lnTo>
                    <a:pt x="370" y="1704"/>
                  </a:lnTo>
                  <a:lnTo>
                    <a:pt x="367" y="1693"/>
                  </a:lnTo>
                  <a:lnTo>
                    <a:pt x="364" y="1684"/>
                  </a:lnTo>
                  <a:lnTo>
                    <a:pt x="353" y="1667"/>
                  </a:lnTo>
                  <a:lnTo>
                    <a:pt x="337" y="1645"/>
                  </a:lnTo>
                  <a:lnTo>
                    <a:pt x="335" y="1639"/>
                  </a:lnTo>
                  <a:lnTo>
                    <a:pt x="333" y="1631"/>
                  </a:lnTo>
                  <a:lnTo>
                    <a:pt x="330" y="1621"/>
                  </a:lnTo>
                  <a:lnTo>
                    <a:pt x="330" y="1611"/>
                  </a:lnTo>
                  <a:lnTo>
                    <a:pt x="329" y="1589"/>
                  </a:lnTo>
                  <a:lnTo>
                    <a:pt x="328" y="1565"/>
                  </a:lnTo>
                  <a:lnTo>
                    <a:pt x="327" y="1554"/>
                  </a:lnTo>
                  <a:lnTo>
                    <a:pt x="327" y="1543"/>
                  </a:lnTo>
                  <a:lnTo>
                    <a:pt x="324" y="1534"/>
                  </a:lnTo>
                  <a:lnTo>
                    <a:pt x="322" y="1527"/>
                  </a:lnTo>
                  <a:lnTo>
                    <a:pt x="320" y="1521"/>
                  </a:lnTo>
                  <a:lnTo>
                    <a:pt x="315" y="1518"/>
                  </a:lnTo>
                  <a:lnTo>
                    <a:pt x="313" y="1517"/>
                  </a:lnTo>
                  <a:lnTo>
                    <a:pt x="310" y="1515"/>
                  </a:lnTo>
                  <a:lnTo>
                    <a:pt x="307" y="1517"/>
                  </a:lnTo>
                  <a:lnTo>
                    <a:pt x="303" y="1518"/>
                  </a:lnTo>
                  <a:lnTo>
                    <a:pt x="291" y="1521"/>
                  </a:lnTo>
                  <a:lnTo>
                    <a:pt x="280" y="1524"/>
                  </a:lnTo>
                  <a:lnTo>
                    <a:pt x="275" y="1522"/>
                  </a:lnTo>
                  <a:lnTo>
                    <a:pt x="272" y="1522"/>
                  </a:lnTo>
                  <a:lnTo>
                    <a:pt x="268" y="1520"/>
                  </a:lnTo>
                  <a:lnTo>
                    <a:pt x="265" y="1519"/>
                  </a:lnTo>
                  <a:lnTo>
                    <a:pt x="263" y="1515"/>
                  </a:lnTo>
                  <a:lnTo>
                    <a:pt x="260" y="1512"/>
                  </a:lnTo>
                  <a:lnTo>
                    <a:pt x="259" y="1508"/>
                  </a:lnTo>
                  <a:lnTo>
                    <a:pt x="258" y="1504"/>
                  </a:lnTo>
                  <a:lnTo>
                    <a:pt x="256" y="1493"/>
                  </a:lnTo>
                  <a:lnTo>
                    <a:pt x="255" y="1482"/>
                  </a:lnTo>
                  <a:lnTo>
                    <a:pt x="255" y="1469"/>
                  </a:lnTo>
                  <a:lnTo>
                    <a:pt x="252" y="1458"/>
                  </a:lnTo>
                  <a:lnTo>
                    <a:pt x="249" y="1449"/>
                  </a:lnTo>
                  <a:lnTo>
                    <a:pt x="245" y="1441"/>
                  </a:lnTo>
                  <a:lnTo>
                    <a:pt x="236" y="1427"/>
                  </a:lnTo>
                  <a:lnTo>
                    <a:pt x="227" y="1415"/>
                  </a:lnTo>
                  <a:lnTo>
                    <a:pt x="224" y="1409"/>
                  </a:lnTo>
                  <a:lnTo>
                    <a:pt x="222" y="1404"/>
                  </a:lnTo>
                  <a:lnTo>
                    <a:pt x="221" y="1397"/>
                  </a:lnTo>
                  <a:lnTo>
                    <a:pt x="222" y="1389"/>
                  </a:lnTo>
                  <a:lnTo>
                    <a:pt x="225" y="1379"/>
                  </a:lnTo>
                  <a:lnTo>
                    <a:pt x="230" y="1369"/>
                  </a:lnTo>
                  <a:lnTo>
                    <a:pt x="238" y="1357"/>
                  </a:lnTo>
                  <a:lnTo>
                    <a:pt x="249" y="1342"/>
                  </a:lnTo>
                  <a:lnTo>
                    <a:pt x="252" y="1340"/>
                  </a:lnTo>
                  <a:lnTo>
                    <a:pt x="258" y="1338"/>
                  </a:lnTo>
                  <a:lnTo>
                    <a:pt x="265" y="1338"/>
                  </a:lnTo>
                  <a:lnTo>
                    <a:pt x="274" y="1340"/>
                  </a:lnTo>
                  <a:lnTo>
                    <a:pt x="296" y="1342"/>
                  </a:lnTo>
                  <a:lnTo>
                    <a:pt x="321" y="1347"/>
                  </a:lnTo>
                  <a:lnTo>
                    <a:pt x="346" y="1351"/>
                  </a:lnTo>
                  <a:lnTo>
                    <a:pt x="370" y="1357"/>
                  </a:lnTo>
                  <a:lnTo>
                    <a:pt x="388" y="1363"/>
                  </a:lnTo>
                  <a:lnTo>
                    <a:pt x="401" y="1368"/>
                  </a:lnTo>
                  <a:lnTo>
                    <a:pt x="407" y="1371"/>
                  </a:lnTo>
                  <a:lnTo>
                    <a:pt x="413" y="1376"/>
                  </a:lnTo>
                  <a:lnTo>
                    <a:pt x="419" y="1383"/>
                  </a:lnTo>
                  <a:lnTo>
                    <a:pt x="426" y="1391"/>
                  </a:lnTo>
                  <a:lnTo>
                    <a:pt x="437" y="1409"/>
                  </a:lnTo>
                  <a:lnTo>
                    <a:pt x="450" y="1428"/>
                  </a:lnTo>
                  <a:lnTo>
                    <a:pt x="457" y="1437"/>
                  </a:lnTo>
                  <a:lnTo>
                    <a:pt x="463" y="1446"/>
                  </a:lnTo>
                  <a:lnTo>
                    <a:pt x="470" y="1453"/>
                  </a:lnTo>
                  <a:lnTo>
                    <a:pt x="476" y="1458"/>
                  </a:lnTo>
                  <a:lnTo>
                    <a:pt x="483" y="1463"/>
                  </a:lnTo>
                  <a:lnTo>
                    <a:pt x="488" y="1465"/>
                  </a:lnTo>
                  <a:lnTo>
                    <a:pt x="492" y="1465"/>
                  </a:lnTo>
                  <a:lnTo>
                    <a:pt x="495" y="1465"/>
                  </a:lnTo>
                  <a:lnTo>
                    <a:pt x="498" y="1464"/>
                  </a:lnTo>
                  <a:lnTo>
                    <a:pt x="501" y="1463"/>
                  </a:lnTo>
                  <a:lnTo>
                    <a:pt x="518" y="1453"/>
                  </a:lnTo>
                  <a:lnTo>
                    <a:pt x="534" y="1446"/>
                  </a:lnTo>
                  <a:lnTo>
                    <a:pt x="542" y="1443"/>
                  </a:lnTo>
                  <a:lnTo>
                    <a:pt x="549" y="1441"/>
                  </a:lnTo>
                  <a:lnTo>
                    <a:pt x="557" y="1440"/>
                  </a:lnTo>
                  <a:lnTo>
                    <a:pt x="564" y="1440"/>
                  </a:lnTo>
                  <a:lnTo>
                    <a:pt x="572" y="1441"/>
                  </a:lnTo>
                  <a:lnTo>
                    <a:pt x="578" y="1442"/>
                  </a:lnTo>
                  <a:lnTo>
                    <a:pt x="585" y="1446"/>
                  </a:lnTo>
                  <a:lnTo>
                    <a:pt x="592" y="1449"/>
                  </a:lnTo>
                  <a:lnTo>
                    <a:pt x="598" y="1454"/>
                  </a:lnTo>
                  <a:lnTo>
                    <a:pt x="603" y="1461"/>
                  </a:lnTo>
                  <a:lnTo>
                    <a:pt x="608" y="1469"/>
                  </a:lnTo>
                  <a:lnTo>
                    <a:pt x="613" y="1477"/>
                  </a:lnTo>
                  <a:lnTo>
                    <a:pt x="618" y="1486"/>
                  </a:lnTo>
                  <a:lnTo>
                    <a:pt x="622" y="1493"/>
                  </a:lnTo>
                  <a:lnTo>
                    <a:pt x="628" y="1498"/>
                  </a:lnTo>
                  <a:lnTo>
                    <a:pt x="635" y="1501"/>
                  </a:lnTo>
                  <a:lnTo>
                    <a:pt x="641" y="1503"/>
                  </a:lnTo>
                  <a:lnTo>
                    <a:pt x="647" y="1503"/>
                  </a:lnTo>
                  <a:lnTo>
                    <a:pt x="654" y="1500"/>
                  </a:lnTo>
                  <a:lnTo>
                    <a:pt x="660" y="1498"/>
                  </a:lnTo>
                  <a:lnTo>
                    <a:pt x="665" y="1493"/>
                  </a:lnTo>
                  <a:lnTo>
                    <a:pt x="670" y="1489"/>
                  </a:lnTo>
                  <a:lnTo>
                    <a:pt x="675" y="1482"/>
                  </a:lnTo>
                  <a:lnTo>
                    <a:pt x="678" y="1476"/>
                  </a:lnTo>
                  <a:lnTo>
                    <a:pt x="682" y="1468"/>
                  </a:lnTo>
                  <a:lnTo>
                    <a:pt x="684" y="1461"/>
                  </a:lnTo>
                  <a:lnTo>
                    <a:pt x="685" y="1453"/>
                  </a:lnTo>
                  <a:lnTo>
                    <a:pt x="685" y="1444"/>
                  </a:lnTo>
                  <a:lnTo>
                    <a:pt x="684" y="1436"/>
                  </a:lnTo>
                  <a:lnTo>
                    <a:pt x="682" y="1429"/>
                  </a:lnTo>
                  <a:lnTo>
                    <a:pt x="681" y="1422"/>
                  </a:lnTo>
                  <a:lnTo>
                    <a:pt x="677" y="1416"/>
                  </a:lnTo>
                  <a:lnTo>
                    <a:pt x="674" y="1411"/>
                  </a:lnTo>
                  <a:lnTo>
                    <a:pt x="670" y="1406"/>
                  </a:lnTo>
                  <a:lnTo>
                    <a:pt x="665" y="1402"/>
                  </a:lnTo>
                  <a:lnTo>
                    <a:pt x="661" y="1399"/>
                  </a:lnTo>
                  <a:lnTo>
                    <a:pt x="650" y="1393"/>
                  </a:lnTo>
                  <a:lnTo>
                    <a:pt x="639" y="1389"/>
                  </a:lnTo>
                  <a:lnTo>
                    <a:pt x="626" y="1385"/>
                  </a:lnTo>
                  <a:lnTo>
                    <a:pt x="612" y="1383"/>
                  </a:lnTo>
                  <a:lnTo>
                    <a:pt x="583" y="1379"/>
                  </a:lnTo>
                  <a:lnTo>
                    <a:pt x="554" y="1373"/>
                  </a:lnTo>
                  <a:lnTo>
                    <a:pt x="540" y="1369"/>
                  </a:lnTo>
                  <a:lnTo>
                    <a:pt x="526" y="1363"/>
                  </a:lnTo>
                  <a:lnTo>
                    <a:pt x="520" y="1358"/>
                  </a:lnTo>
                  <a:lnTo>
                    <a:pt x="514" y="1355"/>
                  </a:lnTo>
                  <a:lnTo>
                    <a:pt x="508" y="1350"/>
                  </a:lnTo>
                  <a:lnTo>
                    <a:pt x="502" y="1344"/>
                  </a:lnTo>
                  <a:lnTo>
                    <a:pt x="498" y="1337"/>
                  </a:lnTo>
                  <a:lnTo>
                    <a:pt x="494" y="1330"/>
                  </a:lnTo>
                  <a:lnTo>
                    <a:pt x="492" y="1321"/>
                  </a:lnTo>
                  <a:lnTo>
                    <a:pt x="491" y="1312"/>
                  </a:lnTo>
                  <a:lnTo>
                    <a:pt x="490" y="1290"/>
                  </a:lnTo>
                  <a:lnTo>
                    <a:pt x="491" y="1265"/>
                  </a:lnTo>
                  <a:lnTo>
                    <a:pt x="497" y="1216"/>
                  </a:lnTo>
                  <a:lnTo>
                    <a:pt x="501" y="1176"/>
                  </a:lnTo>
                  <a:lnTo>
                    <a:pt x="501" y="1158"/>
                  </a:lnTo>
                  <a:lnTo>
                    <a:pt x="501" y="1143"/>
                  </a:lnTo>
                  <a:lnTo>
                    <a:pt x="500" y="1132"/>
                  </a:lnTo>
                  <a:lnTo>
                    <a:pt x="499" y="1122"/>
                  </a:lnTo>
                  <a:lnTo>
                    <a:pt x="492" y="1103"/>
                  </a:lnTo>
                  <a:lnTo>
                    <a:pt x="479" y="1077"/>
                  </a:lnTo>
                  <a:lnTo>
                    <a:pt x="476" y="1066"/>
                  </a:lnTo>
                  <a:lnTo>
                    <a:pt x="475" y="1056"/>
                  </a:lnTo>
                  <a:lnTo>
                    <a:pt x="475" y="1044"/>
                  </a:lnTo>
                  <a:lnTo>
                    <a:pt x="476" y="1034"/>
                  </a:lnTo>
                  <a:lnTo>
                    <a:pt x="478" y="1011"/>
                  </a:lnTo>
                  <a:lnTo>
                    <a:pt x="479" y="989"/>
                  </a:lnTo>
                  <a:lnTo>
                    <a:pt x="478" y="982"/>
                  </a:lnTo>
                  <a:lnTo>
                    <a:pt x="473" y="966"/>
                  </a:lnTo>
                  <a:lnTo>
                    <a:pt x="469" y="946"/>
                  </a:lnTo>
                  <a:lnTo>
                    <a:pt x="465" y="924"/>
                  </a:lnTo>
                  <a:lnTo>
                    <a:pt x="464" y="914"/>
                  </a:lnTo>
                  <a:lnTo>
                    <a:pt x="464" y="904"/>
                  </a:lnTo>
                  <a:lnTo>
                    <a:pt x="464" y="897"/>
                  </a:lnTo>
                  <a:lnTo>
                    <a:pt x="465" y="892"/>
                  </a:lnTo>
                  <a:lnTo>
                    <a:pt x="466" y="889"/>
                  </a:lnTo>
                  <a:lnTo>
                    <a:pt x="469" y="888"/>
                  </a:lnTo>
                  <a:lnTo>
                    <a:pt x="470" y="887"/>
                  </a:lnTo>
                  <a:lnTo>
                    <a:pt x="472" y="888"/>
                  </a:lnTo>
                  <a:lnTo>
                    <a:pt x="479" y="890"/>
                  </a:lnTo>
                  <a:lnTo>
                    <a:pt x="486" y="896"/>
                  </a:lnTo>
                  <a:lnTo>
                    <a:pt x="497" y="906"/>
                  </a:lnTo>
                  <a:lnTo>
                    <a:pt x="506" y="910"/>
                  </a:lnTo>
                  <a:lnTo>
                    <a:pt x="515" y="914"/>
                  </a:lnTo>
                  <a:lnTo>
                    <a:pt x="525" y="915"/>
                  </a:lnTo>
                  <a:lnTo>
                    <a:pt x="534" y="914"/>
                  </a:lnTo>
                  <a:lnTo>
                    <a:pt x="542" y="910"/>
                  </a:lnTo>
                  <a:lnTo>
                    <a:pt x="550" y="907"/>
                  </a:lnTo>
                  <a:lnTo>
                    <a:pt x="558" y="901"/>
                  </a:lnTo>
                  <a:lnTo>
                    <a:pt x="566" y="894"/>
                  </a:lnTo>
                  <a:lnTo>
                    <a:pt x="573" y="886"/>
                  </a:lnTo>
                  <a:lnTo>
                    <a:pt x="580" y="878"/>
                  </a:lnTo>
                  <a:lnTo>
                    <a:pt x="587" y="868"/>
                  </a:lnTo>
                  <a:lnTo>
                    <a:pt x="600" y="851"/>
                  </a:lnTo>
                  <a:lnTo>
                    <a:pt x="612" y="835"/>
                  </a:lnTo>
                  <a:lnTo>
                    <a:pt x="615" y="825"/>
                  </a:lnTo>
                  <a:lnTo>
                    <a:pt x="619" y="816"/>
                  </a:lnTo>
                  <a:lnTo>
                    <a:pt x="620" y="808"/>
                  </a:lnTo>
                  <a:lnTo>
                    <a:pt x="621" y="798"/>
                  </a:lnTo>
                  <a:lnTo>
                    <a:pt x="622" y="790"/>
                  </a:lnTo>
                  <a:lnTo>
                    <a:pt x="625" y="781"/>
                  </a:lnTo>
                  <a:lnTo>
                    <a:pt x="629" y="773"/>
                  </a:lnTo>
                  <a:lnTo>
                    <a:pt x="635" y="764"/>
                  </a:lnTo>
                  <a:lnTo>
                    <a:pt x="641" y="759"/>
                  </a:lnTo>
                  <a:lnTo>
                    <a:pt x="648" y="755"/>
                  </a:lnTo>
                  <a:lnTo>
                    <a:pt x="656" y="754"/>
                  </a:lnTo>
                  <a:lnTo>
                    <a:pt x="664" y="754"/>
                  </a:lnTo>
                  <a:lnTo>
                    <a:pt x="682" y="757"/>
                  </a:lnTo>
                  <a:lnTo>
                    <a:pt x="697" y="758"/>
                  </a:lnTo>
                  <a:lnTo>
                    <a:pt x="705" y="757"/>
                  </a:lnTo>
                  <a:lnTo>
                    <a:pt x="713" y="755"/>
                  </a:lnTo>
                  <a:lnTo>
                    <a:pt x="720" y="752"/>
                  </a:lnTo>
                  <a:lnTo>
                    <a:pt x="727" y="748"/>
                  </a:lnTo>
                  <a:lnTo>
                    <a:pt x="739" y="739"/>
                  </a:lnTo>
                  <a:lnTo>
                    <a:pt x="748" y="731"/>
                  </a:lnTo>
                  <a:lnTo>
                    <a:pt x="753" y="729"/>
                  </a:lnTo>
                  <a:lnTo>
                    <a:pt x="757" y="725"/>
                  </a:lnTo>
                  <a:lnTo>
                    <a:pt x="762" y="725"/>
                  </a:lnTo>
                  <a:lnTo>
                    <a:pt x="767" y="725"/>
                  </a:lnTo>
                  <a:lnTo>
                    <a:pt x="771" y="727"/>
                  </a:lnTo>
                  <a:lnTo>
                    <a:pt x="776" y="731"/>
                  </a:lnTo>
                  <a:lnTo>
                    <a:pt x="781" y="738"/>
                  </a:lnTo>
                  <a:lnTo>
                    <a:pt x="786" y="747"/>
                  </a:lnTo>
                  <a:lnTo>
                    <a:pt x="791" y="754"/>
                  </a:lnTo>
                  <a:lnTo>
                    <a:pt x="795" y="761"/>
                  </a:lnTo>
                  <a:lnTo>
                    <a:pt x="799" y="766"/>
                  </a:lnTo>
                  <a:lnTo>
                    <a:pt x="804" y="769"/>
                  </a:lnTo>
                  <a:lnTo>
                    <a:pt x="810" y="772"/>
                  </a:lnTo>
                  <a:lnTo>
                    <a:pt x="814" y="774"/>
                  </a:lnTo>
                  <a:lnTo>
                    <a:pt x="820" y="775"/>
                  </a:lnTo>
                  <a:lnTo>
                    <a:pt x="826" y="775"/>
                  </a:lnTo>
                  <a:lnTo>
                    <a:pt x="837" y="774"/>
                  </a:lnTo>
                  <a:lnTo>
                    <a:pt x="848" y="769"/>
                  </a:lnTo>
                  <a:lnTo>
                    <a:pt x="860" y="764"/>
                  </a:lnTo>
                  <a:lnTo>
                    <a:pt x="871" y="757"/>
                  </a:lnTo>
                  <a:lnTo>
                    <a:pt x="877" y="752"/>
                  </a:lnTo>
                  <a:lnTo>
                    <a:pt x="882" y="746"/>
                  </a:lnTo>
                  <a:lnTo>
                    <a:pt x="887" y="741"/>
                  </a:lnTo>
                  <a:lnTo>
                    <a:pt x="889" y="734"/>
                  </a:lnTo>
                  <a:lnTo>
                    <a:pt x="894" y="723"/>
                  </a:lnTo>
                  <a:lnTo>
                    <a:pt x="896" y="710"/>
                  </a:lnTo>
                  <a:lnTo>
                    <a:pt x="898" y="697"/>
                  </a:lnTo>
                  <a:lnTo>
                    <a:pt x="902" y="687"/>
                  </a:lnTo>
                  <a:lnTo>
                    <a:pt x="905" y="682"/>
                  </a:lnTo>
                  <a:lnTo>
                    <a:pt x="909" y="677"/>
                  </a:lnTo>
                  <a:lnTo>
                    <a:pt x="913" y="674"/>
                  </a:lnTo>
                  <a:lnTo>
                    <a:pt x="919" y="670"/>
                  </a:lnTo>
                  <a:lnTo>
                    <a:pt x="930" y="668"/>
                  </a:lnTo>
                  <a:lnTo>
                    <a:pt x="941" y="667"/>
                  </a:lnTo>
                  <a:lnTo>
                    <a:pt x="954" y="667"/>
                  </a:lnTo>
                  <a:lnTo>
                    <a:pt x="967" y="666"/>
                  </a:lnTo>
                  <a:lnTo>
                    <a:pt x="980" y="666"/>
                  </a:lnTo>
                  <a:lnTo>
                    <a:pt x="990" y="665"/>
                  </a:lnTo>
                  <a:lnTo>
                    <a:pt x="996" y="663"/>
                  </a:lnTo>
                  <a:lnTo>
                    <a:pt x="1001" y="661"/>
                  </a:lnTo>
                  <a:lnTo>
                    <a:pt x="1004" y="660"/>
                  </a:lnTo>
                  <a:lnTo>
                    <a:pt x="1008" y="657"/>
                  </a:lnTo>
                  <a:lnTo>
                    <a:pt x="1012" y="652"/>
                  </a:lnTo>
                  <a:lnTo>
                    <a:pt x="1015" y="646"/>
                  </a:lnTo>
                  <a:lnTo>
                    <a:pt x="1013" y="640"/>
                  </a:lnTo>
                  <a:lnTo>
                    <a:pt x="1011" y="634"/>
                  </a:lnTo>
                  <a:lnTo>
                    <a:pt x="1003" y="623"/>
                  </a:lnTo>
                  <a:lnTo>
                    <a:pt x="991" y="610"/>
                  </a:lnTo>
                  <a:lnTo>
                    <a:pt x="986" y="603"/>
                  </a:lnTo>
                  <a:lnTo>
                    <a:pt x="981" y="596"/>
                  </a:lnTo>
                  <a:lnTo>
                    <a:pt x="976" y="589"/>
                  </a:lnTo>
                  <a:lnTo>
                    <a:pt x="973" y="581"/>
                  </a:lnTo>
                  <a:lnTo>
                    <a:pt x="970" y="573"/>
                  </a:lnTo>
                  <a:lnTo>
                    <a:pt x="970" y="565"/>
                  </a:lnTo>
                  <a:lnTo>
                    <a:pt x="973" y="554"/>
                  </a:lnTo>
                  <a:lnTo>
                    <a:pt x="979" y="545"/>
                  </a:lnTo>
                  <a:lnTo>
                    <a:pt x="987" y="532"/>
                  </a:lnTo>
                  <a:lnTo>
                    <a:pt x="994" y="519"/>
                  </a:lnTo>
                  <a:lnTo>
                    <a:pt x="999" y="506"/>
                  </a:lnTo>
                  <a:lnTo>
                    <a:pt x="1005" y="492"/>
                  </a:lnTo>
                  <a:lnTo>
                    <a:pt x="1006" y="491"/>
                  </a:lnTo>
                  <a:lnTo>
                    <a:pt x="1009" y="490"/>
                  </a:lnTo>
                  <a:lnTo>
                    <a:pt x="1012" y="489"/>
                  </a:lnTo>
                  <a:lnTo>
                    <a:pt x="1016" y="489"/>
                  </a:lnTo>
                  <a:lnTo>
                    <a:pt x="1025" y="491"/>
                  </a:lnTo>
                  <a:lnTo>
                    <a:pt x="1036" y="492"/>
                  </a:lnTo>
                  <a:lnTo>
                    <a:pt x="1040" y="492"/>
                  </a:lnTo>
                  <a:lnTo>
                    <a:pt x="1044" y="492"/>
                  </a:lnTo>
                  <a:lnTo>
                    <a:pt x="1047" y="492"/>
                  </a:lnTo>
                  <a:lnTo>
                    <a:pt x="1051" y="491"/>
                  </a:lnTo>
                  <a:lnTo>
                    <a:pt x="1052" y="489"/>
                  </a:lnTo>
                  <a:lnTo>
                    <a:pt x="1053" y="485"/>
                  </a:lnTo>
                  <a:lnTo>
                    <a:pt x="1052" y="481"/>
                  </a:lnTo>
                  <a:lnTo>
                    <a:pt x="1050" y="474"/>
                  </a:lnTo>
                  <a:lnTo>
                    <a:pt x="1045" y="462"/>
                  </a:lnTo>
                  <a:lnTo>
                    <a:pt x="1041" y="452"/>
                  </a:lnTo>
                  <a:lnTo>
                    <a:pt x="1040" y="442"/>
                  </a:lnTo>
                  <a:lnTo>
                    <a:pt x="1040" y="435"/>
                  </a:lnTo>
                  <a:lnTo>
                    <a:pt x="1041" y="428"/>
                  </a:lnTo>
                  <a:lnTo>
                    <a:pt x="1044" y="423"/>
                  </a:lnTo>
                  <a:lnTo>
                    <a:pt x="1047" y="418"/>
                  </a:lnTo>
                  <a:lnTo>
                    <a:pt x="1052" y="413"/>
                  </a:lnTo>
                  <a:lnTo>
                    <a:pt x="1062" y="405"/>
                  </a:lnTo>
                  <a:lnTo>
                    <a:pt x="1074" y="395"/>
                  </a:lnTo>
                  <a:lnTo>
                    <a:pt x="1080" y="389"/>
                  </a:lnTo>
                  <a:lnTo>
                    <a:pt x="1086" y="382"/>
                  </a:lnTo>
                  <a:lnTo>
                    <a:pt x="1091" y="374"/>
                  </a:lnTo>
                  <a:lnTo>
                    <a:pt x="1096" y="363"/>
                  </a:lnTo>
                  <a:lnTo>
                    <a:pt x="1097" y="357"/>
                  </a:lnTo>
                  <a:lnTo>
                    <a:pt x="1097" y="352"/>
                  </a:lnTo>
                  <a:lnTo>
                    <a:pt x="1094" y="347"/>
                  </a:lnTo>
                  <a:lnTo>
                    <a:pt x="1090" y="342"/>
                  </a:lnTo>
                  <a:lnTo>
                    <a:pt x="1082" y="333"/>
                  </a:lnTo>
                  <a:lnTo>
                    <a:pt x="1076" y="323"/>
                  </a:lnTo>
                  <a:lnTo>
                    <a:pt x="1073" y="312"/>
                  </a:lnTo>
                  <a:lnTo>
                    <a:pt x="1070" y="302"/>
                  </a:lnTo>
                  <a:lnTo>
                    <a:pt x="1069" y="289"/>
                  </a:lnTo>
                  <a:lnTo>
                    <a:pt x="1069" y="277"/>
                  </a:lnTo>
                  <a:lnTo>
                    <a:pt x="1069" y="264"/>
                  </a:lnTo>
                  <a:lnTo>
                    <a:pt x="1072" y="253"/>
                  </a:lnTo>
                  <a:lnTo>
                    <a:pt x="1074" y="241"/>
                  </a:lnTo>
                  <a:lnTo>
                    <a:pt x="1077" y="232"/>
                  </a:lnTo>
                  <a:lnTo>
                    <a:pt x="1083" y="226"/>
                  </a:lnTo>
                  <a:lnTo>
                    <a:pt x="1088" y="220"/>
                  </a:lnTo>
                  <a:lnTo>
                    <a:pt x="1091" y="215"/>
                  </a:lnTo>
                  <a:lnTo>
                    <a:pt x="1096" y="210"/>
                  </a:lnTo>
                  <a:lnTo>
                    <a:pt x="1103" y="198"/>
                  </a:lnTo>
                  <a:lnTo>
                    <a:pt x="1111" y="185"/>
                  </a:lnTo>
                  <a:lnTo>
                    <a:pt x="1117" y="178"/>
                  </a:lnTo>
                  <a:lnTo>
                    <a:pt x="1124" y="172"/>
                  </a:lnTo>
                  <a:lnTo>
                    <a:pt x="1131" y="167"/>
                  </a:lnTo>
                  <a:lnTo>
                    <a:pt x="1138" y="162"/>
                  </a:lnTo>
                  <a:lnTo>
                    <a:pt x="1153" y="153"/>
                  </a:lnTo>
                  <a:lnTo>
                    <a:pt x="1169" y="144"/>
                  </a:lnTo>
                  <a:lnTo>
                    <a:pt x="1187" y="137"/>
                  </a:lnTo>
                  <a:lnTo>
                    <a:pt x="1203" y="129"/>
                  </a:lnTo>
                  <a:lnTo>
                    <a:pt x="1219" y="121"/>
                  </a:lnTo>
                  <a:lnTo>
                    <a:pt x="1235" y="112"/>
                  </a:lnTo>
                  <a:lnTo>
                    <a:pt x="1246" y="106"/>
                  </a:lnTo>
                  <a:lnTo>
                    <a:pt x="1260" y="101"/>
                  </a:lnTo>
                  <a:lnTo>
                    <a:pt x="1267" y="99"/>
                  </a:lnTo>
                  <a:lnTo>
                    <a:pt x="1274" y="96"/>
                  </a:lnTo>
                  <a:lnTo>
                    <a:pt x="1280" y="93"/>
                  </a:lnTo>
                  <a:lnTo>
                    <a:pt x="1286" y="90"/>
                  </a:lnTo>
                  <a:lnTo>
                    <a:pt x="1289" y="86"/>
                  </a:lnTo>
                  <a:lnTo>
                    <a:pt x="1292" y="83"/>
                  </a:lnTo>
                  <a:lnTo>
                    <a:pt x="1293" y="79"/>
                  </a:lnTo>
                  <a:lnTo>
                    <a:pt x="1294" y="77"/>
                  </a:lnTo>
                  <a:lnTo>
                    <a:pt x="1294" y="70"/>
                  </a:lnTo>
                  <a:lnTo>
                    <a:pt x="1294" y="63"/>
                  </a:lnTo>
                  <a:lnTo>
                    <a:pt x="1293" y="56"/>
                  </a:lnTo>
                  <a:lnTo>
                    <a:pt x="1293" y="50"/>
                  </a:lnTo>
                  <a:lnTo>
                    <a:pt x="1293" y="44"/>
                  </a:lnTo>
                  <a:lnTo>
                    <a:pt x="1295" y="40"/>
                  </a:lnTo>
                  <a:lnTo>
                    <a:pt x="1292" y="6"/>
                  </a:lnTo>
                  <a:lnTo>
                    <a:pt x="1300" y="6"/>
                  </a:lnTo>
                  <a:lnTo>
                    <a:pt x="1308" y="7"/>
                  </a:lnTo>
                  <a:lnTo>
                    <a:pt x="1316" y="9"/>
                  </a:lnTo>
                  <a:lnTo>
                    <a:pt x="1324" y="12"/>
                  </a:lnTo>
                  <a:lnTo>
                    <a:pt x="1341" y="19"/>
                  </a:lnTo>
                  <a:lnTo>
                    <a:pt x="1357" y="28"/>
                  </a:lnTo>
                  <a:lnTo>
                    <a:pt x="1388" y="48"/>
                  </a:lnTo>
                  <a:lnTo>
                    <a:pt x="1420" y="70"/>
                  </a:lnTo>
                  <a:lnTo>
                    <a:pt x="1436" y="80"/>
                  </a:lnTo>
                  <a:lnTo>
                    <a:pt x="1452" y="89"/>
                  </a:lnTo>
                  <a:lnTo>
                    <a:pt x="1467" y="96"/>
                  </a:lnTo>
                  <a:lnTo>
                    <a:pt x="1484" y="100"/>
                  </a:lnTo>
                  <a:lnTo>
                    <a:pt x="1492" y="101"/>
                  </a:lnTo>
                  <a:lnTo>
                    <a:pt x="1500" y="101"/>
                  </a:lnTo>
                  <a:lnTo>
                    <a:pt x="1508" y="101"/>
                  </a:lnTo>
                  <a:lnTo>
                    <a:pt x="1516" y="100"/>
                  </a:lnTo>
                  <a:lnTo>
                    <a:pt x="1524" y="98"/>
                  </a:lnTo>
                  <a:lnTo>
                    <a:pt x="1533" y="94"/>
                  </a:lnTo>
                  <a:lnTo>
                    <a:pt x="1541" y="90"/>
                  </a:lnTo>
                  <a:lnTo>
                    <a:pt x="1549" y="84"/>
                  </a:lnTo>
                  <a:lnTo>
                    <a:pt x="1565" y="73"/>
                  </a:lnTo>
                  <a:lnTo>
                    <a:pt x="1580" y="65"/>
                  </a:lnTo>
                  <a:lnTo>
                    <a:pt x="1594" y="58"/>
                  </a:lnTo>
                  <a:lnTo>
                    <a:pt x="1608" y="54"/>
                  </a:lnTo>
                  <a:lnTo>
                    <a:pt x="1621" y="51"/>
                  </a:lnTo>
                  <a:lnTo>
                    <a:pt x="1634" y="49"/>
                  </a:lnTo>
                  <a:lnTo>
                    <a:pt x="1646" y="49"/>
                  </a:lnTo>
                  <a:lnTo>
                    <a:pt x="1658" y="49"/>
                  </a:lnTo>
                  <a:lnTo>
                    <a:pt x="1683" y="50"/>
                  </a:lnTo>
                  <a:lnTo>
                    <a:pt x="1708" y="50"/>
                  </a:lnTo>
                  <a:lnTo>
                    <a:pt x="1722" y="50"/>
                  </a:lnTo>
                  <a:lnTo>
                    <a:pt x="1737" y="49"/>
                  </a:lnTo>
                  <a:lnTo>
                    <a:pt x="1753" y="47"/>
                  </a:lnTo>
                  <a:lnTo>
                    <a:pt x="1770" y="43"/>
                  </a:lnTo>
                  <a:lnTo>
                    <a:pt x="1798" y="36"/>
                  </a:lnTo>
                  <a:lnTo>
                    <a:pt x="1819" y="32"/>
                  </a:lnTo>
                  <a:lnTo>
                    <a:pt x="1828" y="30"/>
                  </a:lnTo>
                  <a:lnTo>
                    <a:pt x="1835" y="30"/>
                  </a:lnTo>
                  <a:lnTo>
                    <a:pt x="1842" y="32"/>
                  </a:lnTo>
                  <a:lnTo>
                    <a:pt x="1847" y="33"/>
                  </a:lnTo>
                  <a:lnTo>
                    <a:pt x="1852" y="36"/>
                  </a:lnTo>
                  <a:lnTo>
                    <a:pt x="1854" y="41"/>
                  </a:lnTo>
                  <a:lnTo>
                    <a:pt x="1856" y="48"/>
                  </a:lnTo>
                  <a:lnTo>
                    <a:pt x="1859" y="55"/>
                  </a:lnTo>
                  <a:lnTo>
                    <a:pt x="1861" y="76"/>
                  </a:lnTo>
                  <a:lnTo>
                    <a:pt x="1861" y="103"/>
                  </a:lnTo>
                  <a:lnTo>
                    <a:pt x="1861" y="112"/>
                  </a:lnTo>
                  <a:lnTo>
                    <a:pt x="1860" y="120"/>
                  </a:lnTo>
                  <a:lnTo>
                    <a:pt x="1857" y="128"/>
                  </a:lnTo>
                  <a:lnTo>
                    <a:pt x="1855" y="136"/>
                  </a:lnTo>
                  <a:lnTo>
                    <a:pt x="1849" y="150"/>
                  </a:lnTo>
                  <a:lnTo>
                    <a:pt x="1842" y="164"/>
                  </a:lnTo>
                  <a:lnTo>
                    <a:pt x="1835" y="177"/>
                  </a:lnTo>
                  <a:lnTo>
                    <a:pt x="1829" y="190"/>
                  </a:lnTo>
                  <a:lnTo>
                    <a:pt x="1827" y="197"/>
                  </a:lnTo>
                  <a:lnTo>
                    <a:pt x="1826" y="203"/>
                  </a:lnTo>
                  <a:lnTo>
                    <a:pt x="1825" y="210"/>
                  </a:lnTo>
                  <a:lnTo>
                    <a:pt x="1824" y="217"/>
                  </a:lnTo>
                  <a:lnTo>
                    <a:pt x="1825" y="220"/>
                  </a:lnTo>
                  <a:lnTo>
                    <a:pt x="1825" y="224"/>
                  </a:lnTo>
                  <a:lnTo>
                    <a:pt x="1826" y="226"/>
                  </a:lnTo>
                  <a:lnTo>
                    <a:pt x="1828" y="227"/>
                  </a:lnTo>
                  <a:lnTo>
                    <a:pt x="1832" y="229"/>
                  </a:lnTo>
                  <a:lnTo>
                    <a:pt x="1838" y="229"/>
                  </a:lnTo>
                  <a:lnTo>
                    <a:pt x="1849" y="228"/>
                  </a:lnTo>
                  <a:lnTo>
                    <a:pt x="1862" y="226"/>
                  </a:lnTo>
                  <a:lnTo>
                    <a:pt x="1873" y="227"/>
                  </a:lnTo>
                  <a:lnTo>
                    <a:pt x="1881" y="229"/>
                  </a:lnTo>
                  <a:lnTo>
                    <a:pt x="1886" y="232"/>
                  </a:lnTo>
                  <a:lnTo>
                    <a:pt x="1891" y="234"/>
                  </a:lnTo>
                  <a:lnTo>
                    <a:pt x="1896" y="240"/>
                  </a:lnTo>
                  <a:lnTo>
                    <a:pt x="1899" y="246"/>
                  </a:lnTo>
                  <a:lnTo>
                    <a:pt x="1900" y="248"/>
                  </a:lnTo>
                  <a:lnTo>
                    <a:pt x="1903" y="250"/>
                  </a:lnTo>
                  <a:lnTo>
                    <a:pt x="1906" y="252"/>
                  </a:lnTo>
                  <a:lnTo>
                    <a:pt x="1912" y="253"/>
                  </a:lnTo>
                  <a:lnTo>
                    <a:pt x="1919" y="253"/>
                  </a:lnTo>
                  <a:lnTo>
                    <a:pt x="1928" y="252"/>
                  </a:lnTo>
                  <a:lnTo>
                    <a:pt x="1940" y="248"/>
                  </a:lnTo>
                  <a:lnTo>
                    <a:pt x="1955" y="245"/>
                  </a:lnTo>
                  <a:lnTo>
                    <a:pt x="2047" y="219"/>
                  </a:lnTo>
                  <a:lnTo>
                    <a:pt x="2051" y="218"/>
                  </a:lnTo>
                  <a:lnTo>
                    <a:pt x="2055" y="218"/>
                  </a:lnTo>
                  <a:lnTo>
                    <a:pt x="2060" y="218"/>
                  </a:lnTo>
                  <a:lnTo>
                    <a:pt x="2065" y="219"/>
                  </a:lnTo>
                  <a:lnTo>
                    <a:pt x="2074" y="222"/>
                  </a:lnTo>
                  <a:lnTo>
                    <a:pt x="2083" y="226"/>
                  </a:lnTo>
                  <a:lnTo>
                    <a:pt x="2101" y="236"/>
                  </a:lnTo>
                  <a:lnTo>
                    <a:pt x="2118" y="245"/>
                  </a:lnTo>
                  <a:lnTo>
                    <a:pt x="2131" y="247"/>
                  </a:lnTo>
                  <a:lnTo>
                    <a:pt x="2143" y="248"/>
                  </a:lnTo>
                  <a:lnTo>
                    <a:pt x="2153" y="247"/>
                  </a:lnTo>
                  <a:lnTo>
                    <a:pt x="2164" y="245"/>
                  </a:lnTo>
                  <a:lnTo>
                    <a:pt x="2173" y="241"/>
                  </a:lnTo>
                  <a:lnTo>
                    <a:pt x="2183" y="239"/>
                  </a:lnTo>
                  <a:lnTo>
                    <a:pt x="2194" y="236"/>
                  </a:lnTo>
                  <a:lnTo>
                    <a:pt x="2207" y="235"/>
                  </a:lnTo>
                  <a:lnTo>
                    <a:pt x="2210" y="235"/>
                  </a:lnTo>
                  <a:lnTo>
                    <a:pt x="2212" y="236"/>
                  </a:lnTo>
                  <a:lnTo>
                    <a:pt x="2215" y="238"/>
                  </a:lnTo>
                  <a:lnTo>
                    <a:pt x="2216" y="239"/>
                  </a:lnTo>
                  <a:lnTo>
                    <a:pt x="2218" y="243"/>
                  </a:lnTo>
                  <a:lnTo>
                    <a:pt x="2218" y="249"/>
                  </a:lnTo>
                  <a:lnTo>
                    <a:pt x="2217" y="262"/>
                  </a:lnTo>
                  <a:lnTo>
                    <a:pt x="2216" y="277"/>
                  </a:lnTo>
                  <a:lnTo>
                    <a:pt x="2216" y="284"/>
                  </a:lnTo>
                  <a:lnTo>
                    <a:pt x="2217" y="290"/>
                  </a:lnTo>
                  <a:lnTo>
                    <a:pt x="2218" y="295"/>
                  </a:lnTo>
                  <a:lnTo>
                    <a:pt x="2223" y="299"/>
                  </a:lnTo>
                  <a:lnTo>
                    <a:pt x="2229" y="302"/>
                  </a:lnTo>
                  <a:lnTo>
                    <a:pt x="2237" y="302"/>
                  </a:lnTo>
                  <a:lnTo>
                    <a:pt x="2248" y="299"/>
                  </a:lnTo>
                  <a:lnTo>
                    <a:pt x="2264" y="295"/>
                  </a:lnTo>
                  <a:lnTo>
                    <a:pt x="2276" y="290"/>
                  </a:lnTo>
                  <a:lnTo>
                    <a:pt x="2289" y="283"/>
                  </a:lnTo>
                  <a:lnTo>
                    <a:pt x="2295" y="279"/>
                  </a:lnTo>
                  <a:lnTo>
                    <a:pt x="2300" y="276"/>
                  </a:lnTo>
                  <a:lnTo>
                    <a:pt x="2304" y="271"/>
                  </a:lnTo>
                  <a:lnTo>
                    <a:pt x="2308" y="267"/>
                  </a:lnTo>
                  <a:lnTo>
                    <a:pt x="2311" y="262"/>
                  </a:lnTo>
                  <a:lnTo>
                    <a:pt x="2314" y="257"/>
                  </a:lnTo>
                  <a:lnTo>
                    <a:pt x="2314" y="253"/>
                  </a:lnTo>
                  <a:lnTo>
                    <a:pt x="2314" y="247"/>
                  </a:lnTo>
                  <a:lnTo>
                    <a:pt x="2313" y="241"/>
                  </a:lnTo>
                  <a:lnTo>
                    <a:pt x="2310" y="234"/>
                  </a:lnTo>
                  <a:lnTo>
                    <a:pt x="2307" y="227"/>
                  </a:lnTo>
                  <a:lnTo>
                    <a:pt x="2301" y="220"/>
                  </a:lnTo>
                  <a:lnTo>
                    <a:pt x="2295" y="212"/>
                  </a:lnTo>
                  <a:lnTo>
                    <a:pt x="2292" y="205"/>
                  </a:lnTo>
                  <a:lnTo>
                    <a:pt x="2290" y="198"/>
                  </a:lnTo>
                  <a:lnTo>
                    <a:pt x="2292" y="192"/>
                  </a:lnTo>
                  <a:lnTo>
                    <a:pt x="2294" y="186"/>
                  </a:lnTo>
                  <a:lnTo>
                    <a:pt x="2297" y="181"/>
                  </a:lnTo>
                  <a:lnTo>
                    <a:pt x="2303" y="175"/>
                  </a:lnTo>
                  <a:lnTo>
                    <a:pt x="2309" y="170"/>
                  </a:lnTo>
                  <a:lnTo>
                    <a:pt x="2322" y="160"/>
                  </a:lnTo>
                  <a:lnTo>
                    <a:pt x="2336" y="148"/>
                  </a:lnTo>
                  <a:lnTo>
                    <a:pt x="2342" y="141"/>
                  </a:lnTo>
                  <a:lnTo>
                    <a:pt x="2347" y="135"/>
                  </a:lnTo>
                  <a:lnTo>
                    <a:pt x="2351" y="127"/>
                  </a:lnTo>
                  <a:lnTo>
                    <a:pt x="2354" y="119"/>
                  </a:lnTo>
                  <a:lnTo>
                    <a:pt x="2356" y="111"/>
                  </a:lnTo>
                  <a:lnTo>
                    <a:pt x="2354" y="103"/>
                  </a:lnTo>
                  <a:lnTo>
                    <a:pt x="2352" y="94"/>
                  </a:lnTo>
                  <a:lnTo>
                    <a:pt x="2349" y="86"/>
                  </a:lnTo>
                  <a:lnTo>
                    <a:pt x="2340" y="69"/>
                  </a:lnTo>
                  <a:lnTo>
                    <a:pt x="2331" y="51"/>
                  </a:lnTo>
                  <a:lnTo>
                    <a:pt x="2328" y="43"/>
                  </a:lnTo>
                  <a:lnTo>
                    <a:pt x="2325" y="35"/>
                  </a:lnTo>
                  <a:lnTo>
                    <a:pt x="2324" y="27"/>
                  </a:lnTo>
                  <a:lnTo>
                    <a:pt x="2325" y="20"/>
                  </a:lnTo>
                  <a:lnTo>
                    <a:pt x="2326" y="18"/>
                  </a:lnTo>
                  <a:lnTo>
                    <a:pt x="2329" y="14"/>
                  </a:lnTo>
                  <a:lnTo>
                    <a:pt x="2331" y="11"/>
                  </a:lnTo>
                  <a:lnTo>
                    <a:pt x="2333" y="8"/>
                  </a:lnTo>
                  <a:lnTo>
                    <a:pt x="2343" y="4"/>
                  </a:lnTo>
                  <a:lnTo>
                    <a:pt x="2354" y="0"/>
                  </a:lnTo>
                  <a:lnTo>
                    <a:pt x="2361" y="4"/>
                  </a:lnTo>
                  <a:lnTo>
                    <a:pt x="2368" y="7"/>
                  </a:lnTo>
                  <a:lnTo>
                    <a:pt x="2375" y="9"/>
                  </a:lnTo>
                  <a:lnTo>
                    <a:pt x="2382" y="12"/>
                  </a:lnTo>
                  <a:lnTo>
                    <a:pt x="2396" y="16"/>
                  </a:lnTo>
                  <a:lnTo>
                    <a:pt x="2410" y="22"/>
                  </a:lnTo>
                  <a:lnTo>
                    <a:pt x="2421" y="29"/>
                  </a:lnTo>
                  <a:lnTo>
                    <a:pt x="2431" y="36"/>
                  </a:lnTo>
                  <a:lnTo>
                    <a:pt x="2441" y="43"/>
                  </a:lnTo>
                  <a:lnTo>
                    <a:pt x="2450" y="51"/>
                  </a:lnTo>
                  <a:lnTo>
                    <a:pt x="2459" y="60"/>
                  </a:lnTo>
                  <a:lnTo>
                    <a:pt x="2467" y="69"/>
                  </a:lnTo>
                  <a:lnTo>
                    <a:pt x="2475" y="78"/>
                  </a:lnTo>
                  <a:lnTo>
                    <a:pt x="2484" y="89"/>
                  </a:lnTo>
                  <a:lnTo>
                    <a:pt x="2493" y="101"/>
                  </a:lnTo>
                  <a:lnTo>
                    <a:pt x="2503" y="115"/>
                  </a:lnTo>
                  <a:lnTo>
                    <a:pt x="2509" y="122"/>
                  </a:lnTo>
                  <a:lnTo>
                    <a:pt x="2516" y="128"/>
                  </a:lnTo>
                  <a:lnTo>
                    <a:pt x="2523" y="132"/>
                  </a:lnTo>
                  <a:lnTo>
                    <a:pt x="2530" y="133"/>
                  </a:lnTo>
                  <a:lnTo>
                    <a:pt x="2548" y="134"/>
                  </a:lnTo>
                  <a:lnTo>
                    <a:pt x="2566" y="136"/>
                  </a:lnTo>
                  <a:lnTo>
                    <a:pt x="2576" y="139"/>
                  </a:lnTo>
                  <a:lnTo>
                    <a:pt x="2584" y="141"/>
                  </a:lnTo>
                  <a:lnTo>
                    <a:pt x="2592" y="146"/>
                  </a:lnTo>
                  <a:lnTo>
                    <a:pt x="2599" y="151"/>
                  </a:lnTo>
                  <a:lnTo>
                    <a:pt x="2616" y="164"/>
                  </a:lnTo>
                  <a:lnTo>
                    <a:pt x="2637" y="178"/>
                  </a:lnTo>
                  <a:lnTo>
                    <a:pt x="2649" y="185"/>
                  </a:lnTo>
                  <a:lnTo>
                    <a:pt x="2661" y="191"/>
                  </a:lnTo>
                  <a:lnTo>
                    <a:pt x="2671" y="196"/>
                  </a:lnTo>
                  <a:lnTo>
                    <a:pt x="2682" y="199"/>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sz="1200" dirty="0"/>
            </a:p>
          </p:txBody>
        </p:sp>
        <p:sp>
          <p:nvSpPr>
            <p:cNvPr id="21" name="Freeform 44"/>
            <p:cNvSpPr>
              <a:spLocks/>
            </p:cNvSpPr>
            <p:nvPr/>
          </p:nvSpPr>
          <p:spPr bwMode="auto">
            <a:xfrm>
              <a:off x="3688444" y="2552364"/>
              <a:ext cx="1500848" cy="1082084"/>
            </a:xfrm>
            <a:custGeom>
              <a:avLst/>
              <a:gdLst>
                <a:gd name="T0" fmla="*/ 242 w 4479"/>
                <a:gd name="T1" fmla="*/ 2010 h 3230"/>
                <a:gd name="T2" fmla="*/ 442 w 4479"/>
                <a:gd name="T3" fmla="*/ 1718 h 3230"/>
                <a:gd name="T4" fmla="*/ 380 w 4479"/>
                <a:gd name="T5" fmla="*/ 1504 h 3230"/>
                <a:gd name="T6" fmla="*/ 364 w 4479"/>
                <a:gd name="T7" fmla="*/ 1312 h 3230"/>
                <a:gd name="T8" fmla="*/ 413 w 4479"/>
                <a:gd name="T9" fmla="*/ 1168 h 3230"/>
                <a:gd name="T10" fmla="*/ 556 w 4479"/>
                <a:gd name="T11" fmla="*/ 1057 h 3230"/>
                <a:gd name="T12" fmla="*/ 668 w 4479"/>
                <a:gd name="T13" fmla="*/ 1115 h 3230"/>
                <a:gd name="T14" fmla="*/ 864 w 4479"/>
                <a:gd name="T15" fmla="*/ 1197 h 3230"/>
                <a:gd name="T16" fmla="*/ 866 w 4479"/>
                <a:gd name="T17" fmla="*/ 1506 h 3230"/>
                <a:gd name="T18" fmla="*/ 740 w 4479"/>
                <a:gd name="T19" fmla="*/ 1644 h 3230"/>
                <a:gd name="T20" fmla="*/ 1043 w 4479"/>
                <a:gd name="T21" fmla="*/ 1571 h 3230"/>
                <a:gd name="T22" fmla="*/ 1271 w 4479"/>
                <a:gd name="T23" fmla="*/ 1502 h 3230"/>
                <a:gd name="T24" fmla="*/ 1462 w 4479"/>
                <a:gd name="T25" fmla="*/ 1500 h 3230"/>
                <a:gd name="T26" fmla="*/ 1500 w 4479"/>
                <a:gd name="T27" fmla="*/ 1370 h 3230"/>
                <a:gd name="T28" fmla="*/ 1394 w 4479"/>
                <a:gd name="T29" fmla="*/ 1151 h 3230"/>
                <a:gd name="T30" fmla="*/ 1515 w 4479"/>
                <a:gd name="T31" fmla="*/ 1013 h 3230"/>
                <a:gd name="T32" fmla="*/ 1693 w 4479"/>
                <a:gd name="T33" fmla="*/ 916 h 3230"/>
                <a:gd name="T34" fmla="*/ 1530 w 4479"/>
                <a:gd name="T35" fmla="*/ 885 h 3230"/>
                <a:gd name="T36" fmla="*/ 1275 w 4479"/>
                <a:gd name="T37" fmla="*/ 802 h 3230"/>
                <a:gd name="T38" fmla="*/ 1657 w 4479"/>
                <a:gd name="T39" fmla="*/ 309 h 3230"/>
                <a:gd name="T40" fmla="*/ 2189 w 4479"/>
                <a:gd name="T41" fmla="*/ 2 h 3230"/>
                <a:gd name="T42" fmla="*/ 2465 w 4479"/>
                <a:gd name="T43" fmla="*/ 87 h 3230"/>
                <a:gd name="T44" fmla="*/ 2519 w 4479"/>
                <a:gd name="T45" fmla="*/ 379 h 3230"/>
                <a:gd name="T46" fmla="*/ 2432 w 4479"/>
                <a:gd name="T47" fmla="*/ 602 h 3230"/>
                <a:gd name="T48" fmla="*/ 2197 w 4479"/>
                <a:gd name="T49" fmla="*/ 813 h 3230"/>
                <a:gd name="T50" fmla="*/ 2110 w 4479"/>
                <a:gd name="T51" fmla="*/ 1120 h 3230"/>
                <a:gd name="T52" fmla="*/ 2209 w 4479"/>
                <a:gd name="T53" fmla="*/ 1453 h 3230"/>
                <a:gd name="T54" fmla="*/ 2388 w 4479"/>
                <a:gd name="T55" fmla="*/ 1481 h 3230"/>
                <a:gd name="T56" fmla="*/ 2469 w 4479"/>
                <a:gd name="T57" fmla="*/ 1279 h 3230"/>
                <a:gd name="T58" fmla="*/ 2336 w 4479"/>
                <a:gd name="T59" fmla="*/ 976 h 3230"/>
                <a:gd name="T60" fmla="*/ 2516 w 4479"/>
                <a:gd name="T61" fmla="*/ 791 h 3230"/>
                <a:gd name="T62" fmla="*/ 2494 w 4479"/>
                <a:gd name="T63" fmla="*/ 894 h 3230"/>
                <a:gd name="T64" fmla="*/ 2567 w 4479"/>
                <a:gd name="T65" fmla="*/ 971 h 3230"/>
                <a:gd name="T66" fmla="*/ 2696 w 4479"/>
                <a:gd name="T67" fmla="*/ 963 h 3230"/>
                <a:gd name="T68" fmla="*/ 2778 w 4479"/>
                <a:gd name="T69" fmla="*/ 1000 h 3230"/>
                <a:gd name="T70" fmla="*/ 2990 w 4479"/>
                <a:gd name="T71" fmla="*/ 940 h 3230"/>
                <a:gd name="T72" fmla="*/ 3230 w 4479"/>
                <a:gd name="T73" fmla="*/ 914 h 3230"/>
                <a:gd name="T74" fmla="*/ 3276 w 4479"/>
                <a:gd name="T75" fmla="*/ 1071 h 3230"/>
                <a:gd name="T76" fmla="*/ 3430 w 4479"/>
                <a:gd name="T77" fmla="*/ 1011 h 3230"/>
                <a:gd name="T78" fmla="*/ 3672 w 4479"/>
                <a:gd name="T79" fmla="*/ 991 h 3230"/>
                <a:gd name="T80" fmla="*/ 3830 w 4479"/>
                <a:gd name="T81" fmla="*/ 944 h 3230"/>
                <a:gd name="T82" fmla="*/ 4092 w 4479"/>
                <a:gd name="T83" fmla="*/ 1163 h 3230"/>
                <a:gd name="T84" fmla="*/ 4269 w 4479"/>
                <a:gd name="T85" fmla="*/ 1239 h 3230"/>
                <a:gd name="T86" fmla="*/ 4458 w 4479"/>
                <a:gd name="T87" fmla="*/ 1363 h 3230"/>
                <a:gd name="T88" fmla="*/ 4196 w 4479"/>
                <a:gd name="T89" fmla="*/ 1725 h 3230"/>
                <a:gd name="T90" fmla="*/ 3977 w 4479"/>
                <a:gd name="T91" fmla="*/ 1873 h 3230"/>
                <a:gd name="T92" fmla="*/ 4039 w 4479"/>
                <a:gd name="T93" fmla="*/ 2202 h 3230"/>
                <a:gd name="T94" fmla="*/ 3818 w 4479"/>
                <a:gd name="T95" fmla="*/ 2451 h 3230"/>
                <a:gd name="T96" fmla="*/ 3475 w 4479"/>
                <a:gd name="T97" fmla="*/ 2732 h 3230"/>
                <a:gd name="T98" fmla="*/ 3389 w 4479"/>
                <a:gd name="T99" fmla="*/ 3075 h 3230"/>
                <a:gd name="T100" fmla="*/ 3087 w 4479"/>
                <a:gd name="T101" fmla="*/ 2964 h 3230"/>
                <a:gd name="T102" fmla="*/ 2761 w 4479"/>
                <a:gd name="T103" fmla="*/ 2911 h 3230"/>
                <a:gd name="T104" fmla="*/ 2411 w 4479"/>
                <a:gd name="T105" fmla="*/ 3003 h 3230"/>
                <a:gd name="T106" fmla="*/ 2101 w 4479"/>
                <a:gd name="T107" fmla="*/ 3005 h 3230"/>
                <a:gd name="T108" fmla="*/ 1742 w 4479"/>
                <a:gd name="T109" fmla="*/ 2973 h 3230"/>
                <a:gd name="T110" fmla="*/ 1508 w 4479"/>
                <a:gd name="T111" fmla="*/ 2899 h 3230"/>
                <a:gd name="T112" fmla="*/ 1318 w 4479"/>
                <a:gd name="T113" fmla="*/ 3154 h 3230"/>
                <a:gd name="T114" fmla="*/ 932 w 4479"/>
                <a:gd name="T115" fmla="*/ 3059 h 3230"/>
                <a:gd name="T116" fmla="*/ 266 w 4479"/>
                <a:gd name="T117" fmla="*/ 2900 h 3230"/>
                <a:gd name="T118" fmla="*/ 57 w 4479"/>
                <a:gd name="T119" fmla="*/ 2676 h 3230"/>
                <a:gd name="T120" fmla="*/ 109 w 4479"/>
                <a:gd name="T121" fmla="*/ 2490 h 3230"/>
                <a:gd name="T122" fmla="*/ 75 w 4479"/>
                <a:gd name="T123" fmla="*/ 2411 h 3230"/>
                <a:gd name="T124" fmla="*/ 201 w 4479"/>
                <a:gd name="T125" fmla="*/ 2217 h 3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479" h="3230">
                  <a:moveTo>
                    <a:pt x="156" y="2142"/>
                  </a:moveTo>
                  <a:lnTo>
                    <a:pt x="178" y="2132"/>
                  </a:lnTo>
                  <a:lnTo>
                    <a:pt x="193" y="2128"/>
                  </a:lnTo>
                  <a:lnTo>
                    <a:pt x="208" y="2127"/>
                  </a:lnTo>
                  <a:lnTo>
                    <a:pt x="231" y="2128"/>
                  </a:lnTo>
                  <a:lnTo>
                    <a:pt x="241" y="2125"/>
                  </a:lnTo>
                  <a:lnTo>
                    <a:pt x="253" y="2120"/>
                  </a:lnTo>
                  <a:lnTo>
                    <a:pt x="271" y="2111"/>
                  </a:lnTo>
                  <a:lnTo>
                    <a:pt x="289" y="2102"/>
                  </a:lnTo>
                  <a:lnTo>
                    <a:pt x="326" y="2081"/>
                  </a:lnTo>
                  <a:lnTo>
                    <a:pt x="350" y="2067"/>
                  </a:lnTo>
                  <a:lnTo>
                    <a:pt x="358" y="2060"/>
                  </a:lnTo>
                  <a:lnTo>
                    <a:pt x="363" y="2054"/>
                  </a:lnTo>
                  <a:lnTo>
                    <a:pt x="365" y="2052"/>
                  </a:lnTo>
                  <a:lnTo>
                    <a:pt x="365" y="2050"/>
                  </a:lnTo>
                  <a:lnTo>
                    <a:pt x="365" y="2047"/>
                  </a:lnTo>
                  <a:lnTo>
                    <a:pt x="364" y="2046"/>
                  </a:lnTo>
                  <a:lnTo>
                    <a:pt x="362" y="2043"/>
                  </a:lnTo>
                  <a:lnTo>
                    <a:pt x="356" y="2040"/>
                  </a:lnTo>
                  <a:lnTo>
                    <a:pt x="350" y="2039"/>
                  </a:lnTo>
                  <a:lnTo>
                    <a:pt x="342" y="2038"/>
                  </a:lnTo>
                  <a:lnTo>
                    <a:pt x="324" y="2037"/>
                  </a:lnTo>
                  <a:lnTo>
                    <a:pt x="306" y="2036"/>
                  </a:lnTo>
                  <a:lnTo>
                    <a:pt x="291" y="2036"/>
                  </a:lnTo>
                  <a:lnTo>
                    <a:pt x="280" y="2033"/>
                  </a:lnTo>
                  <a:lnTo>
                    <a:pt x="262" y="2028"/>
                  </a:lnTo>
                  <a:lnTo>
                    <a:pt x="250" y="2021"/>
                  </a:lnTo>
                  <a:lnTo>
                    <a:pt x="246" y="2018"/>
                  </a:lnTo>
                  <a:lnTo>
                    <a:pt x="244" y="2016"/>
                  </a:lnTo>
                  <a:lnTo>
                    <a:pt x="243" y="2013"/>
                  </a:lnTo>
                  <a:lnTo>
                    <a:pt x="242" y="2010"/>
                  </a:lnTo>
                  <a:lnTo>
                    <a:pt x="244" y="2004"/>
                  </a:lnTo>
                  <a:lnTo>
                    <a:pt x="250" y="1997"/>
                  </a:lnTo>
                  <a:lnTo>
                    <a:pt x="257" y="1989"/>
                  </a:lnTo>
                  <a:lnTo>
                    <a:pt x="264" y="1979"/>
                  </a:lnTo>
                  <a:lnTo>
                    <a:pt x="267" y="1973"/>
                  </a:lnTo>
                  <a:lnTo>
                    <a:pt x="271" y="1968"/>
                  </a:lnTo>
                  <a:lnTo>
                    <a:pt x="272" y="1962"/>
                  </a:lnTo>
                  <a:lnTo>
                    <a:pt x="273" y="1958"/>
                  </a:lnTo>
                  <a:lnTo>
                    <a:pt x="273" y="1947"/>
                  </a:lnTo>
                  <a:lnTo>
                    <a:pt x="274" y="1938"/>
                  </a:lnTo>
                  <a:lnTo>
                    <a:pt x="275" y="1933"/>
                  </a:lnTo>
                  <a:lnTo>
                    <a:pt x="277" y="1929"/>
                  </a:lnTo>
                  <a:lnTo>
                    <a:pt x="278" y="1925"/>
                  </a:lnTo>
                  <a:lnTo>
                    <a:pt x="281" y="1921"/>
                  </a:lnTo>
                  <a:lnTo>
                    <a:pt x="285" y="1917"/>
                  </a:lnTo>
                  <a:lnTo>
                    <a:pt x="291" y="1914"/>
                  </a:lnTo>
                  <a:lnTo>
                    <a:pt x="298" y="1909"/>
                  </a:lnTo>
                  <a:lnTo>
                    <a:pt x="306" y="1905"/>
                  </a:lnTo>
                  <a:lnTo>
                    <a:pt x="349" y="1893"/>
                  </a:lnTo>
                  <a:lnTo>
                    <a:pt x="394" y="1876"/>
                  </a:lnTo>
                  <a:lnTo>
                    <a:pt x="405" y="1871"/>
                  </a:lnTo>
                  <a:lnTo>
                    <a:pt x="414" y="1865"/>
                  </a:lnTo>
                  <a:lnTo>
                    <a:pt x="423" y="1858"/>
                  </a:lnTo>
                  <a:lnTo>
                    <a:pt x="430" y="1850"/>
                  </a:lnTo>
                  <a:lnTo>
                    <a:pt x="437" y="1840"/>
                  </a:lnTo>
                  <a:lnTo>
                    <a:pt x="442" y="1830"/>
                  </a:lnTo>
                  <a:lnTo>
                    <a:pt x="445" y="1818"/>
                  </a:lnTo>
                  <a:lnTo>
                    <a:pt x="447" y="1805"/>
                  </a:lnTo>
                  <a:lnTo>
                    <a:pt x="447" y="1775"/>
                  </a:lnTo>
                  <a:lnTo>
                    <a:pt x="444" y="1746"/>
                  </a:lnTo>
                  <a:lnTo>
                    <a:pt x="442" y="1718"/>
                  </a:lnTo>
                  <a:lnTo>
                    <a:pt x="441" y="1689"/>
                  </a:lnTo>
                  <a:lnTo>
                    <a:pt x="443" y="1682"/>
                  </a:lnTo>
                  <a:lnTo>
                    <a:pt x="447" y="1672"/>
                  </a:lnTo>
                  <a:lnTo>
                    <a:pt x="452" y="1660"/>
                  </a:lnTo>
                  <a:lnTo>
                    <a:pt x="458" y="1648"/>
                  </a:lnTo>
                  <a:lnTo>
                    <a:pt x="464" y="1635"/>
                  </a:lnTo>
                  <a:lnTo>
                    <a:pt x="469" y="1625"/>
                  </a:lnTo>
                  <a:lnTo>
                    <a:pt x="470" y="1620"/>
                  </a:lnTo>
                  <a:lnTo>
                    <a:pt x="470" y="1617"/>
                  </a:lnTo>
                  <a:lnTo>
                    <a:pt x="470" y="1615"/>
                  </a:lnTo>
                  <a:lnTo>
                    <a:pt x="469" y="1612"/>
                  </a:lnTo>
                  <a:lnTo>
                    <a:pt x="459" y="1604"/>
                  </a:lnTo>
                  <a:lnTo>
                    <a:pt x="452" y="1597"/>
                  </a:lnTo>
                  <a:lnTo>
                    <a:pt x="447" y="1590"/>
                  </a:lnTo>
                  <a:lnTo>
                    <a:pt x="443" y="1584"/>
                  </a:lnTo>
                  <a:lnTo>
                    <a:pt x="440" y="1578"/>
                  </a:lnTo>
                  <a:lnTo>
                    <a:pt x="438" y="1571"/>
                  </a:lnTo>
                  <a:lnTo>
                    <a:pt x="437" y="1566"/>
                  </a:lnTo>
                  <a:lnTo>
                    <a:pt x="436" y="1560"/>
                  </a:lnTo>
                  <a:lnTo>
                    <a:pt x="436" y="1548"/>
                  </a:lnTo>
                  <a:lnTo>
                    <a:pt x="436" y="1535"/>
                  </a:lnTo>
                  <a:lnTo>
                    <a:pt x="435" y="1528"/>
                  </a:lnTo>
                  <a:lnTo>
                    <a:pt x="433" y="1520"/>
                  </a:lnTo>
                  <a:lnTo>
                    <a:pt x="430" y="1512"/>
                  </a:lnTo>
                  <a:lnTo>
                    <a:pt x="426" y="1504"/>
                  </a:lnTo>
                  <a:lnTo>
                    <a:pt x="423" y="1502"/>
                  </a:lnTo>
                  <a:lnTo>
                    <a:pt x="416" y="1502"/>
                  </a:lnTo>
                  <a:lnTo>
                    <a:pt x="408" y="1502"/>
                  </a:lnTo>
                  <a:lnTo>
                    <a:pt x="399" y="1502"/>
                  </a:lnTo>
                  <a:lnTo>
                    <a:pt x="390" y="1503"/>
                  </a:lnTo>
                  <a:lnTo>
                    <a:pt x="380" y="1504"/>
                  </a:lnTo>
                  <a:lnTo>
                    <a:pt x="372" y="1503"/>
                  </a:lnTo>
                  <a:lnTo>
                    <a:pt x="366" y="1502"/>
                  </a:lnTo>
                  <a:lnTo>
                    <a:pt x="365" y="1500"/>
                  </a:lnTo>
                  <a:lnTo>
                    <a:pt x="364" y="1498"/>
                  </a:lnTo>
                  <a:lnTo>
                    <a:pt x="363" y="1493"/>
                  </a:lnTo>
                  <a:lnTo>
                    <a:pt x="362" y="1490"/>
                  </a:lnTo>
                  <a:lnTo>
                    <a:pt x="360" y="1478"/>
                  </a:lnTo>
                  <a:lnTo>
                    <a:pt x="360" y="1467"/>
                  </a:lnTo>
                  <a:lnTo>
                    <a:pt x="362" y="1442"/>
                  </a:lnTo>
                  <a:lnTo>
                    <a:pt x="363" y="1425"/>
                  </a:lnTo>
                  <a:lnTo>
                    <a:pt x="374" y="1416"/>
                  </a:lnTo>
                  <a:lnTo>
                    <a:pt x="388" y="1402"/>
                  </a:lnTo>
                  <a:lnTo>
                    <a:pt x="394" y="1393"/>
                  </a:lnTo>
                  <a:lnTo>
                    <a:pt x="400" y="1388"/>
                  </a:lnTo>
                  <a:lnTo>
                    <a:pt x="405" y="1383"/>
                  </a:lnTo>
                  <a:lnTo>
                    <a:pt x="409" y="1381"/>
                  </a:lnTo>
                  <a:lnTo>
                    <a:pt x="406" y="1377"/>
                  </a:lnTo>
                  <a:lnTo>
                    <a:pt x="401" y="1374"/>
                  </a:lnTo>
                  <a:lnTo>
                    <a:pt x="395" y="1371"/>
                  </a:lnTo>
                  <a:lnTo>
                    <a:pt x="388" y="1369"/>
                  </a:lnTo>
                  <a:lnTo>
                    <a:pt x="374" y="1365"/>
                  </a:lnTo>
                  <a:lnTo>
                    <a:pt x="362" y="1361"/>
                  </a:lnTo>
                  <a:lnTo>
                    <a:pt x="356" y="1358"/>
                  </a:lnTo>
                  <a:lnTo>
                    <a:pt x="350" y="1356"/>
                  </a:lnTo>
                  <a:lnTo>
                    <a:pt x="347" y="1352"/>
                  </a:lnTo>
                  <a:lnTo>
                    <a:pt x="345" y="1348"/>
                  </a:lnTo>
                  <a:lnTo>
                    <a:pt x="345" y="1342"/>
                  </a:lnTo>
                  <a:lnTo>
                    <a:pt x="347" y="1335"/>
                  </a:lnTo>
                  <a:lnTo>
                    <a:pt x="351" y="1328"/>
                  </a:lnTo>
                  <a:lnTo>
                    <a:pt x="358" y="1319"/>
                  </a:lnTo>
                  <a:lnTo>
                    <a:pt x="364" y="1312"/>
                  </a:lnTo>
                  <a:lnTo>
                    <a:pt x="369" y="1305"/>
                  </a:lnTo>
                  <a:lnTo>
                    <a:pt x="372" y="1299"/>
                  </a:lnTo>
                  <a:lnTo>
                    <a:pt x="374" y="1292"/>
                  </a:lnTo>
                  <a:lnTo>
                    <a:pt x="378" y="1281"/>
                  </a:lnTo>
                  <a:lnTo>
                    <a:pt x="381" y="1270"/>
                  </a:lnTo>
                  <a:lnTo>
                    <a:pt x="383" y="1265"/>
                  </a:lnTo>
                  <a:lnTo>
                    <a:pt x="385" y="1261"/>
                  </a:lnTo>
                  <a:lnTo>
                    <a:pt x="388" y="1257"/>
                  </a:lnTo>
                  <a:lnTo>
                    <a:pt x="392" y="1254"/>
                  </a:lnTo>
                  <a:lnTo>
                    <a:pt x="397" y="1251"/>
                  </a:lnTo>
                  <a:lnTo>
                    <a:pt x="402" y="1250"/>
                  </a:lnTo>
                  <a:lnTo>
                    <a:pt x="411" y="1249"/>
                  </a:lnTo>
                  <a:lnTo>
                    <a:pt x="419" y="1248"/>
                  </a:lnTo>
                  <a:lnTo>
                    <a:pt x="429" y="1247"/>
                  </a:lnTo>
                  <a:lnTo>
                    <a:pt x="444" y="1244"/>
                  </a:lnTo>
                  <a:lnTo>
                    <a:pt x="461" y="1240"/>
                  </a:lnTo>
                  <a:lnTo>
                    <a:pt x="476" y="1234"/>
                  </a:lnTo>
                  <a:lnTo>
                    <a:pt x="483" y="1230"/>
                  </a:lnTo>
                  <a:lnTo>
                    <a:pt x="487" y="1227"/>
                  </a:lnTo>
                  <a:lnTo>
                    <a:pt x="492" y="1222"/>
                  </a:lnTo>
                  <a:lnTo>
                    <a:pt x="494" y="1219"/>
                  </a:lnTo>
                  <a:lnTo>
                    <a:pt x="494" y="1217"/>
                  </a:lnTo>
                  <a:lnTo>
                    <a:pt x="494" y="1214"/>
                  </a:lnTo>
                  <a:lnTo>
                    <a:pt x="493" y="1212"/>
                  </a:lnTo>
                  <a:lnTo>
                    <a:pt x="492" y="1210"/>
                  </a:lnTo>
                  <a:lnTo>
                    <a:pt x="486" y="1205"/>
                  </a:lnTo>
                  <a:lnTo>
                    <a:pt x="478" y="1199"/>
                  </a:lnTo>
                  <a:lnTo>
                    <a:pt x="455" y="1190"/>
                  </a:lnTo>
                  <a:lnTo>
                    <a:pt x="431" y="1182"/>
                  </a:lnTo>
                  <a:lnTo>
                    <a:pt x="421" y="1176"/>
                  </a:lnTo>
                  <a:lnTo>
                    <a:pt x="413" y="1168"/>
                  </a:lnTo>
                  <a:lnTo>
                    <a:pt x="408" y="1163"/>
                  </a:lnTo>
                  <a:lnTo>
                    <a:pt x="406" y="1158"/>
                  </a:lnTo>
                  <a:lnTo>
                    <a:pt x="404" y="1151"/>
                  </a:lnTo>
                  <a:lnTo>
                    <a:pt x="401" y="1144"/>
                  </a:lnTo>
                  <a:lnTo>
                    <a:pt x="400" y="1135"/>
                  </a:lnTo>
                  <a:lnTo>
                    <a:pt x="399" y="1128"/>
                  </a:lnTo>
                  <a:lnTo>
                    <a:pt x="399" y="1121"/>
                  </a:lnTo>
                  <a:lnTo>
                    <a:pt x="400" y="1116"/>
                  </a:lnTo>
                  <a:lnTo>
                    <a:pt x="401" y="1112"/>
                  </a:lnTo>
                  <a:lnTo>
                    <a:pt x="404" y="1109"/>
                  </a:lnTo>
                  <a:lnTo>
                    <a:pt x="406" y="1107"/>
                  </a:lnTo>
                  <a:lnTo>
                    <a:pt x="409" y="1106"/>
                  </a:lnTo>
                  <a:lnTo>
                    <a:pt x="418" y="1107"/>
                  </a:lnTo>
                  <a:lnTo>
                    <a:pt x="428" y="1109"/>
                  </a:lnTo>
                  <a:lnTo>
                    <a:pt x="438" y="1114"/>
                  </a:lnTo>
                  <a:lnTo>
                    <a:pt x="451" y="1120"/>
                  </a:lnTo>
                  <a:lnTo>
                    <a:pt x="464" y="1125"/>
                  </a:lnTo>
                  <a:lnTo>
                    <a:pt x="478" y="1129"/>
                  </a:lnTo>
                  <a:lnTo>
                    <a:pt x="491" y="1133"/>
                  </a:lnTo>
                  <a:lnTo>
                    <a:pt x="504" y="1134"/>
                  </a:lnTo>
                  <a:lnTo>
                    <a:pt x="509" y="1133"/>
                  </a:lnTo>
                  <a:lnTo>
                    <a:pt x="515" y="1132"/>
                  </a:lnTo>
                  <a:lnTo>
                    <a:pt x="521" y="1129"/>
                  </a:lnTo>
                  <a:lnTo>
                    <a:pt x="527" y="1126"/>
                  </a:lnTo>
                  <a:lnTo>
                    <a:pt x="532" y="1121"/>
                  </a:lnTo>
                  <a:lnTo>
                    <a:pt x="536" y="1114"/>
                  </a:lnTo>
                  <a:lnTo>
                    <a:pt x="540" y="1107"/>
                  </a:lnTo>
                  <a:lnTo>
                    <a:pt x="543" y="1098"/>
                  </a:lnTo>
                  <a:lnTo>
                    <a:pt x="548" y="1080"/>
                  </a:lnTo>
                  <a:lnTo>
                    <a:pt x="553" y="1064"/>
                  </a:lnTo>
                  <a:lnTo>
                    <a:pt x="556" y="1057"/>
                  </a:lnTo>
                  <a:lnTo>
                    <a:pt x="561" y="1050"/>
                  </a:lnTo>
                  <a:lnTo>
                    <a:pt x="567" y="1044"/>
                  </a:lnTo>
                  <a:lnTo>
                    <a:pt x="575" y="1038"/>
                  </a:lnTo>
                  <a:lnTo>
                    <a:pt x="583" y="1035"/>
                  </a:lnTo>
                  <a:lnTo>
                    <a:pt x="592" y="1031"/>
                  </a:lnTo>
                  <a:lnTo>
                    <a:pt x="603" y="1029"/>
                  </a:lnTo>
                  <a:lnTo>
                    <a:pt x="614" y="1027"/>
                  </a:lnTo>
                  <a:lnTo>
                    <a:pt x="626" y="1027"/>
                  </a:lnTo>
                  <a:lnTo>
                    <a:pt x="635" y="1028"/>
                  </a:lnTo>
                  <a:lnTo>
                    <a:pt x="640" y="1029"/>
                  </a:lnTo>
                  <a:lnTo>
                    <a:pt x="644" y="1030"/>
                  </a:lnTo>
                  <a:lnTo>
                    <a:pt x="648" y="1033"/>
                  </a:lnTo>
                  <a:lnTo>
                    <a:pt x="651" y="1035"/>
                  </a:lnTo>
                  <a:lnTo>
                    <a:pt x="654" y="1038"/>
                  </a:lnTo>
                  <a:lnTo>
                    <a:pt x="655" y="1042"/>
                  </a:lnTo>
                  <a:lnTo>
                    <a:pt x="655" y="1045"/>
                  </a:lnTo>
                  <a:lnTo>
                    <a:pt x="655" y="1049"/>
                  </a:lnTo>
                  <a:lnTo>
                    <a:pt x="653" y="1057"/>
                  </a:lnTo>
                  <a:lnTo>
                    <a:pt x="648" y="1065"/>
                  </a:lnTo>
                  <a:lnTo>
                    <a:pt x="638" y="1080"/>
                  </a:lnTo>
                  <a:lnTo>
                    <a:pt x="631" y="1092"/>
                  </a:lnTo>
                  <a:lnTo>
                    <a:pt x="631" y="1095"/>
                  </a:lnTo>
                  <a:lnTo>
                    <a:pt x="631" y="1098"/>
                  </a:lnTo>
                  <a:lnTo>
                    <a:pt x="632" y="1100"/>
                  </a:lnTo>
                  <a:lnTo>
                    <a:pt x="633" y="1101"/>
                  </a:lnTo>
                  <a:lnTo>
                    <a:pt x="638" y="1105"/>
                  </a:lnTo>
                  <a:lnTo>
                    <a:pt x="644" y="1107"/>
                  </a:lnTo>
                  <a:lnTo>
                    <a:pt x="657" y="1109"/>
                  </a:lnTo>
                  <a:lnTo>
                    <a:pt x="669" y="1113"/>
                  </a:lnTo>
                  <a:lnTo>
                    <a:pt x="669" y="1114"/>
                  </a:lnTo>
                  <a:lnTo>
                    <a:pt x="668" y="1115"/>
                  </a:lnTo>
                  <a:lnTo>
                    <a:pt x="665" y="1118"/>
                  </a:lnTo>
                  <a:lnTo>
                    <a:pt x="663" y="1120"/>
                  </a:lnTo>
                  <a:lnTo>
                    <a:pt x="654" y="1126"/>
                  </a:lnTo>
                  <a:lnTo>
                    <a:pt x="643" y="1134"/>
                  </a:lnTo>
                  <a:lnTo>
                    <a:pt x="633" y="1143"/>
                  </a:lnTo>
                  <a:lnTo>
                    <a:pt x="622" y="1155"/>
                  </a:lnTo>
                  <a:lnTo>
                    <a:pt x="619" y="1161"/>
                  </a:lnTo>
                  <a:lnTo>
                    <a:pt x="615" y="1168"/>
                  </a:lnTo>
                  <a:lnTo>
                    <a:pt x="613" y="1175"/>
                  </a:lnTo>
                  <a:lnTo>
                    <a:pt x="613" y="1183"/>
                  </a:lnTo>
                  <a:lnTo>
                    <a:pt x="613" y="1193"/>
                  </a:lnTo>
                  <a:lnTo>
                    <a:pt x="615" y="1201"/>
                  </a:lnTo>
                  <a:lnTo>
                    <a:pt x="619" y="1210"/>
                  </a:lnTo>
                  <a:lnTo>
                    <a:pt x="622" y="1215"/>
                  </a:lnTo>
                  <a:lnTo>
                    <a:pt x="627" y="1220"/>
                  </a:lnTo>
                  <a:lnTo>
                    <a:pt x="633" y="1223"/>
                  </a:lnTo>
                  <a:lnTo>
                    <a:pt x="640" y="1227"/>
                  </a:lnTo>
                  <a:lnTo>
                    <a:pt x="647" y="1229"/>
                  </a:lnTo>
                  <a:lnTo>
                    <a:pt x="679" y="1234"/>
                  </a:lnTo>
                  <a:lnTo>
                    <a:pt x="713" y="1239"/>
                  </a:lnTo>
                  <a:lnTo>
                    <a:pt x="729" y="1241"/>
                  </a:lnTo>
                  <a:lnTo>
                    <a:pt x="745" y="1242"/>
                  </a:lnTo>
                  <a:lnTo>
                    <a:pt x="759" y="1241"/>
                  </a:lnTo>
                  <a:lnTo>
                    <a:pt x="774" y="1239"/>
                  </a:lnTo>
                  <a:lnTo>
                    <a:pt x="788" y="1234"/>
                  </a:lnTo>
                  <a:lnTo>
                    <a:pt x="802" y="1228"/>
                  </a:lnTo>
                  <a:lnTo>
                    <a:pt x="816" y="1221"/>
                  </a:lnTo>
                  <a:lnTo>
                    <a:pt x="831" y="1213"/>
                  </a:lnTo>
                  <a:lnTo>
                    <a:pt x="844" y="1205"/>
                  </a:lnTo>
                  <a:lnTo>
                    <a:pt x="854" y="1199"/>
                  </a:lnTo>
                  <a:lnTo>
                    <a:pt x="864" y="1197"/>
                  </a:lnTo>
                  <a:lnTo>
                    <a:pt x="871" y="1196"/>
                  </a:lnTo>
                  <a:lnTo>
                    <a:pt x="878" y="1196"/>
                  </a:lnTo>
                  <a:lnTo>
                    <a:pt x="884" y="1198"/>
                  </a:lnTo>
                  <a:lnTo>
                    <a:pt x="888" y="1203"/>
                  </a:lnTo>
                  <a:lnTo>
                    <a:pt x="891" y="1207"/>
                  </a:lnTo>
                  <a:lnTo>
                    <a:pt x="903" y="1240"/>
                  </a:lnTo>
                  <a:lnTo>
                    <a:pt x="916" y="1279"/>
                  </a:lnTo>
                  <a:lnTo>
                    <a:pt x="926" y="1303"/>
                  </a:lnTo>
                  <a:lnTo>
                    <a:pt x="932" y="1319"/>
                  </a:lnTo>
                  <a:lnTo>
                    <a:pt x="933" y="1325"/>
                  </a:lnTo>
                  <a:lnTo>
                    <a:pt x="934" y="1329"/>
                  </a:lnTo>
                  <a:lnTo>
                    <a:pt x="933" y="1334"/>
                  </a:lnTo>
                  <a:lnTo>
                    <a:pt x="932" y="1338"/>
                  </a:lnTo>
                  <a:lnTo>
                    <a:pt x="926" y="1345"/>
                  </a:lnTo>
                  <a:lnTo>
                    <a:pt x="917" y="1350"/>
                  </a:lnTo>
                  <a:lnTo>
                    <a:pt x="904" y="1358"/>
                  </a:lnTo>
                  <a:lnTo>
                    <a:pt x="888" y="1370"/>
                  </a:lnTo>
                  <a:lnTo>
                    <a:pt x="883" y="1375"/>
                  </a:lnTo>
                  <a:lnTo>
                    <a:pt x="880" y="1379"/>
                  </a:lnTo>
                  <a:lnTo>
                    <a:pt x="877" y="1384"/>
                  </a:lnTo>
                  <a:lnTo>
                    <a:pt x="875" y="1389"/>
                  </a:lnTo>
                  <a:lnTo>
                    <a:pt x="874" y="1398"/>
                  </a:lnTo>
                  <a:lnTo>
                    <a:pt x="875" y="1409"/>
                  </a:lnTo>
                  <a:lnTo>
                    <a:pt x="881" y="1428"/>
                  </a:lnTo>
                  <a:lnTo>
                    <a:pt x="885" y="1449"/>
                  </a:lnTo>
                  <a:lnTo>
                    <a:pt x="885" y="1459"/>
                  </a:lnTo>
                  <a:lnTo>
                    <a:pt x="884" y="1467"/>
                  </a:lnTo>
                  <a:lnTo>
                    <a:pt x="883" y="1474"/>
                  </a:lnTo>
                  <a:lnTo>
                    <a:pt x="881" y="1480"/>
                  </a:lnTo>
                  <a:lnTo>
                    <a:pt x="874" y="1492"/>
                  </a:lnTo>
                  <a:lnTo>
                    <a:pt x="866" y="1506"/>
                  </a:lnTo>
                  <a:lnTo>
                    <a:pt x="862" y="1516"/>
                  </a:lnTo>
                  <a:lnTo>
                    <a:pt x="861" y="1525"/>
                  </a:lnTo>
                  <a:lnTo>
                    <a:pt x="862" y="1533"/>
                  </a:lnTo>
                  <a:lnTo>
                    <a:pt x="864" y="1540"/>
                  </a:lnTo>
                  <a:lnTo>
                    <a:pt x="873" y="1554"/>
                  </a:lnTo>
                  <a:lnTo>
                    <a:pt x="882" y="1568"/>
                  </a:lnTo>
                  <a:lnTo>
                    <a:pt x="885" y="1576"/>
                  </a:lnTo>
                  <a:lnTo>
                    <a:pt x="888" y="1583"/>
                  </a:lnTo>
                  <a:lnTo>
                    <a:pt x="889" y="1590"/>
                  </a:lnTo>
                  <a:lnTo>
                    <a:pt x="889" y="1598"/>
                  </a:lnTo>
                  <a:lnTo>
                    <a:pt x="885" y="1608"/>
                  </a:lnTo>
                  <a:lnTo>
                    <a:pt x="880" y="1617"/>
                  </a:lnTo>
                  <a:lnTo>
                    <a:pt x="870" y="1626"/>
                  </a:lnTo>
                  <a:lnTo>
                    <a:pt x="858" y="1637"/>
                  </a:lnTo>
                  <a:lnTo>
                    <a:pt x="847" y="1637"/>
                  </a:lnTo>
                  <a:lnTo>
                    <a:pt x="840" y="1634"/>
                  </a:lnTo>
                  <a:lnTo>
                    <a:pt x="835" y="1632"/>
                  </a:lnTo>
                  <a:lnTo>
                    <a:pt x="831" y="1628"/>
                  </a:lnTo>
                  <a:lnTo>
                    <a:pt x="826" y="1625"/>
                  </a:lnTo>
                  <a:lnTo>
                    <a:pt x="823" y="1621"/>
                  </a:lnTo>
                  <a:lnTo>
                    <a:pt x="817" y="1619"/>
                  </a:lnTo>
                  <a:lnTo>
                    <a:pt x="809" y="1618"/>
                  </a:lnTo>
                  <a:lnTo>
                    <a:pt x="783" y="1617"/>
                  </a:lnTo>
                  <a:lnTo>
                    <a:pt x="754" y="1618"/>
                  </a:lnTo>
                  <a:lnTo>
                    <a:pt x="748" y="1619"/>
                  </a:lnTo>
                  <a:lnTo>
                    <a:pt x="743" y="1620"/>
                  </a:lnTo>
                  <a:lnTo>
                    <a:pt x="739" y="1624"/>
                  </a:lnTo>
                  <a:lnTo>
                    <a:pt x="736" y="1627"/>
                  </a:lnTo>
                  <a:lnTo>
                    <a:pt x="735" y="1632"/>
                  </a:lnTo>
                  <a:lnTo>
                    <a:pt x="736" y="1637"/>
                  </a:lnTo>
                  <a:lnTo>
                    <a:pt x="740" y="1644"/>
                  </a:lnTo>
                  <a:lnTo>
                    <a:pt x="746" y="1652"/>
                  </a:lnTo>
                  <a:lnTo>
                    <a:pt x="760" y="1670"/>
                  </a:lnTo>
                  <a:lnTo>
                    <a:pt x="770" y="1686"/>
                  </a:lnTo>
                  <a:lnTo>
                    <a:pt x="781" y="1702"/>
                  </a:lnTo>
                  <a:lnTo>
                    <a:pt x="791" y="1722"/>
                  </a:lnTo>
                  <a:lnTo>
                    <a:pt x="793" y="1727"/>
                  </a:lnTo>
                  <a:lnTo>
                    <a:pt x="798" y="1731"/>
                  </a:lnTo>
                  <a:lnTo>
                    <a:pt x="803" y="1732"/>
                  </a:lnTo>
                  <a:lnTo>
                    <a:pt x="807" y="1733"/>
                  </a:lnTo>
                  <a:lnTo>
                    <a:pt x="813" y="1733"/>
                  </a:lnTo>
                  <a:lnTo>
                    <a:pt x="819" y="1731"/>
                  </a:lnTo>
                  <a:lnTo>
                    <a:pt x="825" y="1729"/>
                  </a:lnTo>
                  <a:lnTo>
                    <a:pt x="831" y="1726"/>
                  </a:lnTo>
                  <a:lnTo>
                    <a:pt x="855" y="1712"/>
                  </a:lnTo>
                  <a:lnTo>
                    <a:pt x="874" y="1702"/>
                  </a:lnTo>
                  <a:lnTo>
                    <a:pt x="896" y="1697"/>
                  </a:lnTo>
                  <a:lnTo>
                    <a:pt x="918" y="1692"/>
                  </a:lnTo>
                  <a:lnTo>
                    <a:pt x="927" y="1688"/>
                  </a:lnTo>
                  <a:lnTo>
                    <a:pt x="937" y="1683"/>
                  </a:lnTo>
                  <a:lnTo>
                    <a:pt x="946" y="1676"/>
                  </a:lnTo>
                  <a:lnTo>
                    <a:pt x="953" y="1666"/>
                  </a:lnTo>
                  <a:lnTo>
                    <a:pt x="963" y="1649"/>
                  </a:lnTo>
                  <a:lnTo>
                    <a:pt x="976" y="1631"/>
                  </a:lnTo>
                  <a:lnTo>
                    <a:pt x="982" y="1623"/>
                  </a:lnTo>
                  <a:lnTo>
                    <a:pt x="989" y="1613"/>
                  </a:lnTo>
                  <a:lnTo>
                    <a:pt x="995" y="1606"/>
                  </a:lnTo>
                  <a:lnTo>
                    <a:pt x="1002" y="1601"/>
                  </a:lnTo>
                  <a:lnTo>
                    <a:pt x="1013" y="1592"/>
                  </a:lnTo>
                  <a:lnTo>
                    <a:pt x="1029" y="1582"/>
                  </a:lnTo>
                  <a:lnTo>
                    <a:pt x="1037" y="1577"/>
                  </a:lnTo>
                  <a:lnTo>
                    <a:pt x="1043" y="1571"/>
                  </a:lnTo>
                  <a:lnTo>
                    <a:pt x="1048" y="1567"/>
                  </a:lnTo>
                  <a:lnTo>
                    <a:pt x="1052" y="1562"/>
                  </a:lnTo>
                  <a:lnTo>
                    <a:pt x="1059" y="1538"/>
                  </a:lnTo>
                  <a:lnTo>
                    <a:pt x="1069" y="1500"/>
                  </a:lnTo>
                  <a:lnTo>
                    <a:pt x="1073" y="1491"/>
                  </a:lnTo>
                  <a:lnTo>
                    <a:pt x="1076" y="1482"/>
                  </a:lnTo>
                  <a:lnTo>
                    <a:pt x="1081" y="1475"/>
                  </a:lnTo>
                  <a:lnTo>
                    <a:pt x="1086" y="1469"/>
                  </a:lnTo>
                  <a:lnTo>
                    <a:pt x="1091" y="1464"/>
                  </a:lnTo>
                  <a:lnTo>
                    <a:pt x="1097" y="1462"/>
                  </a:lnTo>
                  <a:lnTo>
                    <a:pt x="1101" y="1462"/>
                  </a:lnTo>
                  <a:lnTo>
                    <a:pt x="1104" y="1462"/>
                  </a:lnTo>
                  <a:lnTo>
                    <a:pt x="1108" y="1463"/>
                  </a:lnTo>
                  <a:lnTo>
                    <a:pt x="1111" y="1466"/>
                  </a:lnTo>
                  <a:lnTo>
                    <a:pt x="1132" y="1477"/>
                  </a:lnTo>
                  <a:lnTo>
                    <a:pt x="1147" y="1487"/>
                  </a:lnTo>
                  <a:lnTo>
                    <a:pt x="1156" y="1489"/>
                  </a:lnTo>
                  <a:lnTo>
                    <a:pt x="1166" y="1490"/>
                  </a:lnTo>
                  <a:lnTo>
                    <a:pt x="1178" y="1490"/>
                  </a:lnTo>
                  <a:lnTo>
                    <a:pt x="1193" y="1489"/>
                  </a:lnTo>
                  <a:lnTo>
                    <a:pt x="1204" y="1489"/>
                  </a:lnTo>
                  <a:lnTo>
                    <a:pt x="1214" y="1489"/>
                  </a:lnTo>
                  <a:lnTo>
                    <a:pt x="1221" y="1491"/>
                  </a:lnTo>
                  <a:lnTo>
                    <a:pt x="1228" y="1493"/>
                  </a:lnTo>
                  <a:lnTo>
                    <a:pt x="1238" y="1498"/>
                  </a:lnTo>
                  <a:lnTo>
                    <a:pt x="1246" y="1504"/>
                  </a:lnTo>
                  <a:lnTo>
                    <a:pt x="1250" y="1505"/>
                  </a:lnTo>
                  <a:lnTo>
                    <a:pt x="1254" y="1506"/>
                  </a:lnTo>
                  <a:lnTo>
                    <a:pt x="1259" y="1506"/>
                  </a:lnTo>
                  <a:lnTo>
                    <a:pt x="1265" y="1505"/>
                  </a:lnTo>
                  <a:lnTo>
                    <a:pt x="1271" y="1502"/>
                  </a:lnTo>
                  <a:lnTo>
                    <a:pt x="1279" y="1497"/>
                  </a:lnTo>
                  <a:lnTo>
                    <a:pt x="1288" y="1490"/>
                  </a:lnTo>
                  <a:lnTo>
                    <a:pt x="1300" y="1480"/>
                  </a:lnTo>
                  <a:lnTo>
                    <a:pt x="1309" y="1473"/>
                  </a:lnTo>
                  <a:lnTo>
                    <a:pt x="1316" y="1468"/>
                  </a:lnTo>
                  <a:lnTo>
                    <a:pt x="1323" y="1466"/>
                  </a:lnTo>
                  <a:lnTo>
                    <a:pt x="1328" y="1466"/>
                  </a:lnTo>
                  <a:lnTo>
                    <a:pt x="1331" y="1467"/>
                  </a:lnTo>
                  <a:lnTo>
                    <a:pt x="1335" y="1470"/>
                  </a:lnTo>
                  <a:lnTo>
                    <a:pt x="1337" y="1475"/>
                  </a:lnTo>
                  <a:lnTo>
                    <a:pt x="1339" y="1480"/>
                  </a:lnTo>
                  <a:lnTo>
                    <a:pt x="1343" y="1493"/>
                  </a:lnTo>
                  <a:lnTo>
                    <a:pt x="1348" y="1507"/>
                  </a:lnTo>
                  <a:lnTo>
                    <a:pt x="1350" y="1514"/>
                  </a:lnTo>
                  <a:lnTo>
                    <a:pt x="1352" y="1520"/>
                  </a:lnTo>
                  <a:lnTo>
                    <a:pt x="1356" y="1527"/>
                  </a:lnTo>
                  <a:lnTo>
                    <a:pt x="1360" y="1532"/>
                  </a:lnTo>
                  <a:lnTo>
                    <a:pt x="1386" y="1539"/>
                  </a:lnTo>
                  <a:lnTo>
                    <a:pt x="1422" y="1547"/>
                  </a:lnTo>
                  <a:lnTo>
                    <a:pt x="1430" y="1548"/>
                  </a:lnTo>
                  <a:lnTo>
                    <a:pt x="1438" y="1549"/>
                  </a:lnTo>
                  <a:lnTo>
                    <a:pt x="1447" y="1548"/>
                  </a:lnTo>
                  <a:lnTo>
                    <a:pt x="1453" y="1546"/>
                  </a:lnTo>
                  <a:lnTo>
                    <a:pt x="1459" y="1544"/>
                  </a:lnTo>
                  <a:lnTo>
                    <a:pt x="1463" y="1539"/>
                  </a:lnTo>
                  <a:lnTo>
                    <a:pt x="1466" y="1533"/>
                  </a:lnTo>
                  <a:lnTo>
                    <a:pt x="1467" y="1525"/>
                  </a:lnTo>
                  <a:lnTo>
                    <a:pt x="1466" y="1518"/>
                  </a:lnTo>
                  <a:lnTo>
                    <a:pt x="1465" y="1512"/>
                  </a:lnTo>
                  <a:lnTo>
                    <a:pt x="1464" y="1506"/>
                  </a:lnTo>
                  <a:lnTo>
                    <a:pt x="1462" y="1500"/>
                  </a:lnTo>
                  <a:lnTo>
                    <a:pt x="1457" y="1489"/>
                  </a:lnTo>
                  <a:lnTo>
                    <a:pt x="1450" y="1478"/>
                  </a:lnTo>
                  <a:lnTo>
                    <a:pt x="1444" y="1468"/>
                  </a:lnTo>
                  <a:lnTo>
                    <a:pt x="1438" y="1457"/>
                  </a:lnTo>
                  <a:lnTo>
                    <a:pt x="1434" y="1446"/>
                  </a:lnTo>
                  <a:lnTo>
                    <a:pt x="1430" y="1434"/>
                  </a:lnTo>
                  <a:lnTo>
                    <a:pt x="1429" y="1426"/>
                  </a:lnTo>
                  <a:lnTo>
                    <a:pt x="1429" y="1418"/>
                  </a:lnTo>
                  <a:lnTo>
                    <a:pt x="1430" y="1410"/>
                  </a:lnTo>
                  <a:lnTo>
                    <a:pt x="1431" y="1400"/>
                  </a:lnTo>
                  <a:lnTo>
                    <a:pt x="1434" y="1383"/>
                  </a:lnTo>
                  <a:lnTo>
                    <a:pt x="1435" y="1365"/>
                  </a:lnTo>
                  <a:lnTo>
                    <a:pt x="1434" y="1352"/>
                  </a:lnTo>
                  <a:lnTo>
                    <a:pt x="1434" y="1334"/>
                  </a:lnTo>
                  <a:lnTo>
                    <a:pt x="1435" y="1325"/>
                  </a:lnTo>
                  <a:lnTo>
                    <a:pt x="1438" y="1318"/>
                  </a:lnTo>
                  <a:lnTo>
                    <a:pt x="1440" y="1315"/>
                  </a:lnTo>
                  <a:lnTo>
                    <a:pt x="1442" y="1313"/>
                  </a:lnTo>
                  <a:lnTo>
                    <a:pt x="1445" y="1312"/>
                  </a:lnTo>
                  <a:lnTo>
                    <a:pt x="1449" y="1311"/>
                  </a:lnTo>
                  <a:lnTo>
                    <a:pt x="1455" y="1312"/>
                  </a:lnTo>
                  <a:lnTo>
                    <a:pt x="1459" y="1315"/>
                  </a:lnTo>
                  <a:lnTo>
                    <a:pt x="1463" y="1320"/>
                  </a:lnTo>
                  <a:lnTo>
                    <a:pt x="1466" y="1326"/>
                  </a:lnTo>
                  <a:lnTo>
                    <a:pt x="1472" y="1340"/>
                  </a:lnTo>
                  <a:lnTo>
                    <a:pt x="1477" y="1354"/>
                  </a:lnTo>
                  <a:lnTo>
                    <a:pt x="1480" y="1360"/>
                  </a:lnTo>
                  <a:lnTo>
                    <a:pt x="1484" y="1365"/>
                  </a:lnTo>
                  <a:lnTo>
                    <a:pt x="1488" y="1369"/>
                  </a:lnTo>
                  <a:lnTo>
                    <a:pt x="1494" y="1370"/>
                  </a:lnTo>
                  <a:lnTo>
                    <a:pt x="1500" y="1370"/>
                  </a:lnTo>
                  <a:lnTo>
                    <a:pt x="1507" y="1367"/>
                  </a:lnTo>
                  <a:lnTo>
                    <a:pt x="1516" y="1361"/>
                  </a:lnTo>
                  <a:lnTo>
                    <a:pt x="1527" y="1352"/>
                  </a:lnTo>
                  <a:lnTo>
                    <a:pt x="1530" y="1347"/>
                  </a:lnTo>
                  <a:lnTo>
                    <a:pt x="1534" y="1342"/>
                  </a:lnTo>
                  <a:lnTo>
                    <a:pt x="1537" y="1336"/>
                  </a:lnTo>
                  <a:lnTo>
                    <a:pt x="1538" y="1331"/>
                  </a:lnTo>
                  <a:lnTo>
                    <a:pt x="1541" y="1318"/>
                  </a:lnTo>
                  <a:lnTo>
                    <a:pt x="1542" y="1305"/>
                  </a:lnTo>
                  <a:lnTo>
                    <a:pt x="1540" y="1278"/>
                  </a:lnTo>
                  <a:lnTo>
                    <a:pt x="1535" y="1253"/>
                  </a:lnTo>
                  <a:lnTo>
                    <a:pt x="1534" y="1243"/>
                  </a:lnTo>
                  <a:lnTo>
                    <a:pt x="1531" y="1235"/>
                  </a:lnTo>
                  <a:lnTo>
                    <a:pt x="1528" y="1228"/>
                  </a:lnTo>
                  <a:lnTo>
                    <a:pt x="1524" y="1222"/>
                  </a:lnTo>
                  <a:lnTo>
                    <a:pt x="1520" y="1217"/>
                  </a:lnTo>
                  <a:lnTo>
                    <a:pt x="1515" y="1212"/>
                  </a:lnTo>
                  <a:lnTo>
                    <a:pt x="1511" y="1208"/>
                  </a:lnTo>
                  <a:lnTo>
                    <a:pt x="1504" y="1205"/>
                  </a:lnTo>
                  <a:lnTo>
                    <a:pt x="1491" y="1200"/>
                  </a:lnTo>
                  <a:lnTo>
                    <a:pt x="1477" y="1197"/>
                  </a:lnTo>
                  <a:lnTo>
                    <a:pt x="1462" y="1194"/>
                  </a:lnTo>
                  <a:lnTo>
                    <a:pt x="1445" y="1192"/>
                  </a:lnTo>
                  <a:lnTo>
                    <a:pt x="1438" y="1191"/>
                  </a:lnTo>
                  <a:lnTo>
                    <a:pt x="1429" y="1186"/>
                  </a:lnTo>
                  <a:lnTo>
                    <a:pt x="1420" y="1180"/>
                  </a:lnTo>
                  <a:lnTo>
                    <a:pt x="1412" y="1173"/>
                  </a:lnTo>
                  <a:lnTo>
                    <a:pt x="1403" y="1166"/>
                  </a:lnTo>
                  <a:lnTo>
                    <a:pt x="1398" y="1158"/>
                  </a:lnTo>
                  <a:lnTo>
                    <a:pt x="1395" y="1155"/>
                  </a:lnTo>
                  <a:lnTo>
                    <a:pt x="1394" y="1151"/>
                  </a:lnTo>
                  <a:lnTo>
                    <a:pt x="1393" y="1147"/>
                  </a:lnTo>
                  <a:lnTo>
                    <a:pt x="1393" y="1144"/>
                  </a:lnTo>
                  <a:lnTo>
                    <a:pt x="1412" y="1146"/>
                  </a:lnTo>
                  <a:lnTo>
                    <a:pt x="1428" y="1148"/>
                  </a:lnTo>
                  <a:lnTo>
                    <a:pt x="1436" y="1149"/>
                  </a:lnTo>
                  <a:lnTo>
                    <a:pt x="1445" y="1149"/>
                  </a:lnTo>
                  <a:lnTo>
                    <a:pt x="1453" y="1148"/>
                  </a:lnTo>
                  <a:lnTo>
                    <a:pt x="1463" y="1146"/>
                  </a:lnTo>
                  <a:lnTo>
                    <a:pt x="1470" y="1143"/>
                  </a:lnTo>
                  <a:lnTo>
                    <a:pt x="1473" y="1140"/>
                  </a:lnTo>
                  <a:lnTo>
                    <a:pt x="1476" y="1136"/>
                  </a:lnTo>
                  <a:lnTo>
                    <a:pt x="1477" y="1133"/>
                  </a:lnTo>
                  <a:lnTo>
                    <a:pt x="1477" y="1129"/>
                  </a:lnTo>
                  <a:lnTo>
                    <a:pt x="1476" y="1125"/>
                  </a:lnTo>
                  <a:lnTo>
                    <a:pt x="1473" y="1120"/>
                  </a:lnTo>
                  <a:lnTo>
                    <a:pt x="1470" y="1115"/>
                  </a:lnTo>
                  <a:lnTo>
                    <a:pt x="1463" y="1105"/>
                  </a:lnTo>
                  <a:lnTo>
                    <a:pt x="1455" y="1094"/>
                  </a:lnTo>
                  <a:lnTo>
                    <a:pt x="1452" y="1090"/>
                  </a:lnTo>
                  <a:lnTo>
                    <a:pt x="1449" y="1084"/>
                  </a:lnTo>
                  <a:lnTo>
                    <a:pt x="1448" y="1078"/>
                  </a:lnTo>
                  <a:lnTo>
                    <a:pt x="1447" y="1073"/>
                  </a:lnTo>
                  <a:lnTo>
                    <a:pt x="1455" y="1055"/>
                  </a:lnTo>
                  <a:lnTo>
                    <a:pt x="1465" y="1037"/>
                  </a:lnTo>
                  <a:lnTo>
                    <a:pt x="1471" y="1029"/>
                  </a:lnTo>
                  <a:lnTo>
                    <a:pt x="1478" y="1022"/>
                  </a:lnTo>
                  <a:lnTo>
                    <a:pt x="1487" y="1016"/>
                  </a:lnTo>
                  <a:lnTo>
                    <a:pt x="1497" y="1013"/>
                  </a:lnTo>
                  <a:lnTo>
                    <a:pt x="1502" y="1012"/>
                  </a:lnTo>
                  <a:lnTo>
                    <a:pt x="1509" y="1012"/>
                  </a:lnTo>
                  <a:lnTo>
                    <a:pt x="1515" y="1013"/>
                  </a:lnTo>
                  <a:lnTo>
                    <a:pt x="1521" y="1015"/>
                  </a:lnTo>
                  <a:lnTo>
                    <a:pt x="1534" y="1019"/>
                  </a:lnTo>
                  <a:lnTo>
                    <a:pt x="1547" y="1022"/>
                  </a:lnTo>
                  <a:lnTo>
                    <a:pt x="1556" y="1021"/>
                  </a:lnTo>
                  <a:lnTo>
                    <a:pt x="1565" y="1020"/>
                  </a:lnTo>
                  <a:lnTo>
                    <a:pt x="1576" y="1015"/>
                  </a:lnTo>
                  <a:lnTo>
                    <a:pt x="1586" y="1012"/>
                  </a:lnTo>
                  <a:lnTo>
                    <a:pt x="1597" y="1007"/>
                  </a:lnTo>
                  <a:lnTo>
                    <a:pt x="1609" y="1004"/>
                  </a:lnTo>
                  <a:lnTo>
                    <a:pt x="1621" y="1001"/>
                  </a:lnTo>
                  <a:lnTo>
                    <a:pt x="1635" y="1001"/>
                  </a:lnTo>
                  <a:lnTo>
                    <a:pt x="1642" y="1001"/>
                  </a:lnTo>
                  <a:lnTo>
                    <a:pt x="1650" y="1000"/>
                  </a:lnTo>
                  <a:lnTo>
                    <a:pt x="1660" y="999"/>
                  </a:lnTo>
                  <a:lnTo>
                    <a:pt x="1669" y="997"/>
                  </a:lnTo>
                  <a:lnTo>
                    <a:pt x="1679" y="993"/>
                  </a:lnTo>
                  <a:lnTo>
                    <a:pt x="1689" y="990"/>
                  </a:lnTo>
                  <a:lnTo>
                    <a:pt x="1698" y="986"/>
                  </a:lnTo>
                  <a:lnTo>
                    <a:pt x="1706" y="981"/>
                  </a:lnTo>
                  <a:lnTo>
                    <a:pt x="1713" y="976"/>
                  </a:lnTo>
                  <a:lnTo>
                    <a:pt x="1718" y="970"/>
                  </a:lnTo>
                  <a:lnTo>
                    <a:pt x="1722" y="964"/>
                  </a:lnTo>
                  <a:lnTo>
                    <a:pt x="1724" y="957"/>
                  </a:lnTo>
                  <a:lnTo>
                    <a:pt x="1724" y="954"/>
                  </a:lnTo>
                  <a:lnTo>
                    <a:pt x="1724" y="950"/>
                  </a:lnTo>
                  <a:lnTo>
                    <a:pt x="1722" y="947"/>
                  </a:lnTo>
                  <a:lnTo>
                    <a:pt x="1720" y="943"/>
                  </a:lnTo>
                  <a:lnTo>
                    <a:pt x="1714" y="935"/>
                  </a:lnTo>
                  <a:lnTo>
                    <a:pt x="1705" y="927"/>
                  </a:lnTo>
                  <a:lnTo>
                    <a:pt x="1698" y="922"/>
                  </a:lnTo>
                  <a:lnTo>
                    <a:pt x="1693" y="916"/>
                  </a:lnTo>
                  <a:lnTo>
                    <a:pt x="1687" y="910"/>
                  </a:lnTo>
                  <a:lnTo>
                    <a:pt x="1684" y="905"/>
                  </a:lnTo>
                  <a:lnTo>
                    <a:pt x="1678" y="892"/>
                  </a:lnTo>
                  <a:lnTo>
                    <a:pt x="1675" y="878"/>
                  </a:lnTo>
                  <a:lnTo>
                    <a:pt x="1670" y="850"/>
                  </a:lnTo>
                  <a:lnTo>
                    <a:pt x="1664" y="820"/>
                  </a:lnTo>
                  <a:lnTo>
                    <a:pt x="1663" y="820"/>
                  </a:lnTo>
                  <a:lnTo>
                    <a:pt x="1663" y="817"/>
                  </a:lnTo>
                  <a:lnTo>
                    <a:pt x="1657" y="819"/>
                  </a:lnTo>
                  <a:lnTo>
                    <a:pt x="1653" y="820"/>
                  </a:lnTo>
                  <a:lnTo>
                    <a:pt x="1648" y="823"/>
                  </a:lnTo>
                  <a:lnTo>
                    <a:pt x="1643" y="827"/>
                  </a:lnTo>
                  <a:lnTo>
                    <a:pt x="1635" y="836"/>
                  </a:lnTo>
                  <a:lnTo>
                    <a:pt x="1627" y="848"/>
                  </a:lnTo>
                  <a:lnTo>
                    <a:pt x="1619" y="860"/>
                  </a:lnTo>
                  <a:lnTo>
                    <a:pt x="1612" y="872"/>
                  </a:lnTo>
                  <a:lnTo>
                    <a:pt x="1608" y="877"/>
                  </a:lnTo>
                  <a:lnTo>
                    <a:pt x="1604" y="881"/>
                  </a:lnTo>
                  <a:lnTo>
                    <a:pt x="1599" y="886"/>
                  </a:lnTo>
                  <a:lnTo>
                    <a:pt x="1596" y="889"/>
                  </a:lnTo>
                  <a:lnTo>
                    <a:pt x="1591" y="892"/>
                  </a:lnTo>
                  <a:lnTo>
                    <a:pt x="1587" y="892"/>
                  </a:lnTo>
                  <a:lnTo>
                    <a:pt x="1583" y="893"/>
                  </a:lnTo>
                  <a:lnTo>
                    <a:pt x="1579" y="892"/>
                  </a:lnTo>
                  <a:lnTo>
                    <a:pt x="1571" y="889"/>
                  </a:lnTo>
                  <a:lnTo>
                    <a:pt x="1563" y="886"/>
                  </a:lnTo>
                  <a:lnTo>
                    <a:pt x="1555" y="883"/>
                  </a:lnTo>
                  <a:lnTo>
                    <a:pt x="1545" y="881"/>
                  </a:lnTo>
                  <a:lnTo>
                    <a:pt x="1541" y="881"/>
                  </a:lnTo>
                  <a:lnTo>
                    <a:pt x="1535" y="883"/>
                  </a:lnTo>
                  <a:lnTo>
                    <a:pt x="1530" y="885"/>
                  </a:lnTo>
                  <a:lnTo>
                    <a:pt x="1524" y="887"/>
                  </a:lnTo>
                  <a:lnTo>
                    <a:pt x="1516" y="892"/>
                  </a:lnTo>
                  <a:lnTo>
                    <a:pt x="1508" y="895"/>
                  </a:lnTo>
                  <a:lnTo>
                    <a:pt x="1500" y="898"/>
                  </a:lnTo>
                  <a:lnTo>
                    <a:pt x="1491" y="899"/>
                  </a:lnTo>
                  <a:lnTo>
                    <a:pt x="1483" y="899"/>
                  </a:lnTo>
                  <a:lnTo>
                    <a:pt x="1474" y="896"/>
                  </a:lnTo>
                  <a:lnTo>
                    <a:pt x="1467" y="892"/>
                  </a:lnTo>
                  <a:lnTo>
                    <a:pt x="1460" y="885"/>
                  </a:lnTo>
                  <a:lnTo>
                    <a:pt x="1458" y="883"/>
                  </a:lnTo>
                  <a:lnTo>
                    <a:pt x="1455" y="880"/>
                  </a:lnTo>
                  <a:lnTo>
                    <a:pt x="1450" y="879"/>
                  </a:lnTo>
                  <a:lnTo>
                    <a:pt x="1447" y="879"/>
                  </a:lnTo>
                  <a:lnTo>
                    <a:pt x="1436" y="879"/>
                  </a:lnTo>
                  <a:lnTo>
                    <a:pt x="1424" y="879"/>
                  </a:lnTo>
                  <a:lnTo>
                    <a:pt x="1412" y="880"/>
                  </a:lnTo>
                  <a:lnTo>
                    <a:pt x="1400" y="880"/>
                  </a:lnTo>
                  <a:lnTo>
                    <a:pt x="1393" y="880"/>
                  </a:lnTo>
                  <a:lnTo>
                    <a:pt x="1387" y="879"/>
                  </a:lnTo>
                  <a:lnTo>
                    <a:pt x="1381" y="877"/>
                  </a:lnTo>
                  <a:lnTo>
                    <a:pt x="1376" y="874"/>
                  </a:lnTo>
                  <a:lnTo>
                    <a:pt x="1365" y="870"/>
                  </a:lnTo>
                  <a:lnTo>
                    <a:pt x="1355" y="865"/>
                  </a:lnTo>
                  <a:lnTo>
                    <a:pt x="1344" y="862"/>
                  </a:lnTo>
                  <a:lnTo>
                    <a:pt x="1334" y="858"/>
                  </a:lnTo>
                  <a:lnTo>
                    <a:pt x="1311" y="852"/>
                  </a:lnTo>
                  <a:lnTo>
                    <a:pt x="1289" y="848"/>
                  </a:lnTo>
                  <a:lnTo>
                    <a:pt x="1287" y="835"/>
                  </a:lnTo>
                  <a:lnTo>
                    <a:pt x="1284" y="823"/>
                  </a:lnTo>
                  <a:lnTo>
                    <a:pt x="1279" y="813"/>
                  </a:lnTo>
                  <a:lnTo>
                    <a:pt x="1275" y="802"/>
                  </a:lnTo>
                  <a:lnTo>
                    <a:pt x="1267" y="781"/>
                  </a:lnTo>
                  <a:lnTo>
                    <a:pt x="1260" y="760"/>
                  </a:lnTo>
                  <a:lnTo>
                    <a:pt x="1258" y="741"/>
                  </a:lnTo>
                  <a:lnTo>
                    <a:pt x="1257" y="722"/>
                  </a:lnTo>
                  <a:lnTo>
                    <a:pt x="1257" y="703"/>
                  </a:lnTo>
                  <a:lnTo>
                    <a:pt x="1259" y="684"/>
                  </a:lnTo>
                  <a:lnTo>
                    <a:pt x="1261" y="665"/>
                  </a:lnTo>
                  <a:lnTo>
                    <a:pt x="1265" y="646"/>
                  </a:lnTo>
                  <a:lnTo>
                    <a:pt x="1270" y="628"/>
                  </a:lnTo>
                  <a:lnTo>
                    <a:pt x="1275" y="610"/>
                  </a:lnTo>
                  <a:lnTo>
                    <a:pt x="1280" y="597"/>
                  </a:lnTo>
                  <a:lnTo>
                    <a:pt x="1285" y="586"/>
                  </a:lnTo>
                  <a:lnTo>
                    <a:pt x="1292" y="576"/>
                  </a:lnTo>
                  <a:lnTo>
                    <a:pt x="1299" y="568"/>
                  </a:lnTo>
                  <a:lnTo>
                    <a:pt x="1307" y="561"/>
                  </a:lnTo>
                  <a:lnTo>
                    <a:pt x="1315" y="556"/>
                  </a:lnTo>
                  <a:lnTo>
                    <a:pt x="1324" y="550"/>
                  </a:lnTo>
                  <a:lnTo>
                    <a:pt x="1334" y="545"/>
                  </a:lnTo>
                  <a:lnTo>
                    <a:pt x="1352" y="536"/>
                  </a:lnTo>
                  <a:lnTo>
                    <a:pt x="1373" y="526"/>
                  </a:lnTo>
                  <a:lnTo>
                    <a:pt x="1382" y="521"/>
                  </a:lnTo>
                  <a:lnTo>
                    <a:pt x="1393" y="514"/>
                  </a:lnTo>
                  <a:lnTo>
                    <a:pt x="1402" y="507"/>
                  </a:lnTo>
                  <a:lnTo>
                    <a:pt x="1413" y="497"/>
                  </a:lnTo>
                  <a:lnTo>
                    <a:pt x="1410" y="498"/>
                  </a:lnTo>
                  <a:lnTo>
                    <a:pt x="1409" y="500"/>
                  </a:lnTo>
                  <a:lnTo>
                    <a:pt x="1408" y="501"/>
                  </a:lnTo>
                  <a:lnTo>
                    <a:pt x="1406" y="500"/>
                  </a:lnTo>
                  <a:lnTo>
                    <a:pt x="1620" y="333"/>
                  </a:lnTo>
                  <a:lnTo>
                    <a:pt x="1637" y="320"/>
                  </a:lnTo>
                  <a:lnTo>
                    <a:pt x="1657" y="309"/>
                  </a:lnTo>
                  <a:lnTo>
                    <a:pt x="1676" y="297"/>
                  </a:lnTo>
                  <a:lnTo>
                    <a:pt x="1697" y="287"/>
                  </a:lnTo>
                  <a:lnTo>
                    <a:pt x="1739" y="267"/>
                  </a:lnTo>
                  <a:lnTo>
                    <a:pt x="1782" y="247"/>
                  </a:lnTo>
                  <a:lnTo>
                    <a:pt x="1824" y="227"/>
                  </a:lnTo>
                  <a:lnTo>
                    <a:pt x="1866" y="206"/>
                  </a:lnTo>
                  <a:lnTo>
                    <a:pt x="1885" y="196"/>
                  </a:lnTo>
                  <a:lnTo>
                    <a:pt x="1904" y="183"/>
                  </a:lnTo>
                  <a:lnTo>
                    <a:pt x="1923" y="170"/>
                  </a:lnTo>
                  <a:lnTo>
                    <a:pt x="1940" y="155"/>
                  </a:lnTo>
                  <a:lnTo>
                    <a:pt x="1954" y="144"/>
                  </a:lnTo>
                  <a:lnTo>
                    <a:pt x="1967" y="133"/>
                  </a:lnTo>
                  <a:lnTo>
                    <a:pt x="1980" y="125"/>
                  </a:lnTo>
                  <a:lnTo>
                    <a:pt x="1992" y="117"/>
                  </a:lnTo>
                  <a:lnTo>
                    <a:pt x="2005" y="111"/>
                  </a:lnTo>
                  <a:lnTo>
                    <a:pt x="2019" y="106"/>
                  </a:lnTo>
                  <a:lnTo>
                    <a:pt x="2036" y="102"/>
                  </a:lnTo>
                  <a:lnTo>
                    <a:pt x="2053" y="98"/>
                  </a:lnTo>
                  <a:lnTo>
                    <a:pt x="2061" y="96"/>
                  </a:lnTo>
                  <a:lnTo>
                    <a:pt x="2068" y="93"/>
                  </a:lnTo>
                  <a:lnTo>
                    <a:pt x="2075" y="90"/>
                  </a:lnTo>
                  <a:lnTo>
                    <a:pt x="2082" y="85"/>
                  </a:lnTo>
                  <a:lnTo>
                    <a:pt x="2094" y="76"/>
                  </a:lnTo>
                  <a:lnTo>
                    <a:pt x="2104" y="67"/>
                  </a:lnTo>
                  <a:lnTo>
                    <a:pt x="2115" y="55"/>
                  </a:lnTo>
                  <a:lnTo>
                    <a:pt x="2125" y="43"/>
                  </a:lnTo>
                  <a:lnTo>
                    <a:pt x="2138" y="33"/>
                  </a:lnTo>
                  <a:lnTo>
                    <a:pt x="2151" y="24"/>
                  </a:lnTo>
                  <a:lnTo>
                    <a:pt x="2164" y="9"/>
                  </a:lnTo>
                  <a:lnTo>
                    <a:pt x="2178" y="4"/>
                  </a:lnTo>
                  <a:lnTo>
                    <a:pt x="2189" y="2"/>
                  </a:lnTo>
                  <a:lnTo>
                    <a:pt x="2198" y="0"/>
                  </a:lnTo>
                  <a:lnTo>
                    <a:pt x="2205" y="2"/>
                  </a:lnTo>
                  <a:lnTo>
                    <a:pt x="2210" y="4"/>
                  </a:lnTo>
                  <a:lnTo>
                    <a:pt x="2215" y="6"/>
                  </a:lnTo>
                  <a:lnTo>
                    <a:pt x="2217" y="10"/>
                  </a:lnTo>
                  <a:lnTo>
                    <a:pt x="2221" y="14"/>
                  </a:lnTo>
                  <a:lnTo>
                    <a:pt x="2225" y="26"/>
                  </a:lnTo>
                  <a:lnTo>
                    <a:pt x="2233" y="36"/>
                  </a:lnTo>
                  <a:lnTo>
                    <a:pt x="2239" y="42"/>
                  </a:lnTo>
                  <a:lnTo>
                    <a:pt x="2246" y="47"/>
                  </a:lnTo>
                  <a:lnTo>
                    <a:pt x="2256" y="52"/>
                  </a:lnTo>
                  <a:lnTo>
                    <a:pt x="2268" y="56"/>
                  </a:lnTo>
                  <a:lnTo>
                    <a:pt x="2285" y="61"/>
                  </a:lnTo>
                  <a:lnTo>
                    <a:pt x="2300" y="66"/>
                  </a:lnTo>
                  <a:lnTo>
                    <a:pt x="2308" y="68"/>
                  </a:lnTo>
                  <a:lnTo>
                    <a:pt x="2316" y="69"/>
                  </a:lnTo>
                  <a:lnTo>
                    <a:pt x="2324" y="69"/>
                  </a:lnTo>
                  <a:lnTo>
                    <a:pt x="2332" y="68"/>
                  </a:lnTo>
                  <a:lnTo>
                    <a:pt x="2349" y="63"/>
                  </a:lnTo>
                  <a:lnTo>
                    <a:pt x="2359" y="59"/>
                  </a:lnTo>
                  <a:lnTo>
                    <a:pt x="2366" y="54"/>
                  </a:lnTo>
                  <a:lnTo>
                    <a:pt x="2372" y="50"/>
                  </a:lnTo>
                  <a:lnTo>
                    <a:pt x="2374" y="49"/>
                  </a:lnTo>
                  <a:lnTo>
                    <a:pt x="2378" y="49"/>
                  </a:lnTo>
                  <a:lnTo>
                    <a:pt x="2380" y="49"/>
                  </a:lnTo>
                  <a:lnTo>
                    <a:pt x="2384" y="50"/>
                  </a:lnTo>
                  <a:lnTo>
                    <a:pt x="2393" y="54"/>
                  </a:lnTo>
                  <a:lnTo>
                    <a:pt x="2407" y="62"/>
                  </a:lnTo>
                  <a:lnTo>
                    <a:pt x="2425" y="71"/>
                  </a:lnTo>
                  <a:lnTo>
                    <a:pt x="2445" y="80"/>
                  </a:lnTo>
                  <a:lnTo>
                    <a:pt x="2465" y="87"/>
                  </a:lnTo>
                  <a:lnTo>
                    <a:pt x="2484" y="93"/>
                  </a:lnTo>
                  <a:lnTo>
                    <a:pt x="2492" y="97"/>
                  </a:lnTo>
                  <a:lnTo>
                    <a:pt x="2500" y="102"/>
                  </a:lnTo>
                  <a:lnTo>
                    <a:pt x="2507" y="107"/>
                  </a:lnTo>
                  <a:lnTo>
                    <a:pt x="2513" y="113"/>
                  </a:lnTo>
                  <a:lnTo>
                    <a:pt x="2519" y="121"/>
                  </a:lnTo>
                  <a:lnTo>
                    <a:pt x="2522" y="130"/>
                  </a:lnTo>
                  <a:lnTo>
                    <a:pt x="2526" y="139"/>
                  </a:lnTo>
                  <a:lnTo>
                    <a:pt x="2527" y="151"/>
                  </a:lnTo>
                  <a:lnTo>
                    <a:pt x="2529" y="164"/>
                  </a:lnTo>
                  <a:lnTo>
                    <a:pt x="2533" y="178"/>
                  </a:lnTo>
                  <a:lnTo>
                    <a:pt x="2540" y="194"/>
                  </a:lnTo>
                  <a:lnTo>
                    <a:pt x="2547" y="210"/>
                  </a:lnTo>
                  <a:lnTo>
                    <a:pt x="2564" y="239"/>
                  </a:lnTo>
                  <a:lnTo>
                    <a:pt x="2580" y="263"/>
                  </a:lnTo>
                  <a:lnTo>
                    <a:pt x="2584" y="270"/>
                  </a:lnTo>
                  <a:lnTo>
                    <a:pt x="2586" y="276"/>
                  </a:lnTo>
                  <a:lnTo>
                    <a:pt x="2587" y="282"/>
                  </a:lnTo>
                  <a:lnTo>
                    <a:pt x="2587" y="287"/>
                  </a:lnTo>
                  <a:lnTo>
                    <a:pt x="2587" y="292"/>
                  </a:lnTo>
                  <a:lnTo>
                    <a:pt x="2585" y="297"/>
                  </a:lnTo>
                  <a:lnTo>
                    <a:pt x="2583" y="303"/>
                  </a:lnTo>
                  <a:lnTo>
                    <a:pt x="2580" y="308"/>
                  </a:lnTo>
                  <a:lnTo>
                    <a:pt x="2564" y="325"/>
                  </a:lnTo>
                  <a:lnTo>
                    <a:pt x="2549" y="341"/>
                  </a:lnTo>
                  <a:lnTo>
                    <a:pt x="2537" y="352"/>
                  </a:lnTo>
                  <a:lnTo>
                    <a:pt x="2526" y="361"/>
                  </a:lnTo>
                  <a:lnTo>
                    <a:pt x="2522" y="366"/>
                  </a:lnTo>
                  <a:lnTo>
                    <a:pt x="2519" y="372"/>
                  </a:lnTo>
                  <a:lnTo>
                    <a:pt x="2519" y="375"/>
                  </a:lnTo>
                  <a:lnTo>
                    <a:pt x="2519" y="379"/>
                  </a:lnTo>
                  <a:lnTo>
                    <a:pt x="2520" y="382"/>
                  </a:lnTo>
                  <a:lnTo>
                    <a:pt x="2522" y="386"/>
                  </a:lnTo>
                  <a:lnTo>
                    <a:pt x="2526" y="395"/>
                  </a:lnTo>
                  <a:lnTo>
                    <a:pt x="2530" y="409"/>
                  </a:lnTo>
                  <a:lnTo>
                    <a:pt x="2531" y="415"/>
                  </a:lnTo>
                  <a:lnTo>
                    <a:pt x="2531" y="421"/>
                  </a:lnTo>
                  <a:lnTo>
                    <a:pt x="2531" y="423"/>
                  </a:lnTo>
                  <a:lnTo>
                    <a:pt x="2529" y="425"/>
                  </a:lnTo>
                  <a:lnTo>
                    <a:pt x="2528" y="426"/>
                  </a:lnTo>
                  <a:lnTo>
                    <a:pt x="2526" y="427"/>
                  </a:lnTo>
                  <a:lnTo>
                    <a:pt x="2509" y="430"/>
                  </a:lnTo>
                  <a:lnTo>
                    <a:pt x="2500" y="433"/>
                  </a:lnTo>
                  <a:lnTo>
                    <a:pt x="2498" y="434"/>
                  </a:lnTo>
                  <a:lnTo>
                    <a:pt x="2496" y="437"/>
                  </a:lnTo>
                  <a:lnTo>
                    <a:pt x="2496" y="438"/>
                  </a:lnTo>
                  <a:lnTo>
                    <a:pt x="2496" y="440"/>
                  </a:lnTo>
                  <a:lnTo>
                    <a:pt x="2500" y="446"/>
                  </a:lnTo>
                  <a:lnTo>
                    <a:pt x="2503" y="452"/>
                  </a:lnTo>
                  <a:lnTo>
                    <a:pt x="2507" y="459"/>
                  </a:lnTo>
                  <a:lnTo>
                    <a:pt x="2508" y="468"/>
                  </a:lnTo>
                  <a:lnTo>
                    <a:pt x="2507" y="475"/>
                  </a:lnTo>
                  <a:lnTo>
                    <a:pt x="2503" y="487"/>
                  </a:lnTo>
                  <a:lnTo>
                    <a:pt x="2498" y="501"/>
                  </a:lnTo>
                  <a:lnTo>
                    <a:pt x="2489" y="516"/>
                  </a:lnTo>
                  <a:lnTo>
                    <a:pt x="2474" y="544"/>
                  </a:lnTo>
                  <a:lnTo>
                    <a:pt x="2464" y="560"/>
                  </a:lnTo>
                  <a:lnTo>
                    <a:pt x="2456" y="573"/>
                  </a:lnTo>
                  <a:lnTo>
                    <a:pt x="2445" y="583"/>
                  </a:lnTo>
                  <a:lnTo>
                    <a:pt x="2441" y="589"/>
                  </a:lnTo>
                  <a:lnTo>
                    <a:pt x="2436" y="595"/>
                  </a:lnTo>
                  <a:lnTo>
                    <a:pt x="2432" y="602"/>
                  </a:lnTo>
                  <a:lnTo>
                    <a:pt x="2430" y="609"/>
                  </a:lnTo>
                  <a:lnTo>
                    <a:pt x="2425" y="640"/>
                  </a:lnTo>
                  <a:lnTo>
                    <a:pt x="2423" y="665"/>
                  </a:lnTo>
                  <a:lnTo>
                    <a:pt x="2421" y="670"/>
                  </a:lnTo>
                  <a:lnTo>
                    <a:pt x="2418" y="674"/>
                  </a:lnTo>
                  <a:lnTo>
                    <a:pt x="2415" y="679"/>
                  </a:lnTo>
                  <a:lnTo>
                    <a:pt x="2410" y="684"/>
                  </a:lnTo>
                  <a:lnTo>
                    <a:pt x="2405" y="688"/>
                  </a:lnTo>
                  <a:lnTo>
                    <a:pt x="2398" y="693"/>
                  </a:lnTo>
                  <a:lnTo>
                    <a:pt x="2388" y="696"/>
                  </a:lnTo>
                  <a:lnTo>
                    <a:pt x="2378" y="701"/>
                  </a:lnTo>
                  <a:lnTo>
                    <a:pt x="2336" y="714"/>
                  </a:lnTo>
                  <a:lnTo>
                    <a:pt x="2286" y="727"/>
                  </a:lnTo>
                  <a:lnTo>
                    <a:pt x="2274" y="731"/>
                  </a:lnTo>
                  <a:lnTo>
                    <a:pt x="2264" y="736"/>
                  </a:lnTo>
                  <a:lnTo>
                    <a:pt x="2253" y="742"/>
                  </a:lnTo>
                  <a:lnTo>
                    <a:pt x="2244" y="748"/>
                  </a:lnTo>
                  <a:lnTo>
                    <a:pt x="2237" y="756"/>
                  </a:lnTo>
                  <a:lnTo>
                    <a:pt x="2231" y="764"/>
                  </a:lnTo>
                  <a:lnTo>
                    <a:pt x="2229" y="767"/>
                  </a:lnTo>
                  <a:lnTo>
                    <a:pt x="2228" y="773"/>
                  </a:lnTo>
                  <a:lnTo>
                    <a:pt x="2226" y="778"/>
                  </a:lnTo>
                  <a:lnTo>
                    <a:pt x="2225" y="782"/>
                  </a:lnTo>
                  <a:lnTo>
                    <a:pt x="2225" y="788"/>
                  </a:lnTo>
                  <a:lnTo>
                    <a:pt x="2224" y="793"/>
                  </a:lnTo>
                  <a:lnTo>
                    <a:pt x="2223" y="796"/>
                  </a:lnTo>
                  <a:lnTo>
                    <a:pt x="2221" y="800"/>
                  </a:lnTo>
                  <a:lnTo>
                    <a:pt x="2216" y="803"/>
                  </a:lnTo>
                  <a:lnTo>
                    <a:pt x="2210" y="807"/>
                  </a:lnTo>
                  <a:lnTo>
                    <a:pt x="2204" y="810"/>
                  </a:lnTo>
                  <a:lnTo>
                    <a:pt x="2197" y="813"/>
                  </a:lnTo>
                  <a:lnTo>
                    <a:pt x="2191" y="819"/>
                  </a:lnTo>
                  <a:lnTo>
                    <a:pt x="2187" y="825"/>
                  </a:lnTo>
                  <a:lnTo>
                    <a:pt x="2185" y="834"/>
                  </a:lnTo>
                  <a:lnTo>
                    <a:pt x="2182" y="841"/>
                  </a:lnTo>
                  <a:lnTo>
                    <a:pt x="2182" y="849"/>
                  </a:lnTo>
                  <a:lnTo>
                    <a:pt x="2183" y="857"/>
                  </a:lnTo>
                  <a:lnTo>
                    <a:pt x="2189" y="872"/>
                  </a:lnTo>
                  <a:lnTo>
                    <a:pt x="2196" y="889"/>
                  </a:lnTo>
                  <a:lnTo>
                    <a:pt x="2204" y="906"/>
                  </a:lnTo>
                  <a:lnTo>
                    <a:pt x="2211" y="923"/>
                  </a:lnTo>
                  <a:lnTo>
                    <a:pt x="2214" y="933"/>
                  </a:lnTo>
                  <a:lnTo>
                    <a:pt x="2215" y="941"/>
                  </a:lnTo>
                  <a:lnTo>
                    <a:pt x="2216" y="950"/>
                  </a:lnTo>
                  <a:lnTo>
                    <a:pt x="2215" y="960"/>
                  </a:lnTo>
                  <a:lnTo>
                    <a:pt x="2211" y="972"/>
                  </a:lnTo>
                  <a:lnTo>
                    <a:pt x="2208" y="984"/>
                  </a:lnTo>
                  <a:lnTo>
                    <a:pt x="2202" y="995"/>
                  </a:lnTo>
                  <a:lnTo>
                    <a:pt x="2196" y="1007"/>
                  </a:lnTo>
                  <a:lnTo>
                    <a:pt x="2190" y="1019"/>
                  </a:lnTo>
                  <a:lnTo>
                    <a:pt x="2185" y="1030"/>
                  </a:lnTo>
                  <a:lnTo>
                    <a:pt x="2180" y="1043"/>
                  </a:lnTo>
                  <a:lnTo>
                    <a:pt x="2176" y="1056"/>
                  </a:lnTo>
                  <a:lnTo>
                    <a:pt x="2174" y="1068"/>
                  </a:lnTo>
                  <a:lnTo>
                    <a:pt x="2169" y="1076"/>
                  </a:lnTo>
                  <a:lnTo>
                    <a:pt x="2164" y="1084"/>
                  </a:lnTo>
                  <a:lnTo>
                    <a:pt x="2158" y="1090"/>
                  </a:lnTo>
                  <a:lnTo>
                    <a:pt x="2143" y="1099"/>
                  </a:lnTo>
                  <a:lnTo>
                    <a:pt x="2127" y="1107"/>
                  </a:lnTo>
                  <a:lnTo>
                    <a:pt x="2120" y="1111"/>
                  </a:lnTo>
                  <a:lnTo>
                    <a:pt x="2115" y="1115"/>
                  </a:lnTo>
                  <a:lnTo>
                    <a:pt x="2110" y="1120"/>
                  </a:lnTo>
                  <a:lnTo>
                    <a:pt x="2108" y="1126"/>
                  </a:lnTo>
                  <a:lnTo>
                    <a:pt x="2107" y="1133"/>
                  </a:lnTo>
                  <a:lnTo>
                    <a:pt x="2108" y="1141"/>
                  </a:lnTo>
                  <a:lnTo>
                    <a:pt x="2111" y="1150"/>
                  </a:lnTo>
                  <a:lnTo>
                    <a:pt x="2117" y="1162"/>
                  </a:lnTo>
                  <a:lnTo>
                    <a:pt x="2129" y="1180"/>
                  </a:lnTo>
                  <a:lnTo>
                    <a:pt x="2138" y="1199"/>
                  </a:lnTo>
                  <a:lnTo>
                    <a:pt x="2144" y="1217"/>
                  </a:lnTo>
                  <a:lnTo>
                    <a:pt x="2148" y="1234"/>
                  </a:lnTo>
                  <a:lnTo>
                    <a:pt x="2150" y="1242"/>
                  </a:lnTo>
                  <a:lnTo>
                    <a:pt x="2150" y="1251"/>
                  </a:lnTo>
                  <a:lnTo>
                    <a:pt x="2150" y="1261"/>
                  </a:lnTo>
                  <a:lnTo>
                    <a:pt x="2148" y="1270"/>
                  </a:lnTo>
                  <a:lnTo>
                    <a:pt x="2145" y="1291"/>
                  </a:lnTo>
                  <a:lnTo>
                    <a:pt x="2139" y="1314"/>
                  </a:lnTo>
                  <a:lnTo>
                    <a:pt x="2147" y="1332"/>
                  </a:lnTo>
                  <a:lnTo>
                    <a:pt x="2157" y="1349"/>
                  </a:lnTo>
                  <a:lnTo>
                    <a:pt x="2161" y="1356"/>
                  </a:lnTo>
                  <a:lnTo>
                    <a:pt x="2167" y="1363"/>
                  </a:lnTo>
                  <a:lnTo>
                    <a:pt x="2174" y="1369"/>
                  </a:lnTo>
                  <a:lnTo>
                    <a:pt x="2183" y="1374"/>
                  </a:lnTo>
                  <a:lnTo>
                    <a:pt x="2188" y="1376"/>
                  </a:lnTo>
                  <a:lnTo>
                    <a:pt x="2193" y="1379"/>
                  </a:lnTo>
                  <a:lnTo>
                    <a:pt x="2195" y="1384"/>
                  </a:lnTo>
                  <a:lnTo>
                    <a:pt x="2198" y="1389"/>
                  </a:lnTo>
                  <a:lnTo>
                    <a:pt x="2201" y="1400"/>
                  </a:lnTo>
                  <a:lnTo>
                    <a:pt x="2203" y="1413"/>
                  </a:lnTo>
                  <a:lnTo>
                    <a:pt x="2204" y="1427"/>
                  </a:lnTo>
                  <a:lnTo>
                    <a:pt x="2205" y="1440"/>
                  </a:lnTo>
                  <a:lnTo>
                    <a:pt x="2207" y="1447"/>
                  </a:lnTo>
                  <a:lnTo>
                    <a:pt x="2209" y="1453"/>
                  </a:lnTo>
                  <a:lnTo>
                    <a:pt x="2211" y="1459"/>
                  </a:lnTo>
                  <a:lnTo>
                    <a:pt x="2215" y="1463"/>
                  </a:lnTo>
                  <a:lnTo>
                    <a:pt x="2221" y="1470"/>
                  </a:lnTo>
                  <a:lnTo>
                    <a:pt x="2226" y="1474"/>
                  </a:lnTo>
                  <a:lnTo>
                    <a:pt x="2231" y="1476"/>
                  </a:lnTo>
                  <a:lnTo>
                    <a:pt x="2236" y="1476"/>
                  </a:lnTo>
                  <a:lnTo>
                    <a:pt x="2240" y="1474"/>
                  </a:lnTo>
                  <a:lnTo>
                    <a:pt x="2245" y="1471"/>
                  </a:lnTo>
                  <a:lnTo>
                    <a:pt x="2249" y="1467"/>
                  </a:lnTo>
                  <a:lnTo>
                    <a:pt x="2252" y="1461"/>
                  </a:lnTo>
                  <a:lnTo>
                    <a:pt x="2258" y="1448"/>
                  </a:lnTo>
                  <a:lnTo>
                    <a:pt x="2264" y="1434"/>
                  </a:lnTo>
                  <a:lnTo>
                    <a:pt x="2267" y="1428"/>
                  </a:lnTo>
                  <a:lnTo>
                    <a:pt x="2271" y="1422"/>
                  </a:lnTo>
                  <a:lnTo>
                    <a:pt x="2274" y="1418"/>
                  </a:lnTo>
                  <a:lnTo>
                    <a:pt x="2278" y="1414"/>
                  </a:lnTo>
                  <a:lnTo>
                    <a:pt x="2281" y="1412"/>
                  </a:lnTo>
                  <a:lnTo>
                    <a:pt x="2286" y="1411"/>
                  </a:lnTo>
                  <a:lnTo>
                    <a:pt x="2289" y="1411"/>
                  </a:lnTo>
                  <a:lnTo>
                    <a:pt x="2293" y="1412"/>
                  </a:lnTo>
                  <a:lnTo>
                    <a:pt x="2300" y="1418"/>
                  </a:lnTo>
                  <a:lnTo>
                    <a:pt x="2307" y="1425"/>
                  </a:lnTo>
                  <a:lnTo>
                    <a:pt x="2317" y="1443"/>
                  </a:lnTo>
                  <a:lnTo>
                    <a:pt x="2325" y="1459"/>
                  </a:lnTo>
                  <a:lnTo>
                    <a:pt x="2330" y="1466"/>
                  </a:lnTo>
                  <a:lnTo>
                    <a:pt x="2336" y="1471"/>
                  </a:lnTo>
                  <a:lnTo>
                    <a:pt x="2342" y="1475"/>
                  </a:lnTo>
                  <a:lnTo>
                    <a:pt x="2349" y="1477"/>
                  </a:lnTo>
                  <a:lnTo>
                    <a:pt x="2364" y="1478"/>
                  </a:lnTo>
                  <a:lnTo>
                    <a:pt x="2380" y="1480"/>
                  </a:lnTo>
                  <a:lnTo>
                    <a:pt x="2388" y="1481"/>
                  </a:lnTo>
                  <a:lnTo>
                    <a:pt x="2396" y="1483"/>
                  </a:lnTo>
                  <a:lnTo>
                    <a:pt x="2402" y="1488"/>
                  </a:lnTo>
                  <a:lnTo>
                    <a:pt x="2409" y="1493"/>
                  </a:lnTo>
                  <a:lnTo>
                    <a:pt x="2415" y="1498"/>
                  </a:lnTo>
                  <a:lnTo>
                    <a:pt x="2421" y="1504"/>
                  </a:lnTo>
                  <a:lnTo>
                    <a:pt x="2427" y="1507"/>
                  </a:lnTo>
                  <a:lnTo>
                    <a:pt x="2434" y="1510"/>
                  </a:lnTo>
                  <a:lnTo>
                    <a:pt x="2437" y="1510"/>
                  </a:lnTo>
                  <a:lnTo>
                    <a:pt x="2442" y="1506"/>
                  </a:lnTo>
                  <a:lnTo>
                    <a:pt x="2446" y="1503"/>
                  </a:lnTo>
                  <a:lnTo>
                    <a:pt x="2451" y="1497"/>
                  </a:lnTo>
                  <a:lnTo>
                    <a:pt x="2463" y="1482"/>
                  </a:lnTo>
                  <a:lnTo>
                    <a:pt x="2476" y="1464"/>
                  </a:lnTo>
                  <a:lnTo>
                    <a:pt x="2487" y="1446"/>
                  </a:lnTo>
                  <a:lnTo>
                    <a:pt x="2498" y="1427"/>
                  </a:lnTo>
                  <a:lnTo>
                    <a:pt x="2505" y="1413"/>
                  </a:lnTo>
                  <a:lnTo>
                    <a:pt x="2508" y="1404"/>
                  </a:lnTo>
                  <a:lnTo>
                    <a:pt x="2513" y="1378"/>
                  </a:lnTo>
                  <a:lnTo>
                    <a:pt x="2515" y="1354"/>
                  </a:lnTo>
                  <a:lnTo>
                    <a:pt x="2516" y="1342"/>
                  </a:lnTo>
                  <a:lnTo>
                    <a:pt x="2515" y="1329"/>
                  </a:lnTo>
                  <a:lnTo>
                    <a:pt x="2514" y="1317"/>
                  </a:lnTo>
                  <a:lnTo>
                    <a:pt x="2512" y="1303"/>
                  </a:lnTo>
                  <a:lnTo>
                    <a:pt x="2509" y="1294"/>
                  </a:lnTo>
                  <a:lnTo>
                    <a:pt x="2506" y="1289"/>
                  </a:lnTo>
                  <a:lnTo>
                    <a:pt x="2501" y="1284"/>
                  </a:lnTo>
                  <a:lnTo>
                    <a:pt x="2495" y="1282"/>
                  </a:lnTo>
                  <a:lnTo>
                    <a:pt x="2489" y="1279"/>
                  </a:lnTo>
                  <a:lnTo>
                    <a:pt x="2482" y="1279"/>
                  </a:lnTo>
                  <a:lnTo>
                    <a:pt x="2476" y="1279"/>
                  </a:lnTo>
                  <a:lnTo>
                    <a:pt x="2469" y="1279"/>
                  </a:lnTo>
                  <a:lnTo>
                    <a:pt x="2452" y="1282"/>
                  </a:lnTo>
                  <a:lnTo>
                    <a:pt x="2436" y="1282"/>
                  </a:lnTo>
                  <a:lnTo>
                    <a:pt x="2428" y="1282"/>
                  </a:lnTo>
                  <a:lnTo>
                    <a:pt x="2421" y="1279"/>
                  </a:lnTo>
                  <a:lnTo>
                    <a:pt x="2413" y="1277"/>
                  </a:lnTo>
                  <a:lnTo>
                    <a:pt x="2407" y="1272"/>
                  </a:lnTo>
                  <a:lnTo>
                    <a:pt x="2405" y="1270"/>
                  </a:lnTo>
                  <a:lnTo>
                    <a:pt x="2403" y="1268"/>
                  </a:lnTo>
                  <a:lnTo>
                    <a:pt x="2402" y="1264"/>
                  </a:lnTo>
                  <a:lnTo>
                    <a:pt x="2402" y="1261"/>
                  </a:lnTo>
                  <a:lnTo>
                    <a:pt x="2402" y="1253"/>
                  </a:lnTo>
                  <a:lnTo>
                    <a:pt x="2403" y="1243"/>
                  </a:lnTo>
                  <a:lnTo>
                    <a:pt x="2408" y="1226"/>
                  </a:lnTo>
                  <a:lnTo>
                    <a:pt x="2414" y="1213"/>
                  </a:lnTo>
                  <a:lnTo>
                    <a:pt x="2416" y="1201"/>
                  </a:lnTo>
                  <a:lnTo>
                    <a:pt x="2417" y="1190"/>
                  </a:lnTo>
                  <a:lnTo>
                    <a:pt x="2417" y="1179"/>
                  </a:lnTo>
                  <a:lnTo>
                    <a:pt x="2415" y="1169"/>
                  </a:lnTo>
                  <a:lnTo>
                    <a:pt x="2411" y="1158"/>
                  </a:lnTo>
                  <a:lnTo>
                    <a:pt x="2407" y="1149"/>
                  </a:lnTo>
                  <a:lnTo>
                    <a:pt x="2402" y="1139"/>
                  </a:lnTo>
                  <a:lnTo>
                    <a:pt x="2396" y="1129"/>
                  </a:lnTo>
                  <a:lnTo>
                    <a:pt x="2394" y="1132"/>
                  </a:lnTo>
                  <a:lnTo>
                    <a:pt x="2393" y="1134"/>
                  </a:lnTo>
                  <a:lnTo>
                    <a:pt x="2385" y="1122"/>
                  </a:lnTo>
                  <a:lnTo>
                    <a:pt x="2377" y="1109"/>
                  </a:lnTo>
                  <a:lnTo>
                    <a:pt x="2370" y="1095"/>
                  </a:lnTo>
                  <a:lnTo>
                    <a:pt x="2364" y="1080"/>
                  </a:lnTo>
                  <a:lnTo>
                    <a:pt x="2353" y="1047"/>
                  </a:lnTo>
                  <a:lnTo>
                    <a:pt x="2344" y="1012"/>
                  </a:lnTo>
                  <a:lnTo>
                    <a:pt x="2336" y="976"/>
                  </a:lnTo>
                  <a:lnTo>
                    <a:pt x="2328" y="941"/>
                  </a:lnTo>
                  <a:lnTo>
                    <a:pt x="2322" y="907"/>
                  </a:lnTo>
                  <a:lnTo>
                    <a:pt x="2315" y="878"/>
                  </a:lnTo>
                  <a:lnTo>
                    <a:pt x="2313" y="865"/>
                  </a:lnTo>
                  <a:lnTo>
                    <a:pt x="2311" y="855"/>
                  </a:lnTo>
                  <a:lnTo>
                    <a:pt x="2311" y="848"/>
                  </a:lnTo>
                  <a:lnTo>
                    <a:pt x="2313" y="842"/>
                  </a:lnTo>
                  <a:lnTo>
                    <a:pt x="2316" y="839"/>
                  </a:lnTo>
                  <a:lnTo>
                    <a:pt x="2320" y="837"/>
                  </a:lnTo>
                  <a:lnTo>
                    <a:pt x="2323" y="837"/>
                  </a:lnTo>
                  <a:lnTo>
                    <a:pt x="2329" y="838"/>
                  </a:lnTo>
                  <a:lnTo>
                    <a:pt x="2352" y="848"/>
                  </a:lnTo>
                  <a:lnTo>
                    <a:pt x="2373" y="856"/>
                  </a:lnTo>
                  <a:lnTo>
                    <a:pt x="2379" y="855"/>
                  </a:lnTo>
                  <a:lnTo>
                    <a:pt x="2385" y="850"/>
                  </a:lnTo>
                  <a:lnTo>
                    <a:pt x="2392" y="844"/>
                  </a:lnTo>
                  <a:lnTo>
                    <a:pt x="2400" y="836"/>
                  </a:lnTo>
                  <a:lnTo>
                    <a:pt x="2417" y="816"/>
                  </a:lnTo>
                  <a:lnTo>
                    <a:pt x="2437" y="794"/>
                  </a:lnTo>
                  <a:lnTo>
                    <a:pt x="2456" y="773"/>
                  </a:lnTo>
                  <a:lnTo>
                    <a:pt x="2473" y="757"/>
                  </a:lnTo>
                  <a:lnTo>
                    <a:pt x="2480" y="751"/>
                  </a:lnTo>
                  <a:lnTo>
                    <a:pt x="2487" y="748"/>
                  </a:lnTo>
                  <a:lnTo>
                    <a:pt x="2491" y="748"/>
                  </a:lnTo>
                  <a:lnTo>
                    <a:pt x="2493" y="748"/>
                  </a:lnTo>
                  <a:lnTo>
                    <a:pt x="2495" y="749"/>
                  </a:lnTo>
                  <a:lnTo>
                    <a:pt x="2496" y="750"/>
                  </a:lnTo>
                  <a:lnTo>
                    <a:pt x="2502" y="758"/>
                  </a:lnTo>
                  <a:lnTo>
                    <a:pt x="2507" y="767"/>
                  </a:lnTo>
                  <a:lnTo>
                    <a:pt x="2512" y="779"/>
                  </a:lnTo>
                  <a:lnTo>
                    <a:pt x="2516" y="791"/>
                  </a:lnTo>
                  <a:lnTo>
                    <a:pt x="2523" y="814"/>
                  </a:lnTo>
                  <a:lnTo>
                    <a:pt x="2528" y="834"/>
                  </a:lnTo>
                  <a:lnTo>
                    <a:pt x="2528" y="837"/>
                  </a:lnTo>
                  <a:lnTo>
                    <a:pt x="2527" y="841"/>
                  </a:lnTo>
                  <a:lnTo>
                    <a:pt x="2526" y="843"/>
                  </a:lnTo>
                  <a:lnTo>
                    <a:pt x="2524" y="845"/>
                  </a:lnTo>
                  <a:lnTo>
                    <a:pt x="2519" y="849"/>
                  </a:lnTo>
                  <a:lnTo>
                    <a:pt x="2512" y="852"/>
                  </a:lnTo>
                  <a:lnTo>
                    <a:pt x="2493" y="856"/>
                  </a:lnTo>
                  <a:lnTo>
                    <a:pt x="2473" y="859"/>
                  </a:lnTo>
                  <a:lnTo>
                    <a:pt x="2464" y="862"/>
                  </a:lnTo>
                  <a:lnTo>
                    <a:pt x="2456" y="864"/>
                  </a:lnTo>
                  <a:lnTo>
                    <a:pt x="2448" y="869"/>
                  </a:lnTo>
                  <a:lnTo>
                    <a:pt x="2443" y="874"/>
                  </a:lnTo>
                  <a:lnTo>
                    <a:pt x="2441" y="878"/>
                  </a:lnTo>
                  <a:lnTo>
                    <a:pt x="2439" y="881"/>
                  </a:lnTo>
                  <a:lnTo>
                    <a:pt x="2438" y="885"/>
                  </a:lnTo>
                  <a:lnTo>
                    <a:pt x="2438" y="891"/>
                  </a:lnTo>
                  <a:lnTo>
                    <a:pt x="2439" y="895"/>
                  </a:lnTo>
                  <a:lnTo>
                    <a:pt x="2441" y="901"/>
                  </a:lnTo>
                  <a:lnTo>
                    <a:pt x="2444" y="908"/>
                  </a:lnTo>
                  <a:lnTo>
                    <a:pt x="2448" y="915"/>
                  </a:lnTo>
                  <a:lnTo>
                    <a:pt x="2449" y="916"/>
                  </a:lnTo>
                  <a:lnTo>
                    <a:pt x="2450" y="917"/>
                  </a:lnTo>
                  <a:lnTo>
                    <a:pt x="2451" y="919"/>
                  </a:lnTo>
                  <a:lnTo>
                    <a:pt x="2453" y="919"/>
                  </a:lnTo>
                  <a:lnTo>
                    <a:pt x="2458" y="917"/>
                  </a:lnTo>
                  <a:lnTo>
                    <a:pt x="2464" y="915"/>
                  </a:lnTo>
                  <a:lnTo>
                    <a:pt x="2476" y="907"/>
                  </a:lnTo>
                  <a:lnTo>
                    <a:pt x="2488" y="899"/>
                  </a:lnTo>
                  <a:lnTo>
                    <a:pt x="2494" y="894"/>
                  </a:lnTo>
                  <a:lnTo>
                    <a:pt x="2500" y="891"/>
                  </a:lnTo>
                  <a:lnTo>
                    <a:pt x="2505" y="889"/>
                  </a:lnTo>
                  <a:lnTo>
                    <a:pt x="2508" y="888"/>
                  </a:lnTo>
                  <a:lnTo>
                    <a:pt x="2509" y="889"/>
                  </a:lnTo>
                  <a:lnTo>
                    <a:pt x="2510" y="891"/>
                  </a:lnTo>
                  <a:lnTo>
                    <a:pt x="2512" y="892"/>
                  </a:lnTo>
                  <a:lnTo>
                    <a:pt x="2512" y="894"/>
                  </a:lnTo>
                  <a:lnTo>
                    <a:pt x="2510" y="900"/>
                  </a:lnTo>
                  <a:lnTo>
                    <a:pt x="2508" y="909"/>
                  </a:lnTo>
                  <a:lnTo>
                    <a:pt x="2499" y="931"/>
                  </a:lnTo>
                  <a:lnTo>
                    <a:pt x="2486" y="960"/>
                  </a:lnTo>
                  <a:lnTo>
                    <a:pt x="2484" y="966"/>
                  </a:lnTo>
                  <a:lnTo>
                    <a:pt x="2482" y="971"/>
                  </a:lnTo>
                  <a:lnTo>
                    <a:pt x="2484" y="974"/>
                  </a:lnTo>
                  <a:lnTo>
                    <a:pt x="2485" y="977"/>
                  </a:lnTo>
                  <a:lnTo>
                    <a:pt x="2488" y="977"/>
                  </a:lnTo>
                  <a:lnTo>
                    <a:pt x="2494" y="974"/>
                  </a:lnTo>
                  <a:lnTo>
                    <a:pt x="2502" y="970"/>
                  </a:lnTo>
                  <a:lnTo>
                    <a:pt x="2513" y="963"/>
                  </a:lnTo>
                  <a:lnTo>
                    <a:pt x="2521" y="956"/>
                  </a:lnTo>
                  <a:lnTo>
                    <a:pt x="2530" y="950"/>
                  </a:lnTo>
                  <a:lnTo>
                    <a:pt x="2540" y="945"/>
                  </a:lnTo>
                  <a:lnTo>
                    <a:pt x="2549" y="943"/>
                  </a:lnTo>
                  <a:lnTo>
                    <a:pt x="2552" y="942"/>
                  </a:lnTo>
                  <a:lnTo>
                    <a:pt x="2556" y="943"/>
                  </a:lnTo>
                  <a:lnTo>
                    <a:pt x="2559" y="944"/>
                  </a:lnTo>
                  <a:lnTo>
                    <a:pt x="2562" y="947"/>
                  </a:lnTo>
                  <a:lnTo>
                    <a:pt x="2564" y="951"/>
                  </a:lnTo>
                  <a:lnTo>
                    <a:pt x="2566" y="956"/>
                  </a:lnTo>
                  <a:lnTo>
                    <a:pt x="2566" y="963"/>
                  </a:lnTo>
                  <a:lnTo>
                    <a:pt x="2567" y="971"/>
                  </a:lnTo>
                  <a:lnTo>
                    <a:pt x="2567" y="979"/>
                  </a:lnTo>
                  <a:lnTo>
                    <a:pt x="2569" y="985"/>
                  </a:lnTo>
                  <a:lnTo>
                    <a:pt x="2570" y="990"/>
                  </a:lnTo>
                  <a:lnTo>
                    <a:pt x="2572" y="992"/>
                  </a:lnTo>
                  <a:lnTo>
                    <a:pt x="2576" y="993"/>
                  </a:lnTo>
                  <a:lnTo>
                    <a:pt x="2579" y="993"/>
                  </a:lnTo>
                  <a:lnTo>
                    <a:pt x="2583" y="993"/>
                  </a:lnTo>
                  <a:lnTo>
                    <a:pt x="2586" y="991"/>
                  </a:lnTo>
                  <a:lnTo>
                    <a:pt x="2595" y="988"/>
                  </a:lnTo>
                  <a:lnTo>
                    <a:pt x="2605" y="985"/>
                  </a:lnTo>
                  <a:lnTo>
                    <a:pt x="2609" y="985"/>
                  </a:lnTo>
                  <a:lnTo>
                    <a:pt x="2614" y="986"/>
                  </a:lnTo>
                  <a:lnTo>
                    <a:pt x="2619" y="988"/>
                  </a:lnTo>
                  <a:lnTo>
                    <a:pt x="2623" y="993"/>
                  </a:lnTo>
                  <a:lnTo>
                    <a:pt x="2628" y="997"/>
                  </a:lnTo>
                  <a:lnTo>
                    <a:pt x="2633" y="1000"/>
                  </a:lnTo>
                  <a:lnTo>
                    <a:pt x="2637" y="1004"/>
                  </a:lnTo>
                  <a:lnTo>
                    <a:pt x="2642" y="1005"/>
                  </a:lnTo>
                  <a:lnTo>
                    <a:pt x="2648" y="1006"/>
                  </a:lnTo>
                  <a:lnTo>
                    <a:pt x="2652" y="1007"/>
                  </a:lnTo>
                  <a:lnTo>
                    <a:pt x="2657" y="1007"/>
                  </a:lnTo>
                  <a:lnTo>
                    <a:pt x="2662" y="1006"/>
                  </a:lnTo>
                  <a:lnTo>
                    <a:pt x="2666" y="1004"/>
                  </a:lnTo>
                  <a:lnTo>
                    <a:pt x="2671" y="1001"/>
                  </a:lnTo>
                  <a:lnTo>
                    <a:pt x="2675" y="999"/>
                  </a:lnTo>
                  <a:lnTo>
                    <a:pt x="2679" y="995"/>
                  </a:lnTo>
                  <a:lnTo>
                    <a:pt x="2687" y="987"/>
                  </a:lnTo>
                  <a:lnTo>
                    <a:pt x="2693" y="977"/>
                  </a:lnTo>
                  <a:lnTo>
                    <a:pt x="2696" y="972"/>
                  </a:lnTo>
                  <a:lnTo>
                    <a:pt x="2696" y="969"/>
                  </a:lnTo>
                  <a:lnTo>
                    <a:pt x="2696" y="963"/>
                  </a:lnTo>
                  <a:lnTo>
                    <a:pt x="2694" y="958"/>
                  </a:lnTo>
                  <a:lnTo>
                    <a:pt x="2692" y="949"/>
                  </a:lnTo>
                  <a:lnTo>
                    <a:pt x="2687" y="938"/>
                  </a:lnTo>
                  <a:lnTo>
                    <a:pt x="2684" y="929"/>
                  </a:lnTo>
                  <a:lnTo>
                    <a:pt x="2683" y="920"/>
                  </a:lnTo>
                  <a:lnTo>
                    <a:pt x="2683" y="915"/>
                  </a:lnTo>
                  <a:lnTo>
                    <a:pt x="2684" y="912"/>
                  </a:lnTo>
                  <a:lnTo>
                    <a:pt x="2686" y="908"/>
                  </a:lnTo>
                  <a:lnTo>
                    <a:pt x="2691" y="905"/>
                  </a:lnTo>
                  <a:lnTo>
                    <a:pt x="2699" y="900"/>
                  </a:lnTo>
                  <a:lnTo>
                    <a:pt x="2711" y="896"/>
                  </a:lnTo>
                  <a:lnTo>
                    <a:pt x="2725" y="894"/>
                  </a:lnTo>
                  <a:lnTo>
                    <a:pt x="2737" y="895"/>
                  </a:lnTo>
                  <a:lnTo>
                    <a:pt x="2744" y="896"/>
                  </a:lnTo>
                  <a:lnTo>
                    <a:pt x="2750" y="898"/>
                  </a:lnTo>
                  <a:lnTo>
                    <a:pt x="2755" y="901"/>
                  </a:lnTo>
                  <a:lnTo>
                    <a:pt x="2758" y="903"/>
                  </a:lnTo>
                  <a:lnTo>
                    <a:pt x="2762" y="908"/>
                  </a:lnTo>
                  <a:lnTo>
                    <a:pt x="2763" y="913"/>
                  </a:lnTo>
                  <a:lnTo>
                    <a:pt x="2763" y="919"/>
                  </a:lnTo>
                  <a:lnTo>
                    <a:pt x="2762" y="926"/>
                  </a:lnTo>
                  <a:lnTo>
                    <a:pt x="2758" y="940"/>
                  </a:lnTo>
                  <a:lnTo>
                    <a:pt x="2756" y="951"/>
                  </a:lnTo>
                  <a:lnTo>
                    <a:pt x="2755" y="964"/>
                  </a:lnTo>
                  <a:lnTo>
                    <a:pt x="2757" y="974"/>
                  </a:lnTo>
                  <a:lnTo>
                    <a:pt x="2758" y="979"/>
                  </a:lnTo>
                  <a:lnTo>
                    <a:pt x="2761" y="985"/>
                  </a:lnTo>
                  <a:lnTo>
                    <a:pt x="2764" y="988"/>
                  </a:lnTo>
                  <a:lnTo>
                    <a:pt x="2768" y="993"/>
                  </a:lnTo>
                  <a:lnTo>
                    <a:pt x="2772" y="997"/>
                  </a:lnTo>
                  <a:lnTo>
                    <a:pt x="2778" y="1000"/>
                  </a:lnTo>
                  <a:lnTo>
                    <a:pt x="2784" y="1004"/>
                  </a:lnTo>
                  <a:lnTo>
                    <a:pt x="2792" y="1006"/>
                  </a:lnTo>
                  <a:lnTo>
                    <a:pt x="2796" y="1007"/>
                  </a:lnTo>
                  <a:lnTo>
                    <a:pt x="2800" y="1006"/>
                  </a:lnTo>
                  <a:lnTo>
                    <a:pt x="2804" y="1006"/>
                  </a:lnTo>
                  <a:lnTo>
                    <a:pt x="2808" y="1004"/>
                  </a:lnTo>
                  <a:lnTo>
                    <a:pt x="2815" y="1000"/>
                  </a:lnTo>
                  <a:lnTo>
                    <a:pt x="2822" y="994"/>
                  </a:lnTo>
                  <a:lnTo>
                    <a:pt x="2829" y="990"/>
                  </a:lnTo>
                  <a:lnTo>
                    <a:pt x="2838" y="986"/>
                  </a:lnTo>
                  <a:lnTo>
                    <a:pt x="2842" y="985"/>
                  </a:lnTo>
                  <a:lnTo>
                    <a:pt x="2847" y="984"/>
                  </a:lnTo>
                  <a:lnTo>
                    <a:pt x="2851" y="985"/>
                  </a:lnTo>
                  <a:lnTo>
                    <a:pt x="2857" y="987"/>
                  </a:lnTo>
                  <a:lnTo>
                    <a:pt x="2872" y="993"/>
                  </a:lnTo>
                  <a:lnTo>
                    <a:pt x="2889" y="998"/>
                  </a:lnTo>
                  <a:lnTo>
                    <a:pt x="2897" y="999"/>
                  </a:lnTo>
                  <a:lnTo>
                    <a:pt x="2904" y="1001"/>
                  </a:lnTo>
                  <a:lnTo>
                    <a:pt x="2912" y="1001"/>
                  </a:lnTo>
                  <a:lnTo>
                    <a:pt x="2919" y="1001"/>
                  </a:lnTo>
                  <a:lnTo>
                    <a:pt x="2926" y="1000"/>
                  </a:lnTo>
                  <a:lnTo>
                    <a:pt x="2934" y="999"/>
                  </a:lnTo>
                  <a:lnTo>
                    <a:pt x="2940" y="997"/>
                  </a:lnTo>
                  <a:lnTo>
                    <a:pt x="2947" y="993"/>
                  </a:lnTo>
                  <a:lnTo>
                    <a:pt x="2954" y="988"/>
                  </a:lnTo>
                  <a:lnTo>
                    <a:pt x="2960" y="983"/>
                  </a:lnTo>
                  <a:lnTo>
                    <a:pt x="2966" y="976"/>
                  </a:lnTo>
                  <a:lnTo>
                    <a:pt x="2970" y="967"/>
                  </a:lnTo>
                  <a:lnTo>
                    <a:pt x="2977" y="958"/>
                  </a:lnTo>
                  <a:lnTo>
                    <a:pt x="2983" y="948"/>
                  </a:lnTo>
                  <a:lnTo>
                    <a:pt x="2990" y="940"/>
                  </a:lnTo>
                  <a:lnTo>
                    <a:pt x="2997" y="931"/>
                  </a:lnTo>
                  <a:lnTo>
                    <a:pt x="3011" y="919"/>
                  </a:lnTo>
                  <a:lnTo>
                    <a:pt x="3026" y="907"/>
                  </a:lnTo>
                  <a:lnTo>
                    <a:pt x="3044" y="896"/>
                  </a:lnTo>
                  <a:lnTo>
                    <a:pt x="3062" y="887"/>
                  </a:lnTo>
                  <a:lnTo>
                    <a:pt x="3082" y="877"/>
                  </a:lnTo>
                  <a:lnTo>
                    <a:pt x="3105" y="866"/>
                  </a:lnTo>
                  <a:lnTo>
                    <a:pt x="3116" y="862"/>
                  </a:lnTo>
                  <a:lnTo>
                    <a:pt x="3126" y="856"/>
                  </a:lnTo>
                  <a:lnTo>
                    <a:pt x="3138" y="849"/>
                  </a:lnTo>
                  <a:lnTo>
                    <a:pt x="3148" y="842"/>
                  </a:lnTo>
                  <a:lnTo>
                    <a:pt x="3159" y="835"/>
                  </a:lnTo>
                  <a:lnTo>
                    <a:pt x="3170" y="829"/>
                  </a:lnTo>
                  <a:lnTo>
                    <a:pt x="3181" y="825"/>
                  </a:lnTo>
                  <a:lnTo>
                    <a:pt x="3191" y="823"/>
                  </a:lnTo>
                  <a:lnTo>
                    <a:pt x="3191" y="830"/>
                  </a:lnTo>
                  <a:lnTo>
                    <a:pt x="3191" y="837"/>
                  </a:lnTo>
                  <a:lnTo>
                    <a:pt x="3190" y="843"/>
                  </a:lnTo>
                  <a:lnTo>
                    <a:pt x="3188" y="849"/>
                  </a:lnTo>
                  <a:lnTo>
                    <a:pt x="3187" y="856"/>
                  </a:lnTo>
                  <a:lnTo>
                    <a:pt x="3186" y="862"/>
                  </a:lnTo>
                  <a:lnTo>
                    <a:pt x="3187" y="869"/>
                  </a:lnTo>
                  <a:lnTo>
                    <a:pt x="3189" y="877"/>
                  </a:lnTo>
                  <a:lnTo>
                    <a:pt x="3193" y="883"/>
                  </a:lnTo>
                  <a:lnTo>
                    <a:pt x="3196" y="887"/>
                  </a:lnTo>
                  <a:lnTo>
                    <a:pt x="3201" y="892"/>
                  </a:lnTo>
                  <a:lnTo>
                    <a:pt x="3205" y="895"/>
                  </a:lnTo>
                  <a:lnTo>
                    <a:pt x="3215" y="901"/>
                  </a:lnTo>
                  <a:lnTo>
                    <a:pt x="3224" y="907"/>
                  </a:lnTo>
                  <a:lnTo>
                    <a:pt x="3227" y="910"/>
                  </a:lnTo>
                  <a:lnTo>
                    <a:pt x="3230" y="914"/>
                  </a:lnTo>
                  <a:lnTo>
                    <a:pt x="3232" y="917"/>
                  </a:lnTo>
                  <a:lnTo>
                    <a:pt x="3233" y="923"/>
                  </a:lnTo>
                  <a:lnTo>
                    <a:pt x="3233" y="929"/>
                  </a:lnTo>
                  <a:lnTo>
                    <a:pt x="3231" y="936"/>
                  </a:lnTo>
                  <a:lnTo>
                    <a:pt x="3229" y="945"/>
                  </a:lnTo>
                  <a:lnTo>
                    <a:pt x="3224" y="955"/>
                  </a:lnTo>
                  <a:lnTo>
                    <a:pt x="3212" y="972"/>
                  </a:lnTo>
                  <a:lnTo>
                    <a:pt x="3201" y="987"/>
                  </a:lnTo>
                  <a:lnTo>
                    <a:pt x="3195" y="994"/>
                  </a:lnTo>
                  <a:lnTo>
                    <a:pt x="3189" y="1002"/>
                  </a:lnTo>
                  <a:lnTo>
                    <a:pt x="3186" y="1013"/>
                  </a:lnTo>
                  <a:lnTo>
                    <a:pt x="3182" y="1023"/>
                  </a:lnTo>
                  <a:lnTo>
                    <a:pt x="3181" y="1029"/>
                  </a:lnTo>
                  <a:lnTo>
                    <a:pt x="3181" y="1034"/>
                  </a:lnTo>
                  <a:lnTo>
                    <a:pt x="3182" y="1038"/>
                  </a:lnTo>
                  <a:lnTo>
                    <a:pt x="3183" y="1042"/>
                  </a:lnTo>
                  <a:lnTo>
                    <a:pt x="3184" y="1045"/>
                  </a:lnTo>
                  <a:lnTo>
                    <a:pt x="3187" y="1048"/>
                  </a:lnTo>
                  <a:lnTo>
                    <a:pt x="3189" y="1050"/>
                  </a:lnTo>
                  <a:lnTo>
                    <a:pt x="3193" y="1052"/>
                  </a:lnTo>
                  <a:lnTo>
                    <a:pt x="3200" y="1055"/>
                  </a:lnTo>
                  <a:lnTo>
                    <a:pt x="3208" y="1055"/>
                  </a:lnTo>
                  <a:lnTo>
                    <a:pt x="3217" y="1055"/>
                  </a:lnTo>
                  <a:lnTo>
                    <a:pt x="3225" y="1055"/>
                  </a:lnTo>
                  <a:lnTo>
                    <a:pt x="3231" y="1055"/>
                  </a:lnTo>
                  <a:lnTo>
                    <a:pt x="3237" y="1056"/>
                  </a:lnTo>
                  <a:lnTo>
                    <a:pt x="3243" y="1057"/>
                  </a:lnTo>
                  <a:lnTo>
                    <a:pt x="3250" y="1059"/>
                  </a:lnTo>
                  <a:lnTo>
                    <a:pt x="3261" y="1065"/>
                  </a:lnTo>
                  <a:lnTo>
                    <a:pt x="3272" y="1070"/>
                  </a:lnTo>
                  <a:lnTo>
                    <a:pt x="3276" y="1071"/>
                  </a:lnTo>
                  <a:lnTo>
                    <a:pt x="3281" y="1071"/>
                  </a:lnTo>
                  <a:lnTo>
                    <a:pt x="3286" y="1071"/>
                  </a:lnTo>
                  <a:lnTo>
                    <a:pt x="3288" y="1069"/>
                  </a:lnTo>
                  <a:lnTo>
                    <a:pt x="3291" y="1065"/>
                  </a:lnTo>
                  <a:lnTo>
                    <a:pt x="3293" y="1059"/>
                  </a:lnTo>
                  <a:lnTo>
                    <a:pt x="3294" y="1051"/>
                  </a:lnTo>
                  <a:lnTo>
                    <a:pt x="3294" y="1041"/>
                  </a:lnTo>
                  <a:lnTo>
                    <a:pt x="3295" y="1037"/>
                  </a:lnTo>
                  <a:lnTo>
                    <a:pt x="3296" y="1033"/>
                  </a:lnTo>
                  <a:lnTo>
                    <a:pt x="3300" y="1028"/>
                  </a:lnTo>
                  <a:lnTo>
                    <a:pt x="3303" y="1023"/>
                  </a:lnTo>
                  <a:lnTo>
                    <a:pt x="3312" y="1012"/>
                  </a:lnTo>
                  <a:lnTo>
                    <a:pt x="3324" y="1001"/>
                  </a:lnTo>
                  <a:lnTo>
                    <a:pt x="3337" y="992"/>
                  </a:lnTo>
                  <a:lnTo>
                    <a:pt x="3349" y="985"/>
                  </a:lnTo>
                  <a:lnTo>
                    <a:pt x="3354" y="981"/>
                  </a:lnTo>
                  <a:lnTo>
                    <a:pt x="3359" y="980"/>
                  </a:lnTo>
                  <a:lnTo>
                    <a:pt x="3362" y="979"/>
                  </a:lnTo>
                  <a:lnTo>
                    <a:pt x="3366" y="980"/>
                  </a:lnTo>
                  <a:lnTo>
                    <a:pt x="3366" y="985"/>
                  </a:lnTo>
                  <a:lnTo>
                    <a:pt x="3368" y="990"/>
                  </a:lnTo>
                  <a:lnTo>
                    <a:pt x="3371" y="994"/>
                  </a:lnTo>
                  <a:lnTo>
                    <a:pt x="3373" y="999"/>
                  </a:lnTo>
                  <a:lnTo>
                    <a:pt x="3376" y="1002"/>
                  </a:lnTo>
                  <a:lnTo>
                    <a:pt x="3380" y="1005"/>
                  </a:lnTo>
                  <a:lnTo>
                    <a:pt x="3385" y="1006"/>
                  </a:lnTo>
                  <a:lnTo>
                    <a:pt x="3390" y="1007"/>
                  </a:lnTo>
                  <a:lnTo>
                    <a:pt x="3401" y="1007"/>
                  </a:lnTo>
                  <a:lnTo>
                    <a:pt x="3410" y="1007"/>
                  </a:lnTo>
                  <a:lnTo>
                    <a:pt x="3421" y="1008"/>
                  </a:lnTo>
                  <a:lnTo>
                    <a:pt x="3430" y="1011"/>
                  </a:lnTo>
                  <a:lnTo>
                    <a:pt x="3439" y="1014"/>
                  </a:lnTo>
                  <a:lnTo>
                    <a:pt x="3447" y="1019"/>
                  </a:lnTo>
                  <a:lnTo>
                    <a:pt x="3456" y="1026"/>
                  </a:lnTo>
                  <a:lnTo>
                    <a:pt x="3461" y="1035"/>
                  </a:lnTo>
                  <a:lnTo>
                    <a:pt x="3467" y="1047"/>
                  </a:lnTo>
                  <a:lnTo>
                    <a:pt x="3470" y="1058"/>
                  </a:lnTo>
                  <a:lnTo>
                    <a:pt x="3472" y="1069"/>
                  </a:lnTo>
                  <a:lnTo>
                    <a:pt x="3475" y="1078"/>
                  </a:lnTo>
                  <a:lnTo>
                    <a:pt x="3477" y="1082"/>
                  </a:lnTo>
                  <a:lnTo>
                    <a:pt x="3479" y="1086"/>
                  </a:lnTo>
                  <a:lnTo>
                    <a:pt x="3481" y="1088"/>
                  </a:lnTo>
                  <a:lnTo>
                    <a:pt x="3485" y="1092"/>
                  </a:lnTo>
                  <a:lnTo>
                    <a:pt x="3489" y="1094"/>
                  </a:lnTo>
                  <a:lnTo>
                    <a:pt x="3495" y="1095"/>
                  </a:lnTo>
                  <a:lnTo>
                    <a:pt x="3502" y="1097"/>
                  </a:lnTo>
                  <a:lnTo>
                    <a:pt x="3509" y="1097"/>
                  </a:lnTo>
                  <a:lnTo>
                    <a:pt x="3527" y="1099"/>
                  </a:lnTo>
                  <a:lnTo>
                    <a:pt x="3549" y="1100"/>
                  </a:lnTo>
                  <a:lnTo>
                    <a:pt x="3572" y="1100"/>
                  </a:lnTo>
                  <a:lnTo>
                    <a:pt x="3598" y="1098"/>
                  </a:lnTo>
                  <a:lnTo>
                    <a:pt x="3609" y="1095"/>
                  </a:lnTo>
                  <a:lnTo>
                    <a:pt x="3621" y="1093"/>
                  </a:lnTo>
                  <a:lnTo>
                    <a:pt x="3631" y="1090"/>
                  </a:lnTo>
                  <a:lnTo>
                    <a:pt x="3641" y="1085"/>
                  </a:lnTo>
                  <a:lnTo>
                    <a:pt x="3650" y="1079"/>
                  </a:lnTo>
                  <a:lnTo>
                    <a:pt x="3656" y="1073"/>
                  </a:lnTo>
                  <a:lnTo>
                    <a:pt x="3662" y="1065"/>
                  </a:lnTo>
                  <a:lnTo>
                    <a:pt x="3664" y="1056"/>
                  </a:lnTo>
                  <a:lnTo>
                    <a:pt x="3667" y="1027"/>
                  </a:lnTo>
                  <a:lnTo>
                    <a:pt x="3670" y="998"/>
                  </a:lnTo>
                  <a:lnTo>
                    <a:pt x="3672" y="991"/>
                  </a:lnTo>
                  <a:lnTo>
                    <a:pt x="3674" y="985"/>
                  </a:lnTo>
                  <a:lnTo>
                    <a:pt x="3677" y="979"/>
                  </a:lnTo>
                  <a:lnTo>
                    <a:pt x="3681" y="974"/>
                  </a:lnTo>
                  <a:lnTo>
                    <a:pt x="3686" y="971"/>
                  </a:lnTo>
                  <a:lnTo>
                    <a:pt x="3693" y="969"/>
                  </a:lnTo>
                  <a:lnTo>
                    <a:pt x="3700" y="966"/>
                  </a:lnTo>
                  <a:lnTo>
                    <a:pt x="3709" y="966"/>
                  </a:lnTo>
                  <a:lnTo>
                    <a:pt x="3716" y="966"/>
                  </a:lnTo>
                  <a:lnTo>
                    <a:pt x="3723" y="967"/>
                  </a:lnTo>
                  <a:lnTo>
                    <a:pt x="3729" y="970"/>
                  </a:lnTo>
                  <a:lnTo>
                    <a:pt x="3736" y="972"/>
                  </a:lnTo>
                  <a:lnTo>
                    <a:pt x="3748" y="978"/>
                  </a:lnTo>
                  <a:lnTo>
                    <a:pt x="3758" y="985"/>
                  </a:lnTo>
                  <a:lnTo>
                    <a:pt x="3773" y="997"/>
                  </a:lnTo>
                  <a:lnTo>
                    <a:pt x="3782" y="1001"/>
                  </a:lnTo>
                  <a:lnTo>
                    <a:pt x="3785" y="1000"/>
                  </a:lnTo>
                  <a:lnTo>
                    <a:pt x="3787" y="998"/>
                  </a:lnTo>
                  <a:lnTo>
                    <a:pt x="3787" y="994"/>
                  </a:lnTo>
                  <a:lnTo>
                    <a:pt x="3787" y="991"/>
                  </a:lnTo>
                  <a:lnTo>
                    <a:pt x="3786" y="983"/>
                  </a:lnTo>
                  <a:lnTo>
                    <a:pt x="3784" y="974"/>
                  </a:lnTo>
                  <a:lnTo>
                    <a:pt x="3783" y="970"/>
                  </a:lnTo>
                  <a:lnTo>
                    <a:pt x="3783" y="965"/>
                  </a:lnTo>
                  <a:lnTo>
                    <a:pt x="3783" y="962"/>
                  </a:lnTo>
                  <a:lnTo>
                    <a:pt x="3783" y="957"/>
                  </a:lnTo>
                  <a:lnTo>
                    <a:pt x="3785" y="954"/>
                  </a:lnTo>
                  <a:lnTo>
                    <a:pt x="3787" y="951"/>
                  </a:lnTo>
                  <a:lnTo>
                    <a:pt x="3792" y="949"/>
                  </a:lnTo>
                  <a:lnTo>
                    <a:pt x="3799" y="947"/>
                  </a:lnTo>
                  <a:lnTo>
                    <a:pt x="3816" y="944"/>
                  </a:lnTo>
                  <a:lnTo>
                    <a:pt x="3830" y="944"/>
                  </a:lnTo>
                  <a:lnTo>
                    <a:pt x="3841" y="945"/>
                  </a:lnTo>
                  <a:lnTo>
                    <a:pt x="3848" y="948"/>
                  </a:lnTo>
                  <a:lnTo>
                    <a:pt x="3853" y="952"/>
                  </a:lnTo>
                  <a:lnTo>
                    <a:pt x="3855" y="957"/>
                  </a:lnTo>
                  <a:lnTo>
                    <a:pt x="3856" y="964"/>
                  </a:lnTo>
                  <a:lnTo>
                    <a:pt x="3857" y="970"/>
                  </a:lnTo>
                  <a:lnTo>
                    <a:pt x="3856" y="985"/>
                  </a:lnTo>
                  <a:lnTo>
                    <a:pt x="3857" y="999"/>
                  </a:lnTo>
                  <a:lnTo>
                    <a:pt x="3860" y="1006"/>
                  </a:lnTo>
                  <a:lnTo>
                    <a:pt x="3863" y="1012"/>
                  </a:lnTo>
                  <a:lnTo>
                    <a:pt x="3867" y="1014"/>
                  </a:lnTo>
                  <a:lnTo>
                    <a:pt x="3870" y="1016"/>
                  </a:lnTo>
                  <a:lnTo>
                    <a:pt x="3874" y="1018"/>
                  </a:lnTo>
                  <a:lnTo>
                    <a:pt x="3879" y="1020"/>
                  </a:lnTo>
                  <a:lnTo>
                    <a:pt x="3900" y="1026"/>
                  </a:lnTo>
                  <a:lnTo>
                    <a:pt x="3918" y="1031"/>
                  </a:lnTo>
                  <a:lnTo>
                    <a:pt x="3933" y="1038"/>
                  </a:lnTo>
                  <a:lnTo>
                    <a:pt x="3946" y="1047"/>
                  </a:lnTo>
                  <a:lnTo>
                    <a:pt x="3958" y="1057"/>
                  </a:lnTo>
                  <a:lnTo>
                    <a:pt x="3969" y="1069"/>
                  </a:lnTo>
                  <a:lnTo>
                    <a:pt x="3981" y="1084"/>
                  </a:lnTo>
                  <a:lnTo>
                    <a:pt x="3992" y="1101"/>
                  </a:lnTo>
                  <a:lnTo>
                    <a:pt x="3999" y="1112"/>
                  </a:lnTo>
                  <a:lnTo>
                    <a:pt x="4007" y="1121"/>
                  </a:lnTo>
                  <a:lnTo>
                    <a:pt x="4017" y="1128"/>
                  </a:lnTo>
                  <a:lnTo>
                    <a:pt x="4026" y="1135"/>
                  </a:lnTo>
                  <a:lnTo>
                    <a:pt x="4036" y="1141"/>
                  </a:lnTo>
                  <a:lnTo>
                    <a:pt x="4047" y="1147"/>
                  </a:lnTo>
                  <a:lnTo>
                    <a:pt x="4057" y="1151"/>
                  </a:lnTo>
                  <a:lnTo>
                    <a:pt x="4069" y="1155"/>
                  </a:lnTo>
                  <a:lnTo>
                    <a:pt x="4092" y="1163"/>
                  </a:lnTo>
                  <a:lnTo>
                    <a:pt x="4116" y="1172"/>
                  </a:lnTo>
                  <a:lnTo>
                    <a:pt x="4128" y="1177"/>
                  </a:lnTo>
                  <a:lnTo>
                    <a:pt x="4140" y="1183"/>
                  </a:lnTo>
                  <a:lnTo>
                    <a:pt x="4152" y="1189"/>
                  </a:lnTo>
                  <a:lnTo>
                    <a:pt x="4163" y="1197"/>
                  </a:lnTo>
                  <a:lnTo>
                    <a:pt x="4170" y="1204"/>
                  </a:lnTo>
                  <a:lnTo>
                    <a:pt x="4177" y="1213"/>
                  </a:lnTo>
                  <a:lnTo>
                    <a:pt x="4184" y="1223"/>
                  </a:lnTo>
                  <a:lnTo>
                    <a:pt x="4190" y="1234"/>
                  </a:lnTo>
                  <a:lnTo>
                    <a:pt x="4197" y="1244"/>
                  </a:lnTo>
                  <a:lnTo>
                    <a:pt x="4204" y="1254"/>
                  </a:lnTo>
                  <a:lnTo>
                    <a:pt x="4208" y="1257"/>
                  </a:lnTo>
                  <a:lnTo>
                    <a:pt x="4211" y="1261"/>
                  </a:lnTo>
                  <a:lnTo>
                    <a:pt x="4215" y="1263"/>
                  </a:lnTo>
                  <a:lnTo>
                    <a:pt x="4219" y="1264"/>
                  </a:lnTo>
                  <a:lnTo>
                    <a:pt x="4225" y="1265"/>
                  </a:lnTo>
                  <a:lnTo>
                    <a:pt x="4231" y="1265"/>
                  </a:lnTo>
                  <a:lnTo>
                    <a:pt x="4236" y="1264"/>
                  </a:lnTo>
                  <a:lnTo>
                    <a:pt x="4239" y="1263"/>
                  </a:lnTo>
                  <a:lnTo>
                    <a:pt x="4243" y="1260"/>
                  </a:lnTo>
                  <a:lnTo>
                    <a:pt x="4245" y="1257"/>
                  </a:lnTo>
                  <a:lnTo>
                    <a:pt x="4247" y="1254"/>
                  </a:lnTo>
                  <a:lnTo>
                    <a:pt x="4248" y="1250"/>
                  </a:lnTo>
                  <a:lnTo>
                    <a:pt x="4252" y="1242"/>
                  </a:lnTo>
                  <a:lnTo>
                    <a:pt x="4254" y="1235"/>
                  </a:lnTo>
                  <a:lnTo>
                    <a:pt x="4256" y="1233"/>
                  </a:lnTo>
                  <a:lnTo>
                    <a:pt x="4259" y="1230"/>
                  </a:lnTo>
                  <a:lnTo>
                    <a:pt x="4260" y="1229"/>
                  </a:lnTo>
                  <a:lnTo>
                    <a:pt x="4263" y="1228"/>
                  </a:lnTo>
                  <a:lnTo>
                    <a:pt x="4266" y="1234"/>
                  </a:lnTo>
                  <a:lnTo>
                    <a:pt x="4269" y="1239"/>
                  </a:lnTo>
                  <a:lnTo>
                    <a:pt x="4273" y="1241"/>
                  </a:lnTo>
                  <a:lnTo>
                    <a:pt x="4277" y="1244"/>
                  </a:lnTo>
                  <a:lnTo>
                    <a:pt x="4282" y="1246"/>
                  </a:lnTo>
                  <a:lnTo>
                    <a:pt x="4288" y="1248"/>
                  </a:lnTo>
                  <a:lnTo>
                    <a:pt x="4295" y="1248"/>
                  </a:lnTo>
                  <a:lnTo>
                    <a:pt x="4301" y="1248"/>
                  </a:lnTo>
                  <a:lnTo>
                    <a:pt x="4332" y="1246"/>
                  </a:lnTo>
                  <a:lnTo>
                    <a:pt x="4366" y="1240"/>
                  </a:lnTo>
                  <a:lnTo>
                    <a:pt x="4382" y="1237"/>
                  </a:lnTo>
                  <a:lnTo>
                    <a:pt x="4400" y="1236"/>
                  </a:lnTo>
                  <a:lnTo>
                    <a:pt x="4415" y="1236"/>
                  </a:lnTo>
                  <a:lnTo>
                    <a:pt x="4429" y="1239"/>
                  </a:lnTo>
                  <a:lnTo>
                    <a:pt x="4436" y="1240"/>
                  </a:lnTo>
                  <a:lnTo>
                    <a:pt x="4442" y="1243"/>
                  </a:lnTo>
                  <a:lnTo>
                    <a:pt x="4447" y="1247"/>
                  </a:lnTo>
                  <a:lnTo>
                    <a:pt x="4452" y="1251"/>
                  </a:lnTo>
                  <a:lnTo>
                    <a:pt x="4457" y="1257"/>
                  </a:lnTo>
                  <a:lnTo>
                    <a:pt x="4460" y="1263"/>
                  </a:lnTo>
                  <a:lnTo>
                    <a:pt x="4463" y="1271"/>
                  </a:lnTo>
                  <a:lnTo>
                    <a:pt x="4465" y="1281"/>
                  </a:lnTo>
                  <a:lnTo>
                    <a:pt x="4463" y="1287"/>
                  </a:lnTo>
                  <a:lnTo>
                    <a:pt x="4456" y="1300"/>
                  </a:lnTo>
                  <a:lnTo>
                    <a:pt x="4452" y="1308"/>
                  </a:lnTo>
                  <a:lnTo>
                    <a:pt x="4449" y="1315"/>
                  </a:lnTo>
                  <a:lnTo>
                    <a:pt x="4446" y="1324"/>
                  </a:lnTo>
                  <a:lnTo>
                    <a:pt x="4446" y="1331"/>
                  </a:lnTo>
                  <a:lnTo>
                    <a:pt x="4446" y="1336"/>
                  </a:lnTo>
                  <a:lnTo>
                    <a:pt x="4447" y="1342"/>
                  </a:lnTo>
                  <a:lnTo>
                    <a:pt x="4450" y="1348"/>
                  </a:lnTo>
                  <a:lnTo>
                    <a:pt x="4452" y="1354"/>
                  </a:lnTo>
                  <a:lnTo>
                    <a:pt x="4458" y="1363"/>
                  </a:lnTo>
                  <a:lnTo>
                    <a:pt x="4464" y="1374"/>
                  </a:lnTo>
                  <a:lnTo>
                    <a:pt x="4469" y="1383"/>
                  </a:lnTo>
                  <a:lnTo>
                    <a:pt x="4474" y="1393"/>
                  </a:lnTo>
                  <a:lnTo>
                    <a:pt x="4476" y="1399"/>
                  </a:lnTo>
                  <a:lnTo>
                    <a:pt x="4478" y="1405"/>
                  </a:lnTo>
                  <a:lnTo>
                    <a:pt x="4479" y="1412"/>
                  </a:lnTo>
                  <a:lnTo>
                    <a:pt x="4479" y="1418"/>
                  </a:lnTo>
                  <a:lnTo>
                    <a:pt x="4478" y="1431"/>
                  </a:lnTo>
                  <a:lnTo>
                    <a:pt x="4475" y="1441"/>
                  </a:lnTo>
                  <a:lnTo>
                    <a:pt x="4472" y="1453"/>
                  </a:lnTo>
                  <a:lnTo>
                    <a:pt x="4467" y="1464"/>
                  </a:lnTo>
                  <a:lnTo>
                    <a:pt x="4464" y="1476"/>
                  </a:lnTo>
                  <a:lnTo>
                    <a:pt x="4460" y="1489"/>
                  </a:lnTo>
                  <a:lnTo>
                    <a:pt x="4458" y="1502"/>
                  </a:lnTo>
                  <a:lnTo>
                    <a:pt x="4457" y="1516"/>
                  </a:lnTo>
                  <a:lnTo>
                    <a:pt x="4440" y="1611"/>
                  </a:lnTo>
                  <a:lnTo>
                    <a:pt x="4378" y="1637"/>
                  </a:lnTo>
                  <a:lnTo>
                    <a:pt x="4362" y="1642"/>
                  </a:lnTo>
                  <a:lnTo>
                    <a:pt x="4348" y="1649"/>
                  </a:lnTo>
                  <a:lnTo>
                    <a:pt x="4334" y="1656"/>
                  </a:lnTo>
                  <a:lnTo>
                    <a:pt x="4320" y="1666"/>
                  </a:lnTo>
                  <a:lnTo>
                    <a:pt x="4293" y="1683"/>
                  </a:lnTo>
                  <a:lnTo>
                    <a:pt x="4266" y="1702"/>
                  </a:lnTo>
                  <a:lnTo>
                    <a:pt x="4258" y="1708"/>
                  </a:lnTo>
                  <a:lnTo>
                    <a:pt x="4248" y="1713"/>
                  </a:lnTo>
                  <a:lnTo>
                    <a:pt x="4239" y="1717"/>
                  </a:lnTo>
                  <a:lnTo>
                    <a:pt x="4231" y="1720"/>
                  </a:lnTo>
                  <a:lnTo>
                    <a:pt x="4222" y="1723"/>
                  </a:lnTo>
                  <a:lnTo>
                    <a:pt x="4213" y="1724"/>
                  </a:lnTo>
                  <a:lnTo>
                    <a:pt x="4205" y="1725"/>
                  </a:lnTo>
                  <a:lnTo>
                    <a:pt x="4196" y="1725"/>
                  </a:lnTo>
                  <a:lnTo>
                    <a:pt x="4178" y="1724"/>
                  </a:lnTo>
                  <a:lnTo>
                    <a:pt x="4160" y="1722"/>
                  </a:lnTo>
                  <a:lnTo>
                    <a:pt x="4141" y="1718"/>
                  </a:lnTo>
                  <a:lnTo>
                    <a:pt x="4120" y="1713"/>
                  </a:lnTo>
                  <a:lnTo>
                    <a:pt x="4103" y="1711"/>
                  </a:lnTo>
                  <a:lnTo>
                    <a:pt x="4087" y="1710"/>
                  </a:lnTo>
                  <a:lnTo>
                    <a:pt x="4070" y="1710"/>
                  </a:lnTo>
                  <a:lnTo>
                    <a:pt x="4055" y="1712"/>
                  </a:lnTo>
                  <a:lnTo>
                    <a:pt x="4025" y="1719"/>
                  </a:lnTo>
                  <a:lnTo>
                    <a:pt x="3992" y="1729"/>
                  </a:lnTo>
                  <a:lnTo>
                    <a:pt x="3970" y="1736"/>
                  </a:lnTo>
                  <a:lnTo>
                    <a:pt x="3953" y="1740"/>
                  </a:lnTo>
                  <a:lnTo>
                    <a:pt x="3938" y="1746"/>
                  </a:lnTo>
                  <a:lnTo>
                    <a:pt x="3925" y="1753"/>
                  </a:lnTo>
                  <a:lnTo>
                    <a:pt x="3919" y="1758"/>
                  </a:lnTo>
                  <a:lnTo>
                    <a:pt x="3913" y="1762"/>
                  </a:lnTo>
                  <a:lnTo>
                    <a:pt x="3908" y="1768"/>
                  </a:lnTo>
                  <a:lnTo>
                    <a:pt x="3904" y="1775"/>
                  </a:lnTo>
                  <a:lnTo>
                    <a:pt x="3893" y="1793"/>
                  </a:lnTo>
                  <a:lnTo>
                    <a:pt x="3884" y="1815"/>
                  </a:lnTo>
                  <a:lnTo>
                    <a:pt x="3884" y="1820"/>
                  </a:lnTo>
                  <a:lnTo>
                    <a:pt x="3885" y="1826"/>
                  </a:lnTo>
                  <a:lnTo>
                    <a:pt x="3887" y="1831"/>
                  </a:lnTo>
                  <a:lnTo>
                    <a:pt x="3889" y="1836"/>
                  </a:lnTo>
                  <a:lnTo>
                    <a:pt x="3896" y="1844"/>
                  </a:lnTo>
                  <a:lnTo>
                    <a:pt x="3904" y="1850"/>
                  </a:lnTo>
                  <a:lnTo>
                    <a:pt x="3913" y="1855"/>
                  </a:lnTo>
                  <a:lnTo>
                    <a:pt x="3924" y="1860"/>
                  </a:lnTo>
                  <a:lnTo>
                    <a:pt x="3936" y="1865"/>
                  </a:lnTo>
                  <a:lnTo>
                    <a:pt x="3949" y="1867"/>
                  </a:lnTo>
                  <a:lnTo>
                    <a:pt x="3977" y="1873"/>
                  </a:lnTo>
                  <a:lnTo>
                    <a:pt x="4004" y="1878"/>
                  </a:lnTo>
                  <a:lnTo>
                    <a:pt x="4017" y="1881"/>
                  </a:lnTo>
                  <a:lnTo>
                    <a:pt x="4028" y="1883"/>
                  </a:lnTo>
                  <a:lnTo>
                    <a:pt x="4040" y="1887"/>
                  </a:lnTo>
                  <a:lnTo>
                    <a:pt x="4049" y="1891"/>
                  </a:lnTo>
                  <a:lnTo>
                    <a:pt x="4061" y="1900"/>
                  </a:lnTo>
                  <a:lnTo>
                    <a:pt x="4071" y="1908"/>
                  </a:lnTo>
                  <a:lnTo>
                    <a:pt x="4081" y="1917"/>
                  </a:lnTo>
                  <a:lnTo>
                    <a:pt x="4089" y="1926"/>
                  </a:lnTo>
                  <a:lnTo>
                    <a:pt x="4096" y="1937"/>
                  </a:lnTo>
                  <a:lnTo>
                    <a:pt x="4102" y="1947"/>
                  </a:lnTo>
                  <a:lnTo>
                    <a:pt x="4107" y="1959"/>
                  </a:lnTo>
                  <a:lnTo>
                    <a:pt x="4112" y="1971"/>
                  </a:lnTo>
                  <a:lnTo>
                    <a:pt x="4119" y="1995"/>
                  </a:lnTo>
                  <a:lnTo>
                    <a:pt x="4124" y="2022"/>
                  </a:lnTo>
                  <a:lnTo>
                    <a:pt x="4127" y="2047"/>
                  </a:lnTo>
                  <a:lnTo>
                    <a:pt x="4131" y="2074"/>
                  </a:lnTo>
                  <a:lnTo>
                    <a:pt x="4133" y="2092"/>
                  </a:lnTo>
                  <a:lnTo>
                    <a:pt x="4132" y="2103"/>
                  </a:lnTo>
                  <a:lnTo>
                    <a:pt x="4131" y="2108"/>
                  </a:lnTo>
                  <a:lnTo>
                    <a:pt x="4130" y="2113"/>
                  </a:lnTo>
                  <a:lnTo>
                    <a:pt x="4126" y="2116"/>
                  </a:lnTo>
                  <a:lnTo>
                    <a:pt x="4124" y="2118"/>
                  </a:lnTo>
                  <a:lnTo>
                    <a:pt x="4106" y="2128"/>
                  </a:lnTo>
                  <a:lnTo>
                    <a:pt x="4081" y="2141"/>
                  </a:lnTo>
                  <a:lnTo>
                    <a:pt x="4071" y="2146"/>
                  </a:lnTo>
                  <a:lnTo>
                    <a:pt x="4064" y="2153"/>
                  </a:lnTo>
                  <a:lnTo>
                    <a:pt x="4059" y="2161"/>
                  </a:lnTo>
                  <a:lnTo>
                    <a:pt x="4053" y="2170"/>
                  </a:lnTo>
                  <a:lnTo>
                    <a:pt x="4046" y="2186"/>
                  </a:lnTo>
                  <a:lnTo>
                    <a:pt x="4039" y="2202"/>
                  </a:lnTo>
                  <a:lnTo>
                    <a:pt x="4036" y="2212"/>
                  </a:lnTo>
                  <a:lnTo>
                    <a:pt x="4033" y="2220"/>
                  </a:lnTo>
                  <a:lnTo>
                    <a:pt x="4028" y="2227"/>
                  </a:lnTo>
                  <a:lnTo>
                    <a:pt x="4022" y="2235"/>
                  </a:lnTo>
                  <a:lnTo>
                    <a:pt x="4017" y="2242"/>
                  </a:lnTo>
                  <a:lnTo>
                    <a:pt x="4009" y="2248"/>
                  </a:lnTo>
                  <a:lnTo>
                    <a:pt x="3999" y="2253"/>
                  </a:lnTo>
                  <a:lnTo>
                    <a:pt x="3988" y="2258"/>
                  </a:lnTo>
                  <a:lnTo>
                    <a:pt x="3981" y="2260"/>
                  </a:lnTo>
                  <a:lnTo>
                    <a:pt x="3975" y="2263"/>
                  </a:lnTo>
                  <a:lnTo>
                    <a:pt x="3969" y="2266"/>
                  </a:lnTo>
                  <a:lnTo>
                    <a:pt x="3964" y="2270"/>
                  </a:lnTo>
                  <a:lnTo>
                    <a:pt x="3956" y="2278"/>
                  </a:lnTo>
                  <a:lnTo>
                    <a:pt x="3949" y="2286"/>
                  </a:lnTo>
                  <a:lnTo>
                    <a:pt x="3939" y="2307"/>
                  </a:lnTo>
                  <a:lnTo>
                    <a:pt x="3928" y="2331"/>
                  </a:lnTo>
                  <a:lnTo>
                    <a:pt x="3918" y="2359"/>
                  </a:lnTo>
                  <a:lnTo>
                    <a:pt x="3910" y="2387"/>
                  </a:lnTo>
                  <a:lnTo>
                    <a:pt x="3907" y="2393"/>
                  </a:lnTo>
                  <a:lnTo>
                    <a:pt x="3904" y="2399"/>
                  </a:lnTo>
                  <a:lnTo>
                    <a:pt x="3900" y="2405"/>
                  </a:lnTo>
                  <a:lnTo>
                    <a:pt x="3896" y="2409"/>
                  </a:lnTo>
                  <a:lnTo>
                    <a:pt x="3891" y="2413"/>
                  </a:lnTo>
                  <a:lnTo>
                    <a:pt x="3885" y="2416"/>
                  </a:lnTo>
                  <a:lnTo>
                    <a:pt x="3878" y="2418"/>
                  </a:lnTo>
                  <a:lnTo>
                    <a:pt x="3870" y="2419"/>
                  </a:lnTo>
                  <a:lnTo>
                    <a:pt x="3858" y="2423"/>
                  </a:lnTo>
                  <a:lnTo>
                    <a:pt x="3847" y="2429"/>
                  </a:lnTo>
                  <a:lnTo>
                    <a:pt x="3836" y="2436"/>
                  </a:lnTo>
                  <a:lnTo>
                    <a:pt x="3827" y="2444"/>
                  </a:lnTo>
                  <a:lnTo>
                    <a:pt x="3818" y="2451"/>
                  </a:lnTo>
                  <a:lnTo>
                    <a:pt x="3807" y="2458"/>
                  </a:lnTo>
                  <a:lnTo>
                    <a:pt x="3798" y="2464"/>
                  </a:lnTo>
                  <a:lnTo>
                    <a:pt x="3786" y="2466"/>
                  </a:lnTo>
                  <a:lnTo>
                    <a:pt x="3772" y="2466"/>
                  </a:lnTo>
                  <a:lnTo>
                    <a:pt x="3757" y="2465"/>
                  </a:lnTo>
                  <a:lnTo>
                    <a:pt x="3749" y="2464"/>
                  </a:lnTo>
                  <a:lnTo>
                    <a:pt x="3742" y="2464"/>
                  </a:lnTo>
                  <a:lnTo>
                    <a:pt x="3734" y="2465"/>
                  </a:lnTo>
                  <a:lnTo>
                    <a:pt x="3727" y="2466"/>
                  </a:lnTo>
                  <a:lnTo>
                    <a:pt x="3691" y="2476"/>
                  </a:lnTo>
                  <a:lnTo>
                    <a:pt x="3648" y="2486"/>
                  </a:lnTo>
                  <a:lnTo>
                    <a:pt x="3628" y="2493"/>
                  </a:lnTo>
                  <a:lnTo>
                    <a:pt x="3609" y="2500"/>
                  </a:lnTo>
                  <a:lnTo>
                    <a:pt x="3601" y="2505"/>
                  </a:lnTo>
                  <a:lnTo>
                    <a:pt x="3594" y="2509"/>
                  </a:lnTo>
                  <a:lnTo>
                    <a:pt x="3588" y="2515"/>
                  </a:lnTo>
                  <a:lnTo>
                    <a:pt x="3584" y="2521"/>
                  </a:lnTo>
                  <a:lnTo>
                    <a:pt x="3577" y="2533"/>
                  </a:lnTo>
                  <a:lnTo>
                    <a:pt x="3571" y="2543"/>
                  </a:lnTo>
                  <a:lnTo>
                    <a:pt x="3566" y="2555"/>
                  </a:lnTo>
                  <a:lnTo>
                    <a:pt x="3562" y="2568"/>
                  </a:lnTo>
                  <a:lnTo>
                    <a:pt x="3552" y="2591"/>
                  </a:lnTo>
                  <a:lnTo>
                    <a:pt x="3543" y="2614"/>
                  </a:lnTo>
                  <a:lnTo>
                    <a:pt x="3535" y="2630"/>
                  </a:lnTo>
                  <a:lnTo>
                    <a:pt x="3525" y="2644"/>
                  </a:lnTo>
                  <a:lnTo>
                    <a:pt x="3516" y="2658"/>
                  </a:lnTo>
                  <a:lnTo>
                    <a:pt x="3507" y="2672"/>
                  </a:lnTo>
                  <a:lnTo>
                    <a:pt x="3499" y="2686"/>
                  </a:lnTo>
                  <a:lnTo>
                    <a:pt x="3489" y="2701"/>
                  </a:lnTo>
                  <a:lnTo>
                    <a:pt x="3481" y="2717"/>
                  </a:lnTo>
                  <a:lnTo>
                    <a:pt x="3475" y="2732"/>
                  </a:lnTo>
                  <a:lnTo>
                    <a:pt x="3472" y="2740"/>
                  </a:lnTo>
                  <a:lnTo>
                    <a:pt x="3470" y="2750"/>
                  </a:lnTo>
                  <a:lnTo>
                    <a:pt x="3468" y="2762"/>
                  </a:lnTo>
                  <a:lnTo>
                    <a:pt x="3467" y="2774"/>
                  </a:lnTo>
                  <a:lnTo>
                    <a:pt x="3464" y="2799"/>
                  </a:lnTo>
                  <a:lnTo>
                    <a:pt x="3461" y="2826"/>
                  </a:lnTo>
                  <a:lnTo>
                    <a:pt x="3459" y="2839"/>
                  </a:lnTo>
                  <a:lnTo>
                    <a:pt x="3456" y="2852"/>
                  </a:lnTo>
                  <a:lnTo>
                    <a:pt x="3452" y="2863"/>
                  </a:lnTo>
                  <a:lnTo>
                    <a:pt x="3449" y="2873"/>
                  </a:lnTo>
                  <a:lnTo>
                    <a:pt x="3443" y="2882"/>
                  </a:lnTo>
                  <a:lnTo>
                    <a:pt x="3437" y="2889"/>
                  </a:lnTo>
                  <a:lnTo>
                    <a:pt x="3434" y="2892"/>
                  </a:lnTo>
                  <a:lnTo>
                    <a:pt x="3429" y="2895"/>
                  </a:lnTo>
                  <a:lnTo>
                    <a:pt x="3425" y="2896"/>
                  </a:lnTo>
                  <a:lnTo>
                    <a:pt x="3421" y="2897"/>
                  </a:lnTo>
                  <a:lnTo>
                    <a:pt x="3417" y="2898"/>
                  </a:lnTo>
                  <a:lnTo>
                    <a:pt x="3414" y="2900"/>
                  </a:lnTo>
                  <a:lnTo>
                    <a:pt x="3410" y="2903"/>
                  </a:lnTo>
                  <a:lnTo>
                    <a:pt x="3408" y="2905"/>
                  </a:lnTo>
                  <a:lnTo>
                    <a:pt x="3404" y="2913"/>
                  </a:lnTo>
                  <a:lnTo>
                    <a:pt x="3401" y="2924"/>
                  </a:lnTo>
                  <a:lnTo>
                    <a:pt x="3399" y="2935"/>
                  </a:lnTo>
                  <a:lnTo>
                    <a:pt x="3397" y="2948"/>
                  </a:lnTo>
                  <a:lnTo>
                    <a:pt x="3396" y="2962"/>
                  </a:lnTo>
                  <a:lnTo>
                    <a:pt x="3395" y="2977"/>
                  </a:lnTo>
                  <a:lnTo>
                    <a:pt x="3395" y="3009"/>
                  </a:lnTo>
                  <a:lnTo>
                    <a:pt x="3394" y="3038"/>
                  </a:lnTo>
                  <a:lnTo>
                    <a:pt x="3393" y="3052"/>
                  </a:lnTo>
                  <a:lnTo>
                    <a:pt x="3392" y="3065"/>
                  </a:lnTo>
                  <a:lnTo>
                    <a:pt x="3389" y="3075"/>
                  </a:lnTo>
                  <a:lnTo>
                    <a:pt x="3387" y="3084"/>
                  </a:lnTo>
                  <a:lnTo>
                    <a:pt x="3368" y="3079"/>
                  </a:lnTo>
                  <a:lnTo>
                    <a:pt x="3350" y="3073"/>
                  </a:lnTo>
                  <a:lnTo>
                    <a:pt x="3330" y="3065"/>
                  </a:lnTo>
                  <a:lnTo>
                    <a:pt x="3310" y="3055"/>
                  </a:lnTo>
                  <a:lnTo>
                    <a:pt x="3291" y="3045"/>
                  </a:lnTo>
                  <a:lnTo>
                    <a:pt x="3274" y="3034"/>
                  </a:lnTo>
                  <a:lnTo>
                    <a:pt x="3266" y="3028"/>
                  </a:lnTo>
                  <a:lnTo>
                    <a:pt x="3259" y="3021"/>
                  </a:lnTo>
                  <a:lnTo>
                    <a:pt x="3252" y="3016"/>
                  </a:lnTo>
                  <a:lnTo>
                    <a:pt x="3246" y="3009"/>
                  </a:lnTo>
                  <a:lnTo>
                    <a:pt x="3240" y="2999"/>
                  </a:lnTo>
                  <a:lnTo>
                    <a:pt x="3236" y="2989"/>
                  </a:lnTo>
                  <a:lnTo>
                    <a:pt x="3232" y="2980"/>
                  </a:lnTo>
                  <a:lnTo>
                    <a:pt x="3226" y="2969"/>
                  </a:lnTo>
                  <a:lnTo>
                    <a:pt x="3220" y="2960"/>
                  </a:lnTo>
                  <a:lnTo>
                    <a:pt x="3214" y="2952"/>
                  </a:lnTo>
                  <a:lnTo>
                    <a:pt x="3207" y="2945"/>
                  </a:lnTo>
                  <a:lnTo>
                    <a:pt x="3200" y="2939"/>
                  </a:lnTo>
                  <a:lnTo>
                    <a:pt x="3193" y="2933"/>
                  </a:lnTo>
                  <a:lnTo>
                    <a:pt x="3184" y="2928"/>
                  </a:lnTo>
                  <a:lnTo>
                    <a:pt x="3175" y="2923"/>
                  </a:lnTo>
                  <a:lnTo>
                    <a:pt x="3165" y="2918"/>
                  </a:lnTo>
                  <a:lnTo>
                    <a:pt x="3154" y="2919"/>
                  </a:lnTo>
                  <a:lnTo>
                    <a:pt x="3146" y="2920"/>
                  </a:lnTo>
                  <a:lnTo>
                    <a:pt x="3138" y="2924"/>
                  </a:lnTo>
                  <a:lnTo>
                    <a:pt x="3131" y="2927"/>
                  </a:lnTo>
                  <a:lnTo>
                    <a:pt x="3119" y="2935"/>
                  </a:lnTo>
                  <a:lnTo>
                    <a:pt x="3109" y="2946"/>
                  </a:lnTo>
                  <a:lnTo>
                    <a:pt x="3098" y="2955"/>
                  </a:lnTo>
                  <a:lnTo>
                    <a:pt x="3087" y="2964"/>
                  </a:lnTo>
                  <a:lnTo>
                    <a:pt x="3081" y="2967"/>
                  </a:lnTo>
                  <a:lnTo>
                    <a:pt x="3074" y="2969"/>
                  </a:lnTo>
                  <a:lnTo>
                    <a:pt x="3067" y="2970"/>
                  </a:lnTo>
                  <a:lnTo>
                    <a:pt x="3059" y="2969"/>
                  </a:lnTo>
                  <a:lnTo>
                    <a:pt x="3033" y="2968"/>
                  </a:lnTo>
                  <a:lnTo>
                    <a:pt x="3002" y="2968"/>
                  </a:lnTo>
                  <a:lnTo>
                    <a:pt x="2985" y="2968"/>
                  </a:lnTo>
                  <a:lnTo>
                    <a:pt x="2971" y="2967"/>
                  </a:lnTo>
                  <a:lnTo>
                    <a:pt x="2960" y="2964"/>
                  </a:lnTo>
                  <a:lnTo>
                    <a:pt x="2950" y="2961"/>
                  </a:lnTo>
                  <a:lnTo>
                    <a:pt x="2935" y="2953"/>
                  </a:lnTo>
                  <a:lnTo>
                    <a:pt x="2921" y="2947"/>
                  </a:lnTo>
                  <a:lnTo>
                    <a:pt x="2909" y="2945"/>
                  </a:lnTo>
                  <a:lnTo>
                    <a:pt x="2897" y="2945"/>
                  </a:lnTo>
                  <a:lnTo>
                    <a:pt x="2886" y="2946"/>
                  </a:lnTo>
                  <a:lnTo>
                    <a:pt x="2876" y="2948"/>
                  </a:lnTo>
                  <a:lnTo>
                    <a:pt x="2867" y="2952"/>
                  </a:lnTo>
                  <a:lnTo>
                    <a:pt x="2858" y="2955"/>
                  </a:lnTo>
                  <a:lnTo>
                    <a:pt x="2850" y="2959"/>
                  </a:lnTo>
                  <a:lnTo>
                    <a:pt x="2842" y="2961"/>
                  </a:lnTo>
                  <a:lnTo>
                    <a:pt x="2834" y="2962"/>
                  </a:lnTo>
                  <a:lnTo>
                    <a:pt x="2826" y="2962"/>
                  </a:lnTo>
                  <a:lnTo>
                    <a:pt x="2818" y="2961"/>
                  </a:lnTo>
                  <a:lnTo>
                    <a:pt x="2810" y="2956"/>
                  </a:lnTo>
                  <a:lnTo>
                    <a:pt x="2800" y="2948"/>
                  </a:lnTo>
                  <a:lnTo>
                    <a:pt x="2791" y="2938"/>
                  </a:lnTo>
                  <a:lnTo>
                    <a:pt x="2784" y="2930"/>
                  </a:lnTo>
                  <a:lnTo>
                    <a:pt x="2778" y="2924"/>
                  </a:lnTo>
                  <a:lnTo>
                    <a:pt x="2772" y="2918"/>
                  </a:lnTo>
                  <a:lnTo>
                    <a:pt x="2767" y="2914"/>
                  </a:lnTo>
                  <a:lnTo>
                    <a:pt x="2761" y="2911"/>
                  </a:lnTo>
                  <a:lnTo>
                    <a:pt x="2756" y="2910"/>
                  </a:lnTo>
                  <a:lnTo>
                    <a:pt x="2751" y="2909"/>
                  </a:lnTo>
                  <a:lnTo>
                    <a:pt x="2747" y="2907"/>
                  </a:lnTo>
                  <a:lnTo>
                    <a:pt x="2735" y="2906"/>
                  </a:lnTo>
                  <a:lnTo>
                    <a:pt x="2723" y="2906"/>
                  </a:lnTo>
                  <a:lnTo>
                    <a:pt x="2709" y="2904"/>
                  </a:lnTo>
                  <a:lnTo>
                    <a:pt x="2692" y="2898"/>
                  </a:lnTo>
                  <a:lnTo>
                    <a:pt x="2682" y="2895"/>
                  </a:lnTo>
                  <a:lnTo>
                    <a:pt x="2670" y="2892"/>
                  </a:lnTo>
                  <a:lnTo>
                    <a:pt x="2661" y="2891"/>
                  </a:lnTo>
                  <a:lnTo>
                    <a:pt x="2651" y="2892"/>
                  </a:lnTo>
                  <a:lnTo>
                    <a:pt x="2642" y="2893"/>
                  </a:lnTo>
                  <a:lnTo>
                    <a:pt x="2633" y="2896"/>
                  </a:lnTo>
                  <a:lnTo>
                    <a:pt x="2625" y="2900"/>
                  </a:lnTo>
                  <a:lnTo>
                    <a:pt x="2616" y="2904"/>
                  </a:lnTo>
                  <a:lnTo>
                    <a:pt x="2599" y="2914"/>
                  </a:lnTo>
                  <a:lnTo>
                    <a:pt x="2583" y="2926"/>
                  </a:lnTo>
                  <a:lnTo>
                    <a:pt x="2563" y="2938"/>
                  </a:lnTo>
                  <a:lnTo>
                    <a:pt x="2542" y="2948"/>
                  </a:lnTo>
                  <a:lnTo>
                    <a:pt x="2517" y="2957"/>
                  </a:lnTo>
                  <a:lnTo>
                    <a:pt x="2505" y="2962"/>
                  </a:lnTo>
                  <a:lnTo>
                    <a:pt x="2500" y="2964"/>
                  </a:lnTo>
                  <a:lnTo>
                    <a:pt x="2493" y="2969"/>
                  </a:lnTo>
                  <a:lnTo>
                    <a:pt x="2485" y="2977"/>
                  </a:lnTo>
                  <a:lnTo>
                    <a:pt x="2472" y="2989"/>
                  </a:lnTo>
                  <a:lnTo>
                    <a:pt x="2467" y="2992"/>
                  </a:lnTo>
                  <a:lnTo>
                    <a:pt x="2462" y="2995"/>
                  </a:lnTo>
                  <a:lnTo>
                    <a:pt x="2455" y="2997"/>
                  </a:lnTo>
                  <a:lnTo>
                    <a:pt x="2448" y="2999"/>
                  </a:lnTo>
                  <a:lnTo>
                    <a:pt x="2430" y="3002"/>
                  </a:lnTo>
                  <a:lnTo>
                    <a:pt x="2411" y="3003"/>
                  </a:lnTo>
                  <a:lnTo>
                    <a:pt x="2393" y="3003"/>
                  </a:lnTo>
                  <a:lnTo>
                    <a:pt x="2375" y="3001"/>
                  </a:lnTo>
                  <a:lnTo>
                    <a:pt x="2360" y="2998"/>
                  </a:lnTo>
                  <a:lnTo>
                    <a:pt x="2347" y="2996"/>
                  </a:lnTo>
                  <a:lnTo>
                    <a:pt x="2339" y="2994"/>
                  </a:lnTo>
                  <a:lnTo>
                    <a:pt x="2330" y="2991"/>
                  </a:lnTo>
                  <a:lnTo>
                    <a:pt x="2322" y="2991"/>
                  </a:lnTo>
                  <a:lnTo>
                    <a:pt x="2313" y="2990"/>
                  </a:lnTo>
                  <a:lnTo>
                    <a:pt x="2296" y="2990"/>
                  </a:lnTo>
                  <a:lnTo>
                    <a:pt x="2280" y="2990"/>
                  </a:lnTo>
                  <a:lnTo>
                    <a:pt x="2273" y="2989"/>
                  </a:lnTo>
                  <a:lnTo>
                    <a:pt x="2267" y="2988"/>
                  </a:lnTo>
                  <a:lnTo>
                    <a:pt x="2261" y="2985"/>
                  </a:lnTo>
                  <a:lnTo>
                    <a:pt x="2256" y="2982"/>
                  </a:lnTo>
                  <a:lnTo>
                    <a:pt x="2252" y="2977"/>
                  </a:lnTo>
                  <a:lnTo>
                    <a:pt x="2249" y="2970"/>
                  </a:lnTo>
                  <a:lnTo>
                    <a:pt x="2247" y="2963"/>
                  </a:lnTo>
                  <a:lnTo>
                    <a:pt x="2246" y="2954"/>
                  </a:lnTo>
                  <a:lnTo>
                    <a:pt x="2246" y="2950"/>
                  </a:lnTo>
                  <a:lnTo>
                    <a:pt x="2245" y="2947"/>
                  </a:lnTo>
                  <a:lnTo>
                    <a:pt x="2244" y="2945"/>
                  </a:lnTo>
                  <a:lnTo>
                    <a:pt x="2242" y="2942"/>
                  </a:lnTo>
                  <a:lnTo>
                    <a:pt x="2236" y="2941"/>
                  </a:lnTo>
                  <a:lnTo>
                    <a:pt x="2228" y="2941"/>
                  </a:lnTo>
                  <a:lnTo>
                    <a:pt x="2219" y="2942"/>
                  </a:lnTo>
                  <a:lnTo>
                    <a:pt x="2209" y="2946"/>
                  </a:lnTo>
                  <a:lnTo>
                    <a:pt x="2198" y="2950"/>
                  </a:lnTo>
                  <a:lnTo>
                    <a:pt x="2187" y="2955"/>
                  </a:lnTo>
                  <a:lnTo>
                    <a:pt x="2144" y="2978"/>
                  </a:lnTo>
                  <a:lnTo>
                    <a:pt x="2119" y="2991"/>
                  </a:lnTo>
                  <a:lnTo>
                    <a:pt x="2101" y="3005"/>
                  </a:lnTo>
                  <a:lnTo>
                    <a:pt x="2083" y="3017"/>
                  </a:lnTo>
                  <a:lnTo>
                    <a:pt x="2066" y="3027"/>
                  </a:lnTo>
                  <a:lnTo>
                    <a:pt x="2049" y="3037"/>
                  </a:lnTo>
                  <a:lnTo>
                    <a:pt x="2033" y="3045"/>
                  </a:lnTo>
                  <a:lnTo>
                    <a:pt x="2017" y="3052"/>
                  </a:lnTo>
                  <a:lnTo>
                    <a:pt x="2001" y="3058"/>
                  </a:lnTo>
                  <a:lnTo>
                    <a:pt x="1984" y="3062"/>
                  </a:lnTo>
                  <a:lnTo>
                    <a:pt x="1967" y="3066"/>
                  </a:lnTo>
                  <a:lnTo>
                    <a:pt x="1951" y="3069"/>
                  </a:lnTo>
                  <a:lnTo>
                    <a:pt x="1933" y="3073"/>
                  </a:lnTo>
                  <a:lnTo>
                    <a:pt x="1914" y="3075"/>
                  </a:lnTo>
                  <a:lnTo>
                    <a:pt x="1876" y="3077"/>
                  </a:lnTo>
                  <a:lnTo>
                    <a:pt x="1833" y="3079"/>
                  </a:lnTo>
                  <a:lnTo>
                    <a:pt x="1824" y="3079"/>
                  </a:lnTo>
                  <a:lnTo>
                    <a:pt x="1813" y="3075"/>
                  </a:lnTo>
                  <a:lnTo>
                    <a:pt x="1800" y="3069"/>
                  </a:lnTo>
                  <a:lnTo>
                    <a:pt x="1788" y="3062"/>
                  </a:lnTo>
                  <a:lnTo>
                    <a:pt x="1774" y="3054"/>
                  </a:lnTo>
                  <a:lnTo>
                    <a:pt x="1761" y="3045"/>
                  </a:lnTo>
                  <a:lnTo>
                    <a:pt x="1749" y="3034"/>
                  </a:lnTo>
                  <a:lnTo>
                    <a:pt x="1739" y="3024"/>
                  </a:lnTo>
                  <a:lnTo>
                    <a:pt x="1731" y="3013"/>
                  </a:lnTo>
                  <a:lnTo>
                    <a:pt x="1725" y="3003"/>
                  </a:lnTo>
                  <a:lnTo>
                    <a:pt x="1724" y="2998"/>
                  </a:lnTo>
                  <a:lnTo>
                    <a:pt x="1722" y="2994"/>
                  </a:lnTo>
                  <a:lnTo>
                    <a:pt x="1724" y="2989"/>
                  </a:lnTo>
                  <a:lnTo>
                    <a:pt x="1725" y="2985"/>
                  </a:lnTo>
                  <a:lnTo>
                    <a:pt x="1727" y="2982"/>
                  </a:lnTo>
                  <a:lnTo>
                    <a:pt x="1732" y="2978"/>
                  </a:lnTo>
                  <a:lnTo>
                    <a:pt x="1736" y="2975"/>
                  </a:lnTo>
                  <a:lnTo>
                    <a:pt x="1742" y="2973"/>
                  </a:lnTo>
                  <a:lnTo>
                    <a:pt x="1750" y="2970"/>
                  </a:lnTo>
                  <a:lnTo>
                    <a:pt x="1760" y="2969"/>
                  </a:lnTo>
                  <a:lnTo>
                    <a:pt x="1771" y="2968"/>
                  </a:lnTo>
                  <a:lnTo>
                    <a:pt x="1784" y="2968"/>
                  </a:lnTo>
                  <a:lnTo>
                    <a:pt x="1788" y="2967"/>
                  </a:lnTo>
                  <a:lnTo>
                    <a:pt x="1789" y="2964"/>
                  </a:lnTo>
                  <a:lnTo>
                    <a:pt x="1791" y="2961"/>
                  </a:lnTo>
                  <a:lnTo>
                    <a:pt x="1791" y="2956"/>
                  </a:lnTo>
                  <a:lnTo>
                    <a:pt x="1790" y="2944"/>
                  </a:lnTo>
                  <a:lnTo>
                    <a:pt x="1786" y="2930"/>
                  </a:lnTo>
                  <a:lnTo>
                    <a:pt x="1776" y="2900"/>
                  </a:lnTo>
                  <a:lnTo>
                    <a:pt x="1767" y="2881"/>
                  </a:lnTo>
                  <a:lnTo>
                    <a:pt x="1763" y="2875"/>
                  </a:lnTo>
                  <a:lnTo>
                    <a:pt x="1760" y="2869"/>
                  </a:lnTo>
                  <a:lnTo>
                    <a:pt x="1755" y="2864"/>
                  </a:lnTo>
                  <a:lnTo>
                    <a:pt x="1751" y="2861"/>
                  </a:lnTo>
                  <a:lnTo>
                    <a:pt x="1746" y="2857"/>
                  </a:lnTo>
                  <a:lnTo>
                    <a:pt x="1741" y="2854"/>
                  </a:lnTo>
                  <a:lnTo>
                    <a:pt x="1735" y="2852"/>
                  </a:lnTo>
                  <a:lnTo>
                    <a:pt x="1729" y="2850"/>
                  </a:lnTo>
                  <a:lnTo>
                    <a:pt x="1718" y="2848"/>
                  </a:lnTo>
                  <a:lnTo>
                    <a:pt x="1705" y="2847"/>
                  </a:lnTo>
                  <a:lnTo>
                    <a:pt x="1691" y="2848"/>
                  </a:lnTo>
                  <a:lnTo>
                    <a:pt x="1677" y="2849"/>
                  </a:lnTo>
                  <a:lnTo>
                    <a:pt x="1649" y="2856"/>
                  </a:lnTo>
                  <a:lnTo>
                    <a:pt x="1621" y="2863"/>
                  </a:lnTo>
                  <a:lnTo>
                    <a:pt x="1596" y="2871"/>
                  </a:lnTo>
                  <a:lnTo>
                    <a:pt x="1573" y="2877"/>
                  </a:lnTo>
                  <a:lnTo>
                    <a:pt x="1549" y="2883"/>
                  </a:lnTo>
                  <a:lnTo>
                    <a:pt x="1527" y="2891"/>
                  </a:lnTo>
                  <a:lnTo>
                    <a:pt x="1508" y="2899"/>
                  </a:lnTo>
                  <a:lnTo>
                    <a:pt x="1492" y="2910"/>
                  </a:lnTo>
                  <a:lnTo>
                    <a:pt x="1478" y="2921"/>
                  </a:lnTo>
                  <a:lnTo>
                    <a:pt x="1464" y="2933"/>
                  </a:lnTo>
                  <a:lnTo>
                    <a:pt x="1452" y="2946"/>
                  </a:lnTo>
                  <a:lnTo>
                    <a:pt x="1442" y="2959"/>
                  </a:lnTo>
                  <a:lnTo>
                    <a:pt x="1421" y="2985"/>
                  </a:lnTo>
                  <a:lnTo>
                    <a:pt x="1399" y="3011"/>
                  </a:lnTo>
                  <a:lnTo>
                    <a:pt x="1386" y="3024"/>
                  </a:lnTo>
                  <a:lnTo>
                    <a:pt x="1373" y="3037"/>
                  </a:lnTo>
                  <a:lnTo>
                    <a:pt x="1358" y="3047"/>
                  </a:lnTo>
                  <a:lnTo>
                    <a:pt x="1341" y="3058"/>
                  </a:lnTo>
                  <a:lnTo>
                    <a:pt x="1330" y="3066"/>
                  </a:lnTo>
                  <a:lnTo>
                    <a:pt x="1322" y="3073"/>
                  </a:lnTo>
                  <a:lnTo>
                    <a:pt x="1320" y="3075"/>
                  </a:lnTo>
                  <a:lnTo>
                    <a:pt x="1318" y="3079"/>
                  </a:lnTo>
                  <a:lnTo>
                    <a:pt x="1317" y="3082"/>
                  </a:lnTo>
                  <a:lnTo>
                    <a:pt x="1316" y="3085"/>
                  </a:lnTo>
                  <a:lnTo>
                    <a:pt x="1317" y="3091"/>
                  </a:lnTo>
                  <a:lnTo>
                    <a:pt x="1320" y="3097"/>
                  </a:lnTo>
                  <a:lnTo>
                    <a:pt x="1323" y="3103"/>
                  </a:lnTo>
                  <a:lnTo>
                    <a:pt x="1328" y="3109"/>
                  </a:lnTo>
                  <a:lnTo>
                    <a:pt x="1332" y="3115"/>
                  </a:lnTo>
                  <a:lnTo>
                    <a:pt x="1336" y="3120"/>
                  </a:lnTo>
                  <a:lnTo>
                    <a:pt x="1338" y="3126"/>
                  </a:lnTo>
                  <a:lnTo>
                    <a:pt x="1341" y="3132"/>
                  </a:lnTo>
                  <a:lnTo>
                    <a:pt x="1339" y="3134"/>
                  </a:lnTo>
                  <a:lnTo>
                    <a:pt x="1339" y="3138"/>
                  </a:lnTo>
                  <a:lnTo>
                    <a:pt x="1338" y="3140"/>
                  </a:lnTo>
                  <a:lnTo>
                    <a:pt x="1336" y="3143"/>
                  </a:lnTo>
                  <a:lnTo>
                    <a:pt x="1329" y="3148"/>
                  </a:lnTo>
                  <a:lnTo>
                    <a:pt x="1318" y="3154"/>
                  </a:lnTo>
                  <a:lnTo>
                    <a:pt x="1180" y="3222"/>
                  </a:lnTo>
                  <a:lnTo>
                    <a:pt x="1168" y="3226"/>
                  </a:lnTo>
                  <a:lnTo>
                    <a:pt x="1158" y="3229"/>
                  </a:lnTo>
                  <a:lnTo>
                    <a:pt x="1147" y="3230"/>
                  </a:lnTo>
                  <a:lnTo>
                    <a:pt x="1137" y="3230"/>
                  </a:lnTo>
                  <a:lnTo>
                    <a:pt x="1129" y="3227"/>
                  </a:lnTo>
                  <a:lnTo>
                    <a:pt x="1119" y="3224"/>
                  </a:lnTo>
                  <a:lnTo>
                    <a:pt x="1111" y="3219"/>
                  </a:lnTo>
                  <a:lnTo>
                    <a:pt x="1104" y="3214"/>
                  </a:lnTo>
                  <a:lnTo>
                    <a:pt x="1097" y="3207"/>
                  </a:lnTo>
                  <a:lnTo>
                    <a:pt x="1091" y="3198"/>
                  </a:lnTo>
                  <a:lnTo>
                    <a:pt x="1086" y="3189"/>
                  </a:lnTo>
                  <a:lnTo>
                    <a:pt x="1080" y="3180"/>
                  </a:lnTo>
                  <a:lnTo>
                    <a:pt x="1076" y="3169"/>
                  </a:lnTo>
                  <a:lnTo>
                    <a:pt x="1072" y="3159"/>
                  </a:lnTo>
                  <a:lnTo>
                    <a:pt x="1069" y="3147"/>
                  </a:lnTo>
                  <a:lnTo>
                    <a:pt x="1067" y="3136"/>
                  </a:lnTo>
                  <a:lnTo>
                    <a:pt x="1064" y="3118"/>
                  </a:lnTo>
                  <a:lnTo>
                    <a:pt x="1059" y="3104"/>
                  </a:lnTo>
                  <a:lnTo>
                    <a:pt x="1055" y="3092"/>
                  </a:lnTo>
                  <a:lnTo>
                    <a:pt x="1051" y="3082"/>
                  </a:lnTo>
                  <a:lnTo>
                    <a:pt x="1045" y="3075"/>
                  </a:lnTo>
                  <a:lnTo>
                    <a:pt x="1040" y="3069"/>
                  </a:lnTo>
                  <a:lnTo>
                    <a:pt x="1033" y="3065"/>
                  </a:lnTo>
                  <a:lnTo>
                    <a:pt x="1026" y="3062"/>
                  </a:lnTo>
                  <a:lnTo>
                    <a:pt x="1018" y="3060"/>
                  </a:lnTo>
                  <a:lnTo>
                    <a:pt x="1009" y="3060"/>
                  </a:lnTo>
                  <a:lnTo>
                    <a:pt x="1000" y="3059"/>
                  </a:lnTo>
                  <a:lnTo>
                    <a:pt x="988" y="3060"/>
                  </a:lnTo>
                  <a:lnTo>
                    <a:pt x="962" y="3060"/>
                  </a:lnTo>
                  <a:lnTo>
                    <a:pt x="932" y="3059"/>
                  </a:lnTo>
                  <a:lnTo>
                    <a:pt x="752" y="3061"/>
                  </a:lnTo>
                  <a:lnTo>
                    <a:pt x="735" y="3060"/>
                  </a:lnTo>
                  <a:lnTo>
                    <a:pt x="718" y="3058"/>
                  </a:lnTo>
                  <a:lnTo>
                    <a:pt x="702" y="3053"/>
                  </a:lnTo>
                  <a:lnTo>
                    <a:pt x="685" y="3049"/>
                  </a:lnTo>
                  <a:lnTo>
                    <a:pt x="669" y="3045"/>
                  </a:lnTo>
                  <a:lnTo>
                    <a:pt x="651" y="3040"/>
                  </a:lnTo>
                  <a:lnTo>
                    <a:pt x="635" y="3038"/>
                  </a:lnTo>
                  <a:lnTo>
                    <a:pt x="618" y="3037"/>
                  </a:lnTo>
                  <a:lnTo>
                    <a:pt x="603" y="3035"/>
                  </a:lnTo>
                  <a:lnTo>
                    <a:pt x="589" y="3032"/>
                  </a:lnTo>
                  <a:lnTo>
                    <a:pt x="577" y="3027"/>
                  </a:lnTo>
                  <a:lnTo>
                    <a:pt x="565" y="3020"/>
                  </a:lnTo>
                  <a:lnTo>
                    <a:pt x="555" y="3013"/>
                  </a:lnTo>
                  <a:lnTo>
                    <a:pt x="546" y="3004"/>
                  </a:lnTo>
                  <a:lnTo>
                    <a:pt x="536" y="2996"/>
                  </a:lnTo>
                  <a:lnTo>
                    <a:pt x="527" y="2987"/>
                  </a:lnTo>
                  <a:lnTo>
                    <a:pt x="511" y="2968"/>
                  </a:lnTo>
                  <a:lnTo>
                    <a:pt x="494" y="2952"/>
                  </a:lnTo>
                  <a:lnTo>
                    <a:pt x="486" y="2945"/>
                  </a:lnTo>
                  <a:lnTo>
                    <a:pt x="477" y="2940"/>
                  </a:lnTo>
                  <a:lnTo>
                    <a:pt x="466" y="2937"/>
                  </a:lnTo>
                  <a:lnTo>
                    <a:pt x="456" y="2935"/>
                  </a:lnTo>
                  <a:lnTo>
                    <a:pt x="411" y="2937"/>
                  </a:lnTo>
                  <a:lnTo>
                    <a:pt x="372" y="2934"/>
                  </a:lnTo>
                  <a:lnTo>
                    <a:pt x="353" y="2932"/>
                  </a:lnTo>
                  <a:lnTo>
                    <a:pt x="335" y="2928"/>
                  </a:lnTo>
                  <a:lnTo>
                    <a:pt x="314" y="2923"/>
                  </a:lnTo>
                  <a:lnTo>
                    <a:pt x="291" y="2914"/>
                  </a:lnTo>
                  <a:lnTo>
                    <a:pt x="278" y="2907"/>
                  </a:lnTo>
                  <a:lnTo>
                    <a:pt x="266" y="2900"/>
                  </a:lnTo>
                  <a:lnTo>
                    <a:pt x="257" y="2891"/>
                  </a:lnTo>
                  <a:lnTo>
                    <a:pt x="250" y="2883"/>
                  </a:lnTo>
                  <a:lnTo>
                    <a:pt x="244" y="2873"/>
                  </a:lnTo>
                  <a:lnTo>
                    <a:pt x="241" y="2862"/>
                  </a:lnTo>
                  <a:lnTo>
                    <a:pt x="238" y="2852"/>
                  </a:lnTo>
                  <a:lnTo>
                    <a:pt x="237" y="2841"/>
                  </a:lnTo>
                  <a:lnTo>
                    <a:pt x="237" y="2795"/>
                  </a:lnTo>
                  <a:lnTo>
                    <a:pt x="238" y="2750"/>
                  </a:lnTo>
                  <a:lnTo>
                    <a:pt x="236" y="2747"/>
                  </a:lnTo>
                  <a:lnTo>
                    <a:pt x="231" y="2745"/>
                  </a:lnTo>
                  <a:lnTo>
                    <a:pt x="224" y="2741"/>
                  </a:lnTo>
                  <a:lnTo>
                    <a:pt x="216" y="2738"/>
                  </a:lnTo>
                  <a:lnTo>
                    <a:pt x="208" y="2734"/>
                  </a:lnTo>
                  <a:lnTo>
                    <a:pt x="200" y="2729"/>
                  </a:lnTo>
                  <a:lnTo>
                    <a:pt x="196" y="2727"/>
                  </a:lnTo>
                  <a:lnTo>
                    <a:pt x="194" y="2724"/>
                  </a:lnTo>
                  <a:lnTo>
                    <a:pt x="192" y="2720"/>
                  </a:lnTo>
                  <a:lnTo>
                    <a:pt x="189" y="2717"/>
                  </a:lnTo>
                  <a:lnTo>
                    <a:pt x="179" y="2718"/>
                  </a:lnTo>
                  <a:lnTo>
                    <a:pt x="168" y="2719"/>
                  </a:lnTo>
                  <a:lnTo>
                    <a:pt x="158" y="2721"/>
                  </a:lnTo>
                  <a:lnTo>
                    <a:pt x="147" y="2725"/>
                  </a:lnTo>
                  <a:lnTo>
                    <a:pt x="127" y="2733"/>
                  </a:lnTo>
                  <a:lnTo>
                    <a:pt x="106" y="2742"/>
                  </a:lnTo>
                  <a:lnTo>
                    <a:pt x="83" y="2751"/>
                  </a:lnTo>
                  <a:lnTo>
                    <a:pt x="62" y="2758"/>
                  </a:lnTo>
                  <a:lnTo>
                    <a:pt x="52" y="2761"/>
                  </a:lnTo>
                  <a:lnTo>
                    <a:pt x="42" y="2763"/>
                  </a:lnTo>
                  <a:lnTo>
                    <a:pt x="30" y="2764"/>
                  </a:lnTo>
                  <a:lnTo>
                    <a:pt x="19" y="2764"/>
                  </a:lnTo>
                  <a:lnTo>
                    <a:pt x="57" y="2676"/>
                  </a:lnTo>
                  <a:lnTo>
                    <a:pt x="57" y="2667"/>
                  </a:lnTo>
                  <a:lnTo>
                    <a:pt x="55" y="2658"/>
                  </a:lnTo>
                  <a:lnTo>
                    <a:pt x="53" y="2650"/>
                  </a:lnTo>
                  <a:lnTo>
                    <a:pt x="50" y="2643"/>
                  </a:lnTo>
                  <a:lnTo>
                    <a:pt x="43" y="2629"/>
                  </a:lnTo>
                  <a:lnTo>
                    <a:pt x="35" y="2617"/>
                  </a:lnTo>
                  <a:lnTo>
                    <a:pt x="26" y="2605"/>
                  </a:lnTo>
                  <a:lnTo>
                    <a:pt x="18" y="2592"/>
                  </a:lnTo>
                  <a:lnTo>
                    <a:pt x="15" y="2586"/>
                  </a:lnTo>
                  <a:lnTo>
                    <a:pt x="11" y="2579"/>
                  </a:lnTo>
                  <a:lnTo>
                    <a:pt x="9" y="2572"/>
                  </a:lnTo>
                  <a:lnTo>
                    <a:pt x="7" y="2565"/>
                  </a:lnTo>
                  <a:lnTo>
                    <a:pt x="5" y="2556"/>
                  </a:lnTo>
                  <a:lnTo>
                    <a:pt x="4" y="2548"/>
                  </a:lnTo>
                  <a:lnTo>
                    <a:pt x="4" y="2541"/>
                  </a:lnTo>
                  <a:lnTo>
                    <a:pt x="5" y="2536"/>
                  </a:lnTo>
                  <a:lnTo>
                    <a:pt x="7" y="2532"/>
                  </a:lnTo>
                  <a:lnTo>
                    <a:pt x="9" y="2529"/>
                  </a:lnTo>
                  <a:lnTo>
                    <a:pt x="12" y="2527"/>
                  </a:lnTo>
                  <a:lnTo>
                    <a:pt x="16" y="2526"/>
                  </a:lnTo>
                  <a:lnTo>
                    <a:pt x="38" y="2525"/>
                  </a:lnTo>
                  <a:lnTo>
                    <a:pt x="67" y="2526"/>
                  </a:lnTo>
                  <a:lnTo>
                    <a:pt x="71" y="2520"/>
                  </a:lnTo>
                  <a:lnTo>
                    <a:pt x="73" y="2515"/>
                  </a:lnTo>
                  <a:lnTo>
                    <a:pt x="78" y="2512"/>
                  </a:lnTo>
                  <a:lnTo>
                    <a:pt x="81" y="2511"/>
                  </a:lnTo>
                  <a:lnTo>
                    <a:pt x="90" y="2506"/>
                  </a:lnTo>
                  <a:lnTo>
                    <a:pt x="101" y="2499"/>
                  </a:lnTo>
                  <a:lnTo>
                    <a:pt x="104" y="2495"/>
                  </a:lnTo>
                  <a:lnTo>
                    <a:pt x="108" y="2493"/>
                  </a:lnTo>
                  <a:lnTo>
                    <a:pt x="109" y="2490"/>
                  </a:lnTo>
                  <a:lnTo>
                    <a:pt x="109" y="2487"/>
                  </a:lnTo>
                  <a:lnTo>
                    <a:pt x="108" y="2483"/>
                  </a:lnTo>
                  <a:lnTo>
                    <a:pt x="104" y="2479"/>
                  </a:lnTo>
                  <a:lnTo>
                    <a:pt x="100" y="2475"/>
                  </a:lnTo>
                  <a:lnTo>
                    <a:pt x="95" y="2471"/>
                  </a:lnTo>
                  <a:lnTo>
                    <a:pt x="90" y="2466"/>
                  </a:lnTo>
                  <a:lnTo>
                    <a:pt x="88" y="2462"/>
                  </a:lnTo>
                  <a:lnTo>
                    <a:pt x="74" y="2462"/>
                  </a:lnTo>
                  <a:lnTo>
                    <a:pt x="60" y="2464"/>
                  </a:lnTo>
                  <a:lnTo>
                    <a:pt x="46" y="2466"/>
                  </a:lnTo>
                  <a:lnTo>
                    <a:pt x="32" y="2468"/>
                  </a:lnTo>
                  <a:lnTo>
                    <a:pt x="25" y="2466"/>
                  </a:lnTo>
                  <a:lnTo>
                    <a:pt x="18" y="2464"/>
                  </a:lnTo>
                  <a:lnTo>
                    <a:pt x="11" y="2461"/>
                  </a:lnTo>
                  <a:lnTo>
                    <a:pt x="5" y="2455"/>
                  </a:lnTo>
                  <a:lnTo>
                    <a:pt x="2" y="2449"/>
                  </a:lnTo>
                  <a:lnTo>
                    <a:pt x="0" y="2443"/>
                  </a:lnTo>
                  <a:lnTo>
                    <a:pt x="0" y="2440"/>
                  </a:lnTo>
                  <a:lnTo>
                    <a:pt x="1" y="2437"/>
                  </a:lnTo>
                  <a:lnTo>
                    <a:pt x="2" y="2434"/>
                  </a:lnTo>
                  <a:lnTo>
                    <a:pt x="5" y="2430"/>
                  </a:lnTo>
                  <a:lnTo>
                    <a:pt x="11" y="2426"/>
                  </a:lnTo>
                  <a:lnTo>
                    <a:pt x="18" y="2422"/>
                  </a:lnTo>
                  <a:lnTo>
                    <a:pt x="24" y="2420"/>
                  </a:lnTo>
                  <a:lnTo>
                    <a:pt x="30" y="2418"/>
                  </a:lnTo>
                  <a:lnTo>
                    <a:pt x="42" y="2416"/>
                  </a:lnTo>
                  <a:lnTo>
                    <a:pt x="53" y="2416"/>
                  </a:lnTo>
                  <a:lnTo>
                    <a:pt x="59" y="2416"/>
                  </a:lnTo>
                  <a:lnTo>
                    <a:pt x="65" y="2415"/>
                  </a:lnTo>
                  <a:lnTo>
                    <a:pt x="69" y="2413"/>
                  </a:lnTo>
                  <a:lnTo>
                    <a:pt x="75" y="2411"/>
                  </a:lnTo>
                  <a:lnTo>
                    <a:pt x="81" y="2407"/>
                  </a:lnTo>
                  <a:lnTo>
                    <a:pt x="87" y="2401"/>
                  </a:lnTo>
                  <a:lnTo>
                    <a:pt x="93" y="2394"/>
                  </a:lnTo>
                  <a:lnTo>
                    <a:pt x="99" y="2386"/>
                  </a:lnTo>
                  <a:lnTo>
                    <a:pt x="103" y="2379"/>
                  </a:lnTo>
                  <a:lnTo>
                    <a:pt x="108" y="2373"/>
                  </a:lnTo>
                  <a:lnTo>
                    <a:pt x="113" y="2370"/>
                  </a:lnTo>
                  <a:lnTo>
                    <a:pt x="117" y="2366"/>
                  </a:lnTo>
                  <a:lnTo>
                    <a:pt x="127" y="2362"/>
                  </a:lnTo>
                  <a:lnTo>
                    <a:pt x="136" y="2360"/>
                  </a:lnTo>
                  <a:lnTo>
                    <a:pt x="145" y="2359"/>
                  </a:lnTo>
                  <a:lnTo>
                    <a:pt x="156" y="2358"/>
                  </a:lnTo>
                  <a:lnTo>
                    <a:pt x="161" y="2356"/>
                  </a:lnTo>
                  <a:lnTo>
                    <a:pt x="166" y="2355"/>
                  </a:lnTo>
                  <a:lnTo>
                    <a:pt x="172" y="2351"/>
                  </a:lnTo>
                  <a:lnTo>
                    <a:pt x="178" y="2348"/>
                  </a:lnTo>
                  <a:lnTo>
                    <a:pt x="182" y="2344"/>
                  </a:lnTo>
                  <a:lnTo>
                    <a:pt x="186" y="2340"/>
                  </a:lnTo>
                  <a:lnTo>
                    <a:pt x="191" y="2334"/>
                  </a:lnTo>
                  <a:lnTo>
                    <a:pt x="194" y="2328"/>
                  </a:lnTo>
                  <a:lnTo>
                    <a:pt x="200" y="2315"/>
                  </a:lnTo>
                  <a:lnTo>
                    <a:pt x="204" y="2303"/>
                  </a:lnTo>
                  <a:lnTo>
                    <a:pt x="213" y="2285"/>
                  </a:lnTo>
                  <a:lnTo>
                    <a:pt x="217" y="2271"/>
                  </a:lnTo>
                  <a:lnTo>
                    <a:pt x="220" y="2265"/>
                  </a:lnTo>
                  <a:lnTo>
                    <a:pt x="220" y="2260"/>
                  </a:lnTo>
                  <a:lnTo>
                    <a:pt x="220" y="2256"/>
                  </a:lnTo>
                  <a:lnTo>
                    <a:pt x="220" y="2251"/>
                  </a:lnTo>
                  <a:lnTo>
                    <a:pt x="216" y="2242"/>
                  </a:lnTo>
                  <a:lnTo>
                    <a:pt x="210" y="2231"/>
                  </a:lnTo>
                  <a:lnTo>
                    <a:pt x="201" y="2217"/>
                  </a:lnTo>
                  <a:lnTo>
                    <a:pt x="189" y="2199"/>
                  </a:lnTo>
                  <a:lnTo>
                    <a:pt x="156" y="214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sz="1200" dirty="0"/>
            </a:p>
          </p:txBody>
        </p:sp>
        <p:sp>
          <p:nvSpPr>
            <p:cNvPr id="22" name="Freeform 56"/>
            <p:cNvSpPr>
              <a:spLocks/>
            </p:cNvSpPr>
            <p:nvPr/>
          </p:nvSpPr>
          <p:spPr bwMode="auto">
            <a:xfrm>
              <a:off x="3705195" y="4103464"/>
              <a:ext cx="750424" cy="1214414"/>
            </a:xfrm>
            <a:custGeom>
              <a:avLst/>
              <a:gdLst>
                <a:gd name="T0" fmla="*/ 1769 w 2243"/>
                <a:gd name="T1" fmla="*/ 254 h 3625"/>
                <a:gd name="T2" fmla="*/ 1749 w 2243"/>
                <a:gd name="T3" fmla="*/ 392 h 3625"/>
                <a:gd name="T4" fmla="*/ 1791 w 2243"/>
                <a:gd name="T5" fmla="*/ 535 h 3625"/>
                <a:gd name="T6" fmla="*/ 1709 w 2243"/>
                <a:gd name="T7" fmla="*/ 630 h 3625"/>
                <a:gd name="T8" fmla="*/ 1716 w 2243"/>
                <a:gd name="T9" fmla="*/ 738 h 3625"/>
                <a:gd name="T10" fmla="*/ 1715 w 2243"/>
                <a:gd name="T11" fmla="*/ 886 h 3625"/>
                <a:gd name="T12" fmla="*/ 1635 w 2243"/>
                <a:gd name="T13" fmla="*/ 1058 h 3625"/>
                <a:gd name="T14" fmla="*/ 1747 w 2243"/>
                <a:gd name="T15" fmla="*/ 1208 h 3625"/>
                <a:gd name="T16" fmla="*/ 1592 w 2243"/>
                <a:gd name="T17" fmla="*/ 1339 h 3625"/>
                <a:gd name="T18" fmla="*/ 1505 w 2243"/>
                <a:gd name="T19" fmla="*/ 1465 h 3625"/>
                <a:gd name="T20" fmla="*/ 1449 w 2243"/>
                <a:gd name="T21" fmla="*/ 1576 h 3625"/>
                <a:gd name="T22" fmla="*/ 1492 w 2243"/>
                <a:gd name="T23" fmla="*/ 1829 h 3625"/>
                <a:gd name="T24" fmla="*/ 1321 w 2243"/>
                <a:gd name="T25" fmla="*/ 1856 h 3625"/>
                <a:gd name="T26" fmla="*/ 1352 w 2243"/>
                <a:gd name="T27" fmla="*/ 2053 h 3625"/>
                <a:gd name="T28" fmla="*/ 1422 w 2243"/>
                <a:gd name="T29" fmla="*/ 2178 h 3625"/>
                <a:gd name="T30" fmla="*/ 1595 w 2243"/>
                <a:gd name="T31" fmla="*/ 2202 h 3625"/>
                <a:gd name="T32" fmla="*/ 1697 w 2243"/>
                <a:gd name="T33" fmla="*/ 2283 h 3625"/>
                <a:gd name="T34" fmla="*/ 1672 w 2243"/>
                <a:gd name="T35" fmla="*/ 2393 h 3625"/>
                <a:gd name="T36" fmla="*/ 1543 w 2243"/>
                <a:gd name="T37" fmla="*/ 2357 h 3625"/>
                <a:gd name="T38" fmla="*/ 1444 w 2243"/>
                <a:gd name="T39" fmla="*/ 2297 h 3625"/>
                <a:gd name="T40" fmla="*/ 1450 w 2243"/>
                <a:gd name="T41" fmla="*/ 2359 h 3625"/>
                <a:gd name="T42" fmla="*/ 1522 w 2243"/>
                <a:gd name="T43" fmla="*/ 2447 h 3625"/>
                <a:gd name="T44" fmla="*/ 1612 w 2243"/>
                <a:gd name="T45" fmla="*/ 2446 h 3625"/>
                <a:gd name="T46" fmla="*/ 1785 w 2243"/>
                <a:gd name="T47" fmla="*/ 2483 h 3625"/>
                <a:gd name="T48" fmla="*/ 1881 w 2243"/>
                <a:gd name="T49" fmla="*/ 2382 h 3625"/>
                <a:gd name="T50" fmla="*/ 1962 w 2243"/>
                <a:gd name="T51" fmla="*/ 2453 h 3625"/>
                <a:gd name="T52" fmla="*/ 2059 w 2243"/>
                <a:gd name="T53" fmla="*/ 2587 h 3625"/>
                <a:gd name="T54" fmla="*/ 2165 w 2243"/>
                <a:gd name="T55" fmla="*/ 2579 h 3625"/>
                <a:gd name="T56" fmla="*/ 2241 w 2243"/>
                <a:gd name="T57" fmla="*/ 2744 h 3625"/>
                <a:gd name="T58" fmla="*/ 2105 w 2243"/>
                <a:gd name="T59" fmla="*/ 2949 h 3625"/>
                <a:gd name="T60" fmla="*/ 1915 w 2243"/>
                <a:gd name="T61" fmla="*/ 2947 h 3625"/>
                <a:gd name="T62" fmla="*/ 1808 w 2243"/>
                <a:gd name="T63" fmla="*/ 3070 h 3625"/>
                <a:gd name="T64" fmla="*/ 1754 w 2243"/>
                <a:gd name="T65" fmla="*/ 3210 h 3625"/>
                <a:gd name="T66" fmla="*/ 1808 w 2243"/>
                <a:gd name="T67" fmla="*/ 3327 h 3625"/>
                <a:gd name="T68" fmla="*/ 1741 w 2243"/>
                <a:gd name="T69" fmla="*/ 3449 h 3625"/>
                <a:gd name="T70" fmla="*/ 1531 w 2243"/>
                <a:gd name="T71" fmla="*/ 3545 h 3625"/>
                <a:gd name="T72" fmla="*/ 1407 w 2243"/>
                <a:gd name="T73" fmla="*/ 3604 h 3625"/>
                <a:gd name="T74" fmla="*/ 1216 w 2243"/>
                <a:gd name="T75" fmla="*/ 3582 h 3625"/>
                <a:gd name="T76" fmla="*/ 1045 w 2243"/>
                <a:gd name="T77" fmla="*/ 3490 h 3625"/>
                <a:gd name="T78" fmla="*/ 770 w 2243"/>
                <a:gd name="T79" fmla="*/ 3375 h 3625"/>
                <a:gd name="T80" fmla="*/ 559 w 2243"/>
                <a:gd name="T81" fmla="*/ 3136 h 3625"/>
                <a:gd name="T82" fmla="*/ 233 w 2243"/>
                <a:gd name="T83" fmla="*/ 2432 h 3625"/>
                <a:gd name="T84" fmla="*/ 122 w 2243"/>
                <a:gd name="T85" fmla="*/ 2102 h 3625"/>
                <a:gd name="T86" fmla="*/ 1 w 2243"/>
                <a:gd name="T87" fmla="*/ 1924 h 3625"/>
                <a:gd name="T88" fmla="*/ 53 w 2243"/>
                <a:gd name="T89" fmla="*/ 1687 h 3625"/>
                <a:gd name="T90" fmla="*/ 47 w 2243"/>
                <a:gd name="T91" fmla="*/ 1590 h 3625"/>
                <a:gd name="T92" fmla="*/ 94 w 2243"/>
                <a:gd name="T93" fmla="*/ 1413 h 3625"/>
                <a:gd name="T94" fmla="*/ 150 w 2243"/>
                <a:gd name="T95" fmla="*/ 1288 h 3625"/>
                <a:gd name="T96" fmla="*/ 144 w 2243"/>
                <a:gd name="T97" fmla="*/ 1181 h 3625"/>
                <a:gd name="T98" fmla="*/ 76 w 2243"/>
                <a:gd name="T99" fmla="*/ 1050 h 3625"/>
                <a:gd name="T100" fmla="*/ 222 w 2243"/>
                <a:gd name="T101" fmla="*/ 996 h 3625"/>
                <a:gd name="T102" fmla="*/ 391 w 2243"/>
                <a:gd name="T103" fmla="*/ 869 h 3625"/>
                <a:gd name="T104" fmla="*/ 561 w 2243"/>
                <a:gd name="T105" fmla="*/ 855 h 3625"/>
                <a:gd name="T106" fmla="*/ 790 w 2243"/>
                <a:gd name="T107" fmla="*/ 773 h 3625"/>
                <a:gd name="T108" fmla="*/ 940 w 2243"/>
                <a:gd name="T109" fmla="*/ 596 h 3625"/>
                <a:gd name="T110" fmla="*/ 1181 w 2243"/>
                <a:gd name="T111" fmla="*/ 626 h 3625"/>
                <a:gd name="T112" fmla="*/ 1150 w 2243"/>
                <a:gd name="T113" fmla="*/ 527 h 3625"/>
                <a:gd name="T114" fmla="*/ 1194 w 2243"/>
                <a:gd name="T115" fmla="*/ 397 h 3625"/>
                <a:gd name="T116" fmla="*/ 1315 w 2243"/>
                <a:gd name="T117" fmla="*/ 357 h 3625"/>
                <a:gd name="T118" fmla="*/ 1456 w 2243"/>
                <a:gd name="T119" fmla="*/ 184 h 3625"/>
                <a:gd name="T120" fmla="*/ 1580 w 2243"/>
                <a:gd name="T121" fmla="*/ 23 h 3625"/>
                <a:gd name="T122" fmla="*/ 1676 w 2243"/>
                <a:gd name="T123" fmla="*/ 99 h 3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43" h="3625">
                  <a:moveTo>
                    <a:pt x="1729" y="102"/>
                  </a:moveTo>
                  <a:lnTo>
                    <a:pt x="1729" y="113"/>
                  </a:lnTo>
                  <a:lnTo>
                    <a:pt x="1728" y="124"/>
                  </a:lnTo>
                  <a:lnTo>
                    <a:pt x="1726" y="135"/>
                  </a:lnTo>
                  <a:lnTo>
                    <a:pt x="1723" y="147"/>
                  </a:lnTo>
                  <a:lnTo>
                    <a:pt x="1721" y="158"/>
                  </a:lnTo>
                  <a:lnTo>
                    <a:pt x="1721" y="170"/>
                  </a:lnTo>
                  <a:lnTo>
                    <a:pt x="1721" y="175"/>
                  </a:lnTo>
                  <a:lnTo>
                    <a:pt x="1722" y="180"/>
                  </a:lnTo>
                  <a:lnTo>
                    <a:pt x="1725" y="185"/>
                  </a:lnTo>
                  <a:lnTo>
                    <a:pt x="1728" y="191"/>
                  </a:lnTo>
                  <a:lnTo>
                    <a:pt x="1733" y="202"/>
                  </a:lnTo>
                  <a:lnTo>
                    <a:pt x="1737" y="219"/>
                  </a:lnTo>
                  <a:lnTo>
                    <a:pt x="1740" y="226"/>
                  </a:lnTo>
                  <a:lnTo>
                    <a:pt x="1742" y="233"/>
                  </a:lnTo>
                  <a:lnTo>
                    <a:pt x="1746" y="239"/>
                  </a:lnTo>
                  <a:lnTo>
                    <a:pt x="1749" y="242"/>
                  </a:lnTo>
                  <a:lnTo>
                    <a:pt x="1761" y="248"/>
                  </a:lnTo>
                  <a:lnTo>
                    <a:pt x="1769" y="254"/>
                  </a:lnTo>
                  <a:lnTo>
                    <a:pt x="1775" y="259"/>
                  </a:lnTo>
                  <a:lnTo>
                    <a:pt x="1778" y="264"/>
                  </a:lnTo>
                  <a:lnTo>
                    <a:pt x="1780" y="269"/>
                  </a:lnTo>
                  <a:lnTo>
                    <a:pt x="1782" y="273"/>
                  </a:lnTo>
                  <a:lnTo>
                    <a:pt x="1782" y="278"/>
                  </a:lnTo>
                  <a:lnTo>
                    <a:pt x="1780" y="283"/>
                  </a:lnTo>
                  <a:lnTo>
                    <a:pt x="1776" y="293"/>
                  </a:lnTo>
                  <a:lnTo>
                    <a:pt x="1770" y="305"/>
                  </a:lnTo>
                  <a:lnTo>
                    <a:pt x="1768" y="312"/>
                  </a:lnTo>
                  <a:lnTo>
                    <a:pt x="1765" y="319"/>
                  </a:lnTo>
                  <a:lnTo>
                    <a:pt x="1764" y="327"/>
                  </a:lnTo>
                  <a:lnTo>
                    <a:pt x="1763" y="335"/>
                  </a:lnTo>
                  <a:lnTo>
                    <a:pt x="1765" y="344"/>
                  </a:lnTo>
                  <a:lnTo>
                    <a:pt x="1770" y="353"/>
                  </a:lnTo>
                  <a:lnTo>
                    <a:pt x="1771" y="356"/>
                  </a:lnTo>
                  <a:lnTo>
                    <a:pt x="1771" y="361"/>
                  </a:lnTo>
                  <a:lnTo>
                    <a:pt x="1770" y="365"/>
                  </a:lnTo>
                  <a:lnTo>
                    <a:pt x="1767" y="371"/>
                  </a:lnTo>
                  <a:lnTo>
                    <a:pt x="1749" y="392"/>
                  </a:lnTo>
                  <a:lnTo>
                    <a:pt x="1733" y="411"/>
                  </a:lnTo>
                  <a:lnTo>
                    <a:pt x="1726" y="421"/>
                  </a:lnTo>
                  <a:lnTo>
                    <a:pt x="1719" y="432"/>
                  </a:lnTo>
                  <a:lnTo>
                    <a:pt x="1713" y="443"/>
                  </a:lnTo>
                  <a:lnTo>
                    <a:pt x="1707" y="457"/>
                  </a:lnTo>
                  <a:lnTo>
                    <a:pt x="1699" y="474"/>
                  </a:lnTo>
                  <a:lnTo>
                    <a:pt x="1692" y="488"/>
                  </a:lnTo>
                  <a:lnTo>
                    <a:pt x="1692" y="490"/>
                  </a:lnTo>
                  <a:lnTo>
                    <a:pt x="1692" y="493"/>
                  </a:lnTo>
                  <a:lnTo>
                    <a:pt x="1693" y="496"/>
                  </a:lnTo>
                  <a:lnTo>
                    <a:pt x="1694" y="498"/>
                  </a:lnTo>
                  <a:lnTo>
                    <a:pt x="1697" y="500"/>
                  </a:lnTo>
                  <a:lnTo>
                    <a:pt x="1700" y="503"/>
                  </a:lnTo>
                  <a:lnTo>
                    <a:pt x="1705" y="505"/>
                  </a:lnTo>
                  <a:lnTo>
                    <a:pt x="1709" y="507"/>
                  </a:lnTo>
                  <a:lnTo>
                    <a:pt x="1735" y="514"/>
                  </a:lnTo>
                  <a:lnTo>
                    <a:pt x="1765" y="522"/>
                  </a:lnTo>
                  <a:lnTo>
                    <a:pt x="1779" y="528"/>
                  </a:lnTo>
                  <a:lnTo>
                    <a:pt x="1791" y="535"/>
                  </a:lnTo>
                  <a:lnTo>
                    <a:pt x="1797" y="539"/>
                  </a:lnTo>
                  <a:lnTo>
                    <a:pt x="1800" y="543"/>
                  </a:lnTo>
                  <a:lnTo>
                    <a:pt x="1804" y="548"/>
                  </a:lnTo>
                  <a:lnTo>
                    <a:pt x="1806" y="554"/>
                  </a:lnTo>
                  <a:lnTo>
                    <a:pt x="1806" y="556"/>
                  </a:lnTo>
                  <a:lnTo>
                    <a:pt x="1806" y="560"/>
                  </a:lnTo>
                  <a:lnTo>
                    <a:pt x="1805" y="561"/>
                  </a:lnTo>
                  <a:lnTo>
                    <a:pt x="1804" y="563"/>
                  </a:lnTo>
                  <a:lnTo>
                    <a:pt x="1799" y="567"/>
                  </a:lnTo>
                  <a:lnTo>
                    <a:pt x="1793" y="570"/>
                  </a:lnTo>
                  <a:lnTo>
                    <a:pt x="1782" y="574"/>
                  </a:lnTo>
                  <a:lnTo>
                    <a:pt x="1771" y="576"/>
                  </a:lnTo>
                  <a:lnTo>
                    <a:pt x="1761" y="578"/>
                  </a:lnTo>
                  <a:lnTo>
                    <a:pt x="1753" y="582"/>
                  </a:lnTo>
                  <a:lnTo>
                    <a:pt x="1746" y="586"/>
                  </a:lnTo>
                  <a:lnTo>
                    <a:pt x="1740" y="591"/>
                  </a:lnTo>
                  <a:lnTo>
                    <a:pt x="1728" y="604"/>
                  </a:lnTo>
                  <a:lnTo>
                    <a:pt x="1715" y="618"/>
                  </a:lnTo>
                  <a:lnTo>
                    <a:pt x="1709" y="630"/>
                  </a:lnTo>
                  <a:lnTo>
                    <a:pt x="1702" y="641"/>
                  </a:lnTo>
                  <a:lnTo>
                    <a:pt x="1695" y="653"/>
                  </a:lnTo>
                  <a:lnTo>
                    <a:pt x="1687" y="663"/>
                  </a:lnTo>
                  <a:lnTo>
                    <a:pt x="1680" y="674"/>
                  </a:lnTo>
                  <a:lnTo>
                    <a:pt x="1673" y="684"/>
                  </a:lnTo>
                  <a:lnTo>
                    <a:pt x="1666" y="696"/>
                  </a:lnTo>
                  <a:lnTo>
                    <a:pt x="1662" y="708"/>
                  </a:lnTo>
                  <a:lnTo>
                    <a:pt x="1659" y="714"/>
                  </a:lnTo>
                  <a:lnTo>
                    <a:pt x="1659" y="719"/>
                  </a:lnTo>
                  <a:lnTo>
                    <a:pt x="1661" y="724"/>
                  </a:lnTo>
                  <a:lnTo>
                    <a:pt x="1663" y="727"/>
                  </a:lnTo>
                  <a:lnTo>
                    <a:pt x="1666" y="730"/>
                  </a:lnTo>
                  <a:lnTo>
                    <a:pt x="1671" y="731"/>
                  </a:lnTo>
                  <a:lnTo>
                    <a:pt x="1676" y="733"/>
                  </a:lnTo>
                  <a:lnTo>
                    <a:pt x="1682" y="733"/>
                  </a:lnTo>
                  <a:lnTo>
                    <a:pt x="1694" y="734"/>
                  </a:lnTo>
                  <a:lnTo>
                    <a:pt x="1706" y="735"/>
                  </a:lnTo>
                  <a:lnTo>
                    <a:pt x="1712" y="737"/>
                  </a:lnTo>
                  <a:lnTo>
                    <a:pt x="1716" y="738"/>
                  </a:lnTo>
                  <a:lnTo>
                    <a:pt x="1721" y="740"/>
                  </a:lnTo>
                  <a:lnTo>
                    <a:pt x="1723" y="744"/>
                  </a:lnTo>
                  <a:lnTo>
                    <a:pt x="1725" y="747"/>
                  </a:lnTo>
                  <a:lnTo>
                    <a:pt x="1725" y="755"/>
                  </a:lnTo>
                  <a:lnTo>
                    <a:pt x="1722" y="765"/>
                  </a:lnTo>
                  <a:lnTo>
                    <a:pt x="1720" y="776"/>
                  </a:lnTo>
                  <a:lnTo>
                    <a:pt x="1714" y="798"/>
                  </a:lnTo>
                  <a:lnTo>
                    <a:pt x="1711" y="816"/>
                  </a:lnTo>
                  <a:lnTo>
                    <a:pt x="1712" y="823"/>
                  </a:lnTo>
                  <a:lnTo>
                    <a:pt x="1713" y="830"/>
                  </a:lnTo>
                  <a:lnTo>
                    <a:pt x="1715" y="837"/>
                  </a:lnTo>
                  <a:lnTo>
                    <a:pt x="1719" y="844"/>
                  </a:lnTo>
                  <a:lnTo>
                    <a:pt x="1721" y="852"/>
                  </a:lnTo>
                  <a:lnTo>
                    <a:pt x="1723" y="859"/>
                  </a:lnTo>
                  <a:lnTo>
                    <a:pt x="1725" y="865"/>
                  </a:lnTo>
                  <a:lnTo>
                    <a:pt x="1723" y="870"/>
                  </a:lnTo>
                  <a:lnTo>
                    <a:pt x="1722" y="876"/>
                  </a:lnTo>
                  <a:lnTo>
                    <a:pt x="1719" y="881"/>
                  </a:lnTo>
                  <a:lnTo>
                    <a:pt x="1715" y="886"/>
                  </a:lnTo>
                  <a:lnTo>
                    <a:pt x="1712" y="890"/>
                  </a:lnTo>
                  <a:lnTo>
                    <a:pt x="1708" y="894"/>
                  </a:lnTo>
                  <a:lnTo>
                    <a:pt x="1705" y="900"/>
                  </a:lnTo>
                  <a:lnTo>
                    <a:pt x="1702" y="905"/>
                  </a:lnTo>
                  <a:lnTo>
                    <a:pt x="1700" y="912"/>
                  </a:lnTo>
                  <a:lnTo>
                    <a:pt x="1698" y="924"/>
                  </a:lnTo>
                  <a:lnTo>
                    <a:pt x="1698" y="936"/>
                  </a:lnTo>
                  <a:lnTo>
                    <a:pt x="1698" y="947"/>
                  </a:lnTo>
                  <a:lnTo>
                    <a:pt x="1699" y="959"/>
                  </a:lnTo>
                  <a:lnTo>
                    <a:pt x="1700" y="981"/>
                  </a:lnTo>
                  <a:lnTo>
                    <a:pt x="1700" y="1001"/>
                  </a:lnTo>
                  <a:lnTo>
                    <a:pt x="1699" y="1010"/>
                  </a:lnTo>
                  <a:lnTo>
                    <a:pt x="1697" y="1018"/>
                  </a:lnTo>
                  <a:lnTo>
                    <a:pt x="1692" y="1026"/>
                  </a:lnTo>
                  <a:lnTo>
                    <a:pt x="1686" y="1035"/>
                  </a:lnTo>
                  <a:lnTo>
                    <a:pt x="1677" y="1042"/>
                  </a:lnTo>
                  <a:lnTo>
                    <a:pt x="1666" y="1047"/>
                  </a:lnTo>
                  <a:lnTo>
                    <a:pt x="1652" y="1053"/>
                  </a:lnTo>
                  <a:lnTo>
                    <a:pt x="1635" y="1058"/>
                  </a:lnTo>
                  <a:lnTo>
                    <a:pt x="1629" y="1060"/>
                  </a:lnTo>
                  <a:lnTo>
                    <a:pt x="1624" y="1062"/>
                  </a:lnTo>
                  <a:lnTo>
                    <a:pt x="1622" y="1065"/>
                  </a:lnTo>
                  <a:lnTo>
                    <a:pt x="1620" y="1067"/>
                  </a:lnTo>
                  <a:lnTo>
                    <a:pt x="1619" y="1069"/>
                  </a:lnTo>
                  <a:lnTo>
                    <a:pt x="1619" y="1072"/>
                  </a:lnTo>
                  <a:lnTo>
                    <a:pt x="1620" y="1075"/>
                  </a:lnTo>
                  <a:lnTo>
                    <a:pt x="1622" y="1078"/>
                  </a:lnTo>
                  <a:lnTo>
                    <a:pt x="1628" y="1083"/>
                  </a:lnTo>
                  <a:lnTo>
                    <a:pt x="1637" y="1090"/>
                  </a:lnTo>
                  <a:lnTo>
                    <a:pt x="1649" y="1097"/>
                  </a:lnTo>
                  <a:lnTo>
                    <a:pt x="1662" y="1103"/>
                  </a:lnTo>
                  <a:lnTo>
                    <a:pt x="1690" y="1116"/>
                  </a:lnTo>
                  <a:lnTo>
                    <a:pt x="1718" y="1126"/>
                  </a:lnTo>
                  <a:lnTo>
                    <a:pt x="1740" y="1135"/>
                  </a:lnTo>
                  <a:lnTo>
                    <a:pt x="1753" y="1139"/>
                  </a:lnTo>
                  <a:lnTo>
                    <a:pt x="1751" y="1161"/>
                  </a:lnTo>
                  <a:lnTo>
                    <a:pt x="1750" y="1185"/>
                  </a:lnTo>
                  <a:lnTo>
                    <a:pt x="1747" y="1208"/>
                  </a:lnTo>
                  <a:lnTo>
                    <a:pt x="1743" y="1232"/>
                  </a:lnTo>
                  <a:lnTo>
                    <a:pt x="1741" y="1257"/>
                  </a:lnTo>
                  <a:lnTo>
                    <a:pt x="1739" y="1281"/>
                  </a:lnTo>
                  <a:lnTo>
                    <a:pt x="1737" y="1306"/>
                  </a:lnTo>
                  <a:lnTo>
                    <a:pt x="1737" y="1330"/>
                  </a:lnTo>
                  <a:lnTo>
                    <a:pt x="1737" y="1336"/>
                  </a:lnTo>
                  <a:lnTo>
                    <a:pt x="1735" y="1341"/>
                  </a:lnTo>
                  <a:lnTo>
                    <a:pt x="1732" y="1344"/>
                  </a:lnTo>
                  <a:lnTo>
                    <a:pt x="1728" y="1346"/>
                  </a:lnTo>
                  <a:lnTo>
                    <a:pt x="1722" y="1348"/>
                  </a:lnTo>
                  <a:lnTo>
                    <a:pt x="1715" y="1349"/>
                  </a:lnTo>
                  <a:lnTo>
                    <a:pt x="1708" y="1349"/>
                  </a:lnTo>
                  <a:lnTo>
                    <a:pt x="1700" y="1348"/>
                  </a:lnTo>
                  <a:lnTo>
                    <a:pt x="1684" y="1345"/>
                  </a:lnTo>
                  <a:lnTo>
                    <a:pt x="1666" y="1343"/>
                  </a:lnTo>
                  <a:lnTo>
                    <a:pt x="1649" y="1341"/>
                  </a:lnTo>
                  <a:lnTo>
                    <a:pt x="1634" y="1341"/>
                  </a:lnTo>
                  <a:lnTo>
                    <a:pt x="1614" y="1341"/>
                  </a:lnTo>
                  <a:lnTo>
                    <a:pt x="1592" y="1339"/>
                  </a:lnTo>
                  <a:lnTo>
                    <a:pt x="1581" y="1338"/>
                  </a:lnTo>
                  <a:lnTo>
                    <a:pt x="1571" y="1338"/>
                  </a:lnTo>
                  <a:lnTo>
                    <a:pt x="1560" y="1339"/>
                  </a:lnTo>
                  <a:lnTo>
                    <a:pt x="1551" y="1341"/>
                  </a:lnTo>
                  <a:lnTo>
                    <a:pt x="1541" y="1344"/>
                  </a:lnTo>
                  <a:lnTo>
                    <a:pt x="1531" y="1350"/>
                  </a:lnTo>
                  <a:lnTo>
                    <a:pt x="1521" y="1356"/>
                  </a:lnTo>
                  <a:lnTo>
                    <a:pt x="1513" y="1363"/>
                  </a:lnTo>
                  <a:lnTo>
                    <a:pt x="1503" y="1371"/>
                  </a:lnTo>
                  <a:lnTo>
                    <a:pt x="1494" y="1378"/>
                  </a:lnTo>
                  <a:lnTo>
                    <a:pt x="1485" y="1384"/>
                  </a:lnTo>
                  <a:lnTo>
                    <a:pt x="1474" y="1388"/>
                  </a:lnTo>
                  <a:lnTo>
                    <a:pt x="1479" y="1409"/>
                  </a:lnTo>
                  <a:lnTo>
                    <a:pt x="1484" y="1424"/>
                  </a:lnTo>
                  <a:lnTo>
                    <a:pt x="1491" y="1437"/>
                  </a:lnTo>
                  <a:lnTo>
                    <a:pt x="1502" y="1455"/>
                  </a:lnTo>
                  <a:lnTo>
                    <a:pt x="1505" y="1458"/>
                  </a:lnTo>
                  <a:lnTo>
                    <a:pt x="1505" y="1462"/>
                  </a:lnTo>
                  <a:lnTo>
                    <a:pt x="1505" y="1465"/>
                  </a:lnTo>
                  <a:lnTo>
                    <a:pt x="1503" y="1469"/>
                  </a:lnTo>
                  <a:lnTo>
                    <a:pt x="1499" y="1476"/>
                  </a:lnTo>
                  <a:lnTo>
                    <a:pt x="1492" y="1484"/>
                  </a:lnTo>
                  <a:lnTo>
                    <a:pt x="1484" y="1493"/>
                  </a:lnTo>
                  <a:lnTo>
                    <a:pt x="1477" y="1504"/>
                  </a:lnTo>
                  <a:lnTo>
                    <a:pt x="1474" y="1509"/>
                  </a:lnTo>
                  <a:lnTo>
                    <a:pt x="1472" y="1515"/>
                  </a:lnTo>
                  <a:lnTo>
                    <a:pt x="1470" y="1522"/>
                  </a:lnTo>
                  <a:lnTo>
                    <a:pt x="1470" y="1530"/>
                  </a:lnTo>
                  <a:lnTo>
                    <a:pt x="1470" y="1535"/>
                  </a:lnTo>
                  <a:lnTo>
                    <a:pt x="1469" y="1541"/>
                  </a:lnTo>
                  <a:lnTo>
                    <a:pt x="1466" y="1544"/>
                  </a:lnTo>
                  <a:lnTo>
                    <a:pt x="1464" y="1549"/>
                  </a:lnTo>
                  <a:lnTo>
                    <a:pt x="1459" y="1556"/>
                  </a:lnTo>
                  <a:lnTo>
                    <a:pt x="1455" y="1562"/>
                  </a:lnTo>
                  <a:lnTo>
                    <a:pt x="1452" y="1565"/>
                  </a:lnTo>
                  <a:lnTo>
                    <a:pt x="1451" y="1569"/>
                  </a:lnTo>
                  <a:lnTo>
                    <a:pt x="1450" y="1572"/>
                  </a:lnTo>
                  <a:lnTo>
                    <a:pt x="1449" y="1576"/>
                  </a:lnTo>
                  <a:lnTo>
                    <a:pt x="1450" y="1580"/>
                  </a:lnTo>
                  <a:lnTo>
                    <a:pt x="1451" y="1586"/>
                  </a:lnTo>
                  <a:lnTo>
                    <a:pt x="1455" y="1592"/>
                  </a:lnTo>
                  <a:lnTo>
                    <a:pt x="1458" y="1598"/>
                  </a:lnTo>
                  <a:lnTo>
                    <a:pt x="1472" y="1619"/>
                  </a:lnTo>
                  <a:lnTo>
                    <a:pt x="1484" y="1636"/>
                  </a:lnTo>
                  <a:lnTo>
                    <a:pt x="1493" y="1652"/>
                  </a:lnTo>
                  <a:lnTo>
                    <a:pt x="1500" y="1668"/>
                  </a:lnTo>
                  <a:lnTo>
                    <a:pt x="1502" y="1675"/>
                  </a:lnTo>
                  <a:lnTo>
                    <a:pt x="1505" y="1683"/>
                  </a:lnTo>
                  <a:lnTo>
                    <a:pt x="1506" y="1691"/>
                  </a:lnTo>
                  <a:lnTo>
                    <a:pt x="1506" y="1700"/>
                  </a:lnTo>
                  <a:lnTo>
                    <a:pt x="1506" y="1720"/>
                  </a:lnTo>
                  <a:lnTo>
                    <a:pt x="1502" y="1743"/>
                  </a:lnTo>
                  <a:lnTo>
                    <a:pt x="1501" y="1776"/>
                  </a:lnTo>
                  <a:lnTo>
                    <a:pt x="1500" y="1810"/>
                  </a:lnTo>
                  <a:lnTo>
                    <a:pt x="1499" y="1817"/>
                  </a:lnTo>
                  <a:lnTo>
                    <a:pt x="1495" y="1824"/>
                  </a:lnTo>
                  <a:lnTo>
                    <a:pt x="1492" y="1829"/>
                  </a:lnTo>
                  <a:lnTo>
                    <a:pt x="1487" y="1835"/>
                  </a:lnTo>
                  <a:lnTo>
                    <a:pt x="1480" y="1839"/>
                  </a:lnTo>
                  <a:lnTo>
                    <a:pt x="1472" y="1842"/>
                  </a:lnTo>
                  <a:lnTo>
                    <a:pt x="1463" y="1844"/>
                  </a:lnTo>
                  <a:lnTo>
                    <a:pt x="1451" y="1844"/>
                  </a:lnTo>
                  <a:lnTo>
                    <a:pt x="1428" y="1843"/>
                  </a:lnTo>
                  <a:lnTo>
                    <a:pt x="1408" y="1841"/>
                  </a:lnTo>
                  <a:lnTo>
                    <a:pt x="1398" y="1840"/>
                  </a:lnTo>
                  <a:lnTo>
                    <a:pt x="1387" y="1840"/>
                  </a:lnTo>
                  <a:lnTo>
                    <a:pt x="1375" y="1841"/>
                  </a:lnTo>
                  <a:lnTo>
                    <a:pt x="1363" y="1843"/>
                  </a:lnTo>
                  <a:lnTo>
                    <a:pt x="1346" y="1844"/>
                  </a:lnTo>
                  <a:lnTo>
                    <a:pt x="1327" y="1847"/>
                  </a:lnTo>
                  <a:lnTo>
                    <a:pt x="1323" y="1848"/>
                  </a:lnTo>
                  <a:lnTo>
                    <a:pt x="1320" y="1849"/>
                  </a:lnTo>
                  <a:lnTo>
                    <a:pt x="1318" y="1850"/>
                  </a:lnTo>
                  <a:lnTo>
                    <a:pt x="1317" y="1853"/>
                  </a:lnTo>
                  <a:lnTo>
                    <a:pt x="1318" y="1854"/>
                  </a:lnTo>
                  <a:lnTo>
                    <a:pt x="1321" y="1856"/>
                  </a:lnTo>
                  <a:lnTo>
                    <a:pt x="1325" y="1858"/>
                  </a:lnTo>
                  <a:lnTo>
                    <a:pt x="1332" y="1861"/>
                  </a:lnTo>
                  <a:lnTo>
                    <a:pt x="1343" y="1864"/>
                  </a:lnTo>
                  <a:lnTo>
                    <a:pt x="1350" y="1869"/>
                  </a:lnTo>
                  <a:lnTo>
                    <a:pt x="1357" y="1872"/>
                  </a:lnTo>
                  <a:lnTo>
                    <a:pt x="1361" y="1877"/>
                  </a:lnTo>
                  <a:lnTo>
                    <a:pt x="1366" y="1881"/>
                  </a:lnTo>
                  <a:lnTo>
                    <a:pt x="1368" y="1885"/>
                  </a:lnTo>
                  <a:lnTo>
                    <a:pt x="1370" y="1890"/>
                  </a:lnTo>
                  <a:lnTo>
                    <a:pt x="1371" y="1896"/>
                  </a:lnTo>
                  <a:lnTo>
                    <a:pt x="1370" y="1906"/>
                  </a:lnTo>
                  <a:lnTo>
                    <a:pt x="1366" y="1919"/>
                  </a:lnTo>
                  <a:lnTo>
                    <a:pt x="1361" y="1933"/>
                  </a:lnTo>
                  <a:lnTo>
                    <a:pt x="1357" y="1948"/>
                  </a:lnTo>
                  <a:lnTo>
                    <a:pt x="1353" y="1967"/>
                  </a:lnTo>
                  <a:lnTo>
                    <a:pt x="1351" y="1984"/>
                  </a:lnTo>
                  <a:lnTo>
                    <a:pt x="1350" y="2002"/>
                  </a:lnTo>
                  <a:lnTo>
                    <a:pt x="1350" y="2019"/>
                  </a:lnTo>
                  <a:lnTo>
                    <a:pt x="1352" y="2053"/>
                  </a:lnTo>
                  <a:lnTo>
                    <a:pt x="1357" y="2090"/>
                  </a:lnTo>
                  <a:lnTo>
                    <a:pt x="1356" y="2084"/>
                  </a:lnTo>
                  <a:lnTo>
                    <a:pt x="1360" y="2095"/>
                  </a:lnTo>
                  <a:lnTo>
                    <a:pt x="1365" y="2103"/>
                  </a:lnTo>
                  <a:lnTo>
                    <a:pt x="1370" y="2109"/>
                  </a:lnTo>
                  <a:lnTo>
                    <a:pt x="1375" y="2114"/>
                  </a:lnTo>
                  <a:lnTo>
                    <a:pt x="1382" y="2118"/>
                  </a:lnTo>
                  <a:lnTo>
                    <a:pt x="1389" y="2121"/>
                  </a:lnTo>
                  <a:lnTo>
                    <a:pt x="1399" y="2123"/>
                  </a:lnTo>
                  <a:lnTo>
                    <a:pt x="1409" y="2123"/>
                  </a:lnTo>
                  <a:lnTo>
                    <a:pt x="1416" y="2123"/>
                  </a:lnTo>
                  <a:lnTo>
                    <a:pt x="1421" y="2125"/>
                  </a:lnTo>
                  <a:lnTo>
                    <a:pt x="1424" y="2128"/>
                  </a:lnTo>
                  <a:lnTo>
                    <a:pt x="1425" y="2133"/>
                  </a:lnTo>
                  <a:lnTo>
                    <a:pt x="1427" y="2139"/>
                  </a:lnTo>
                  <a:lnTo>
                    <a:pt x="1427" y="2146"/>
                  </a:lnTo>
                  <a:lnTo>
                    <a:pt x="1427" y="2154"/>
                  </a:lnTo>
                  <a:lnTo>
                    <a:pt x="1425" y="2161"/>
                  </a:lnTo>
                  <a:lnTo>
                    <a:pt x="1422" y="2178"/>
                  </a:lnTo>
                  <a:lnTo>
                    <a:pt x="1420" y="2194"/>
                  </a:lnTo>
                  <a:lnTo>
                    <a:pt x="1420" y="2201"/>
                  </a:lnTo>
                  <a:lnTo>
                    <a:pt x="1420" y="2208"/>
                  </a:lnTo>
                  <a:lnTo>
                    <a:pt x="1421" y="2213"/>
                  </a:lnTo>
                  <a:lnTo>
                    <a:pt x="1424" y="2218"/>
                  </a:lnTo>
                  <a:lnTo>
                    <a:pt x="1430" y="2225"/>
                  </a:lnTo>
                  <a:lnTo>
                    <a:pt x="1437" y="2230"/>
                  </a:lnTo>
                  <a:lnTo>
                    <a:pt x="1443" y="2234"/>
                  </a:lnTo>
                  <a:lnTo>
                    <a:pt x="1449" y="2237"/>
                  </a:lnTo>
                  <a:lnTo>
                    <a:pt x="1456" y="2238"/>
                  </a:lnTo>
                  <a:lnTo>
                    <a:pt x="1462" y="2238"/>
                  </a:lnTo>
                  <a:lnTo>
                    <a:pt x="1469" y="2237"/>
                  </a:lnTo>
                  <a:lnTo>
                    <a:pt x="1474" y="2236"/>
                  </a:lnTo>
                  <a:lnTo>
                    <a:pt x="1501" y="2226"/>
                  </a:lnTo>
                  <a:lnTo>
                    <a:pt x="1531" y="2217"/>
                  </a:lnTo>
                  <a:lnTo>
                    <a:pt x="1552" y="2212"/>
                  </a:lnTo>
                  <a:lnTo>
                    <a:pt x="1573" y="2206"/>
                  </a:lnTo>
                  <a:lnTo>
                    <a:pt x="1585" y="2204"/>
                  </a:lnTo>
                  <a:lnTo>
                    <a:pt x="1595" y="2202"/>
                  </a:lnTo>
                  <a:lnTo>
                    <a:pt x="1606" y="2202"/>
                  </a:lnTo>
                  <a:lnTo>
                    <a:pt x="1616" y="2202"/>
                  </a:lnTo>
                  <a:lnTo>
                    <a:pt x="1643" y="2203"/>
                  </a:lnTo>
                  <a:lnTo>
                    <a:pt x="1669" y="2203"/>
                  </a:lnTo>
                  <a:lnTo>
                    <a:pt x="1680" y="2204"/>
                  </a:lnTo>
                  <a:lnTo>
                    <a:pt x="1692" y="2206"/>
                  </a:lnTo>
                  <a:lnTo>
                    <a:pt x="1698" y="2209"/>
                  </a:lnTo>
                  <a:lnTo>
                    <a:pt x="1704" y="2211"/>
                  </a:lnTo>
                  <a:lnTo>
                    <a:pt x="1709" y="2216"/>
                  </a:lnTo>
                  <a:lnTo>
                    <a:pt x="1715" y="2220"/>
                  </a:lnTo>
                  <a:lnTo>
                    <a:pt x="1720" y="2225"/>
                  </a:lnTo>
                  <a:lnTo>
                    <a:pt x="1723" y="2231"/>
                  </a:lnTo>
                  <a:lnTo>
                    <a:pt x="1725" y="2237"/>
                  </a:lnTo>
                  <a:lnTo>
                    <a:pt x="1726" y="2242"/>
                  </a:lnTo>
                  <a:lnTo>
                    <a:pt x="1725" y="2247"/>
                  </a:lnTo>
                  <a:lnTo>
                    <a:pt x="1722" y="2253"/>
                  </a:lnTo>
                  <a:lnTo>
                    <a:pt x="1719" y="2258"/>
                  </a:lnTo>
                  <a:lnTo>
                    <a:pt x="1715" y="2263"/>
                  </a:lnTo>
                  <a:lnTo>
                    <a:pt x="1697" y="2283"/>
                  </a:lnTo>
                  <a:lnTo>
                    <a:pt x="1682" y="2302"/>
                  </a:lnTo>
                  <a:lnTo>
                    <a:pt x="1661" y="2301"/>
                  </a:lnTo>
                  <a:lnTo>
                    <a:pt x="1648" y="2301"/>
                  </a:lnTo>
                  <a:lnTo>
                    <a:pt x="1645" y="2302"/>
                  </a:lnTo>
                  <a:lnTo>
                    <a:pt x="1643" y="2304"/>
                  </a:lnTo>
                  <a:lnTo>
                    <a:pt x="1641" y="2307"/>
                  </a:lnTo>
                  <a:lnTo>
                    <a:pt x="1640" y="2310"/>
                  </a:lnTo>
                  <a:lnTo>
                    <a:pt x="1637" y="2319"/>
                  </a:lnTo>
                  <a:lnTo>
                    <a:pt x="1636" y="2333"/>
                  </a:lnTo>
                  <a:lnTo>
                    <a:pt x="1637" y="2337"/>
                  </a:lnTo>
                  <a:lnTo>
                    <a:pt x="1638" y="2340"/>
                  </a:lnTo>
                  <a:lnTo>
                    <a:pt x="1641" y="2345"/>
                  </a:lnTo>
                  <a:lnTo>
                    <a:pt x="1643" y="2348"/>
                  </a:lnTo>
                  <a:lnTo>
                    <a:pt x="1650" y="2357"/>
                  </a:lnTo>
                  <a:lnTo>
                    <a:pt x="1658" y="2366"/>
                  </a:lnTo>
                  <a:lnTo>
                    <a:pt x="1665" y="2374"/>
                  </a:lnTo>
                  <a:lnTo>
                    <a:pt x="1670" y="2383"/>
                  </a:lnTo>
                  <a:lnTo>
                    <a:pt x="1672" y="2388"/>
                  </a:lnTo>
                  <a:lnTo>
                    <a:pt x="1672" y="2393"/>
                  </a:lnTo>
                  <a:lnTo>
                    <a:pt x="1672" y="2396"/>
                  </a:lnTo>
                  <a:lnTo>
                    <a:pt x="1670" y="2401"/>
                  </a:lnTo>
                  <a:lnTo>
                    <a:pt x="1665" y="2408"/>
                  </a:lnTo>
                  <a:lnTo>
                    <a:pt x="1661" y="2414"/>
                  </a:lnTo>
                  <a:lnTo>
                    <a:pt x="1656" y="2417"/>
                  </a:lnTo>
                  <a:lnTo>
                    <a:pt x="1652" y="2418"/>
                  </a:lnTo>
                  <a:lnTo>
                    <a:pt x="1648" y="2418"/>
                  </a:lnTo>
                  <a:lnTo>
                    <a:pt x="1644" y="2416"/>
                  </a:lnTo>
                  <a:lnTo>
                    <a:pt x="1641" y="2414"/>
                  </a:lnTo>
                  <a:lnTo>
                    <a:pt x="1638" y="2410"/>
                  </a:lnTo>
                  <a:lnTo>
                    <a:pt x="1627" y="2389"/>
                  </a:lnTo>
                  <a:lnTo>
                    <a:pt x="1615" y="2369"/>
                  </a:lnTo>
                  <a:lnTo>
                    <a:pt x="1611" y="2364"/>
                  </a:lnTo>
                  <a:lnTo>
                    <a:pt x="1605" y="2360"/>
                  </a:lnTo>
                  <a:lnTo>
                    <a:pt x="1599" y="2358"/>
                  </a:lnTo>
                  <a:lnTo>
                    <a:pt x="1592" y="2355"/>
                  </a:lnTo>
                  <a:lnTo>
                    <a:pt x="1577" y="2355"/>
                  </a:lnTo>
                  <a:lnTo>
                    <a:pt x="1560" y="2357"/>
                  </a:lnTo>
                  <a:lnTo>
                    <a:pt x="1543" y="2357"/>
                  </a:lnTo>
                  <a:lnTo>
                    <a:pt x="1527" y="2357"/>
                  </a:lnTo>
                  <a:lnTo>
                    <a:pt x="1519" y="2354"/>
                  </a:lnTo>
                  <a:lnTo>
                    <a:pt x="1510" y="2352"/>
                  </a:lnTo>
                  <a:lnTo>
                    <a:pt x="1503" y="2348"/>
                  </a:lnTo>
                  <a:lnTo>
                    <a:pt x="1496" y="2343"/>
                  </a:lnTo>
                  <a:lnTo>
                    <a:pt x="1491" y="2339"/>
                  </a:lnTo>
                  <a:lnTo>
                    <a:pt x="1486" y="2336"/>
                  </a:lnTo>
                  <a:lnTo>
                    <a:pt x="1481" y="2333"/>
                  </a:lnTo>
                  <a:lnTo>
                    <a:pt x="1477" y="2331"/>
                  </a:lnTo>
                  <a:lnTo>
                    <a:pt x="1467" y="2330"/>
                  </a:lnTo>
                  <a:lnTo>
                    <a:pt x="1460" y="2327"/>
                  </a:lnTo>
                  <a:lnTo>
                    <a:pt x="1457" y="2326"/>
                  </a:lnTo>
                  <a:lnTo>
                    <a:pt x="1453" y="2325"/>
                  </a:lnTo>
                  <a:lnTo>
                    <a:pt x="1451" y="2323"/>
                  </a:lnTo>
                  <a:lnTo>
                    <a:pt x="1449" y="2320"/>
                  </a:lnTo>
                  <a:lnTo>
                    <a:pt x="1446" y="2317"/>
                  </a:lnTo>
                  <a:lnTo>
                    <a:pt x="1445" y="2311"/>
                  </a:lnTo>
                  <a:lnTo>
                    <a:pt x="1444" y="2305"/>
                  </a:lnTo>
                  <a:lnTo>
                    <a:pt x="1444" y="2297"/>
                  </a:lnTo>
                  <a:lnTo>
                    <a:pt x="1443" y="2294"/>
                  </a:lnTo>
                  <a:lnTo>
                    <a:pt x="1442" y="2290"/>
                  </a:lnTo>
                  <a:lnTo>
                    <a:pt x="1441" y="2287"/>
                  </a:lnTo>
                  <a:lnTo>
                    <a:pt x="1438" y="2284"/>
                  </a:lnTo>
                  <a:lnTo>
                    <a:pt x="1435" y="2283"/>
                  </a:lnTo>
                  <a:lnTo>
                    <a:pt x="1432" y="2283"/>
                  </a:lnTo>
                  <a:lnTo>
                    <a:pt x="1429" y="2283"/>
                  </a:lnTo>
                  <a:lnTo>
                    <a:pt x="1427" y="2283"/>
                  </a:lnTo>
                  <a:lnTo>
                    <a:pt x="1424" y="2284"/>
                  </a:lnTo>
                  <a:lnTo>
                    <a:pt x="1422" y="2287"/>
                  </a:lnTo>
                  <a:lnTo>
                    <a:pt x="1420" y="2289"/>
                  </a:lnTo>
                  <a:lnTo>
                    <a:pt x="1418" y="2293"/>
                  </a:lnTo>
                  <a:lnTo>
                    <a:pt x="1418" y="2297"/>
                  </a:lnTo>
                  <a:lnTo>
                    <a:pt x="1418" y="2302"/>
                  </a:lnTo>
                  <a:lnTo>
                    <a:pt x="1421" y="2308"/>
                  </a:lnTo>
                  <a:lnTo>
                    <a:pt x="1423" y="2313"/>
                  </a:lnTo>
                  <a:lnTo>
                    <a:pt x="1434" y="2331"/>
                  </a:lnTo>
                  <a:lnTo>
                    <a:pt x="1445" y="2350"/>
                  </a:lnTo>
                  <a:lnTo>
                    <a:pt x="1450" y="2359"/>
                  </a:lnTo>
                  <a:lnTo>
                    <a:pt x="1455" y="2369"/>
                  </a:lnTo>
                  <a:lnTo>
                    <a:pt x="1458" y="2379"/>
                  </a:lnTo>
                  <a:lnTo>
                    <a:pt x="1458" y="2389"/>
                  </a:lnTo>
                  <a:lnTo>
                    <a:pt x="1456" y="2415"/>
                  </a:lnTo>
                  <a:lnTo>
                    <a:pt x="1453" y="2451"/>
                  </a:lnTo>
                  <a:lnTo>
                    <a:pt x="1455" y="2459"/>
                  </a:lnTo>
                  <a:lnTo>
                    <a:pt x="1455" y="2467"/>
                  </a:lnTo>
                  <a:lnTo>
                    <a:pt x="1457" y="2474"/>
                  </a:lnTo>
                  <a:lnTo>
                    <a:pt x="1459" y="2481"/>
                  </a:lnTo>
                  <a:lnTo>
                    <a:pt x="1464" y="2487"/>
                  </a:lnTo>
                  <a:lnTo>
                    <a:pt x="1469" y="2490"/>
                  </a:lnTo>
                  <a:lnTo>
                    <a:pt x="1474" y="2494"/>
                  </a:lnTo>
                  <a:lnTo>
                    <a:pt x="1482" y="2494"/>
                  </a:lnTo>
                  <a:lnTo>
                    <a:pt x="1487" y="2493"/>
                  </a:lnTo>
                  <a:lnTo>
                    <a:pt x="1492" y="2490"/>
                  </a:lnTo>
                  <a:lnTo>
                    <a:pt x="1496" y="2485"/>
                  </a:lnTo>
                  <a:lnTo>
                    <a:pt x="1501" y="2479"/>
                  </a:lnTo>
                  <a:lnTo>
                    <a:pt x="1512" y="2464"/>
                  </a:lnTo>
                  <a:lnTo>
                    <a:pt x="1522" y="2447"/>
                  </a:lnTo>
                  <a:lnTo>
                    <a:pt x="1528" y="2440"/>
                  </a:lnTo>
                  <a:lnTo>
                    <a:pt x="1534" y="2433"/>
                  </a:lnTo>
                  <a:lnTo>
                    <a:pt x="1538" y="2428"/>
                  </a:lnTo>
                  <a:lnTo>
                    <a:pt x="1544" y="2423"/>
                  </a:lnTo>
                  <a:lnTo>
                    <a:pt x="1549" y="2421"/>
                  </a:lnTo>
                  <a:lnTo>
                    <a:pt x="1555" y="2419"/>
                  </a:lnTo>
                  <a:lnTo>
                    <a:pt x="1557" y="2421"/>
                  </a:lnTo>
                  <a:lnTo>
                    <a:pt x="1559" y="2422"/>
                  </a:lnTo>
                  <a:lnTo>
                    <a:pt x="1562" y="2424"/>
                  </a:lnTo>
                  <a:lnTo>
                    <a:pt x="1564" y="2426"/>
                  </a:lnTo>
                  <a:lnTo>
                    <a:pt x="1569" y="2433"/>
                  </a:lnTo>
                  <a:lnTo>
                    <a:pt x="1573" y="2438"/>
                  </a:lnTo>
                  <a:lnTo>
                    <a:pt x="1577" y="2442"/>
                  </a:lnTo>
                  <a:lnTo>
                    <a:pt x="1581" y="2444"/>
                  </a:lnTo>
                  <a:lnTo>
                    <a:pt x="1587" y="2446"/>
                  </a:lnTo>
                  <a:lnTo>
                    <a:pt x="1593" y="2446"/>
                  </a:lnTo>
                  <a:lnTo>
                    <a:pt x="1600" y="2446"/>
                  </a:lnTo>
                  <a:lnTo>
                    <a:pt x="1607" y="2446"/>
                  </a:lnTo>
                  <a:lnTo>
                    <a:pt x="1612" y="2446"/>
                  </a:lnTo>
                  <a:lnTo>
                    <a:pt x="1615" y="2447"/>
                  </a:lnTo>
                  <a:lnTo>
                    <a:pt x="1621" y="2450"/>
                  </a:lnTo>
                  <a:lnTo>
                    <a:pt x="1627" y="2453"/>
                  </a:lnTo>
                  <a:lnTo>
                    <a:pt x="1652" y="2473"/>
                  </a:lnTo>
                  <a:lnTo>
                    <a:pt x="1687" y="2500"/>
                  </a:lnTo>
                  <a:lnTo>
                    <a:pt x="1706" y="2511"/>
                  </a:lnTo>
                  <a:lnTo>
                    <a:pt x="1722" y="2521"/>
                  </a:lnTo>
                  <a:lnTo>
                    <a:pt x="1729" y="2523"/>
                  </a:lnTo>
                  <a:lnTo>
                    <a:pt x="1735" y="2524"/>
                  </a:lnTo>
                  <a:lnTo>
                    <a:pt x="1741" y="2524"/>
                  </a:lnTo>
                  <a:lnTo>
                    <a:pt x="1744" y="2522"/>
                  </a:lnTo>
                  <a:lnTo>
                    <a:pt x="1753" y="2510"/>
                  </a:lnTo>
                  <a:lnTo>
                    <a:pt x="1761" y="2495"/>
                  </a:lnTo>
                  <a:lnTo>
                    <a:pt x="1765" y="2488"/>
                  </a:lnTo>
                  <a:lnTo>
                    <a:pt x="1771" y="2483"/>
                  </a:lnTo>
                  <a:lnTo>
                    <a:pt x="1775" y="2482"/>
                  </a:lnTo>
                  <a:lnTo>
                    <a:pt x="1778" y="2481"/>
                  </a:lnTo>
                  <a:lnTo>
                    <a:pt x="1782" y="2482"/>
                  </a:lnTo>
                  <a:lnTo>
                    <a:pt x="1785" y="2483"/>
                  </a:lnTo>
                  <a:lnTo>
                    <a:pt x="1793" y="2487"/>
                  </a:lnTo>
                  <a:lnTo>
                    <a:pt x="1800" y="2489"/>
                  </a:lnTo>
                  <a:lnTo>
                    <a:pt x="1806" y="2490"/>
                  </a:lnTo>
                  <a:lnTo>
                    <a:pt x="1812" y="2490"/>
                  </a:lnTo>
                  <a:lnTo>
                    <a:pt x="1817" y="2489"/>
                  </a:lnTo>
                  <a:lnTo>
                    <a:pt x="1821" y="2487"/>
                  </a:lnTo>
                  <a:lnTo>
                    <a:pt x="1825" y="2483"/>
                  </a:lnTo>
                  <a:lnTo>
                    <a:pt x="1828" y="2480"/>
                  </a:lnTo>
                  <a:lnTo>
                    <a:pt x="1834" y="2471"/>
                  </a:lnTo>
                  <a:lnTo>
                    <a:pt x="1840" y="2460"/>
                  </a:lnTo>
                  <a:lnTo>
                    <a:pt x="1844" y="2447"/>
                  </a:lnTo>
                  <a:lnTo>
                    <a:pt x="1849" y="2433"/>
                  </a:lnTo>
                  <a:lnTo>
                    <a:pt x="1854" y="2419"/>
                  </a:lnTo>
                  <a:lnTo>
                    <a:pt x="1862" y="2402"/>
                  </a:lnTo>
                  <a:lnTo>
                    <a:pt x="1867" y="2393"/>
                  </a:lnTo>
                  <a:lnTo>
                    <a:pt x="1872" y="2387"/>
                  </a:lnTo>
                  <a:lnTo>
                    <a:pt x="1875" y="2384"/>
                  </a:lnTo>
                  <a:lnTo>
                    <a:pt x="1877" y="2382"/>
                  </a:lnTo>
                  <a:lnTo>
                    <a:pt x="1881" y="2382"/>
                  </a:lnTo>
                  <a:lnTo>
                    <a:pt x="1884" y="2382"/>
                  </a:lnTo>
                  <a:lnTo>
                    <a:pt x="1902" y="2384"/>
                  </a:lnTo>
                  <a:lnTo>
                    <a:pt x="1924" y="2384"/>
                  </a:lnTo>
                  <a:lnTo>
                    <a:pt x="1934" y="2384"/>
                  </a:lnTo>
                  <a:lnTo>
                    <a:pt x="1945" y="2386"/>
                  </a:lnTo>
                  <a:lnTo>
                    <a:pt x="1953" y="2388"/>
                  </a:lnTo>
                  <a:lnTo>
                    <a:pt x="1960" y="2390"/>
                  </a:lnTo>
                  <a:lnTo>
                    <a:pt x="1962" y="2394"/>
                  </a:lnTo>
                  <a:lnTo>
                    <a:pt x="1963" y="2400"/>
                  </a:lnTo>
                  <a:lnTo>
                    <a:pt x="1962" y="2405"/>
                  </a:lnTo>
                  <a:lnTo>
                    <a:pt x="1961" y="2412"/>
                  </a:lnTo>
                  <a:lnTo>
                    <a:pt x="1957" y="2426"/>
                  </a:lnTo>
                  <a:lnTo>
                    <a:pt x="1954" y="2436"/>
                  </a:lnTo>
                  <a:lnTo>
                    <a:pt x="1953" y="2443"/>
                  </a:lnTo>
                  <a:lnTo>
                    <a:pt x="1953" y="2447"/>
                  </a:lnTo>
                  <a:lnTo>
                    <a:pt x="1954" y="2451"/>
                  </a:lnTo>
                  <a:lnTo>
                    <a:pt x="1955" y="2453"/>
                  </a:lnTo>
                  <a:lnTo>
                    <a:pt x="1959" y="2453"/>
                  </a:lnTo>
                  <a:lnTo>
                    <a:pt x="1962" y="2453"/>
                  </a:lnTo>
                  <a:lnTo>
                    <a:pt x="1967" y="2453"/>
                  </a:lnTo>
                  <a:lnTo>
                    <a:pt x="1971" y="2451"/>
                  </a:lnTo>
                  <a:lnTo>
                    <a:pt x="1981" y="2448"/>
                  </a:lnTo>
                  <a:lnTo>
                    <a:pt x="1991" y="2445"/>
                  </a:lnTo>
                  <a:lnTo>
                    <a:pt x="1996" y="2445"/>
                  </a:lnTo>
                  <a:lnTo>
                    <a:pt x="1999" y="2445"/>
                  </a:lnTo>
                  <a:lnTo>
                    <a:pt x="2003" y="2446"/>
                  </a:lnTo>
                  <a:lnTo>
                    <a:pt x="2006" y="2448"/>
                  </a:lnTo>
                  <a:lnTo>
                    <a:pt x="2009" y="2455"/>
                  </a:lnTo>
                  <a:lnTo>
                    <a:pt x="2011" y="2464"/>
                  </a:lnTo>
                  <a:lnTo>
                    <a:pt x="2012" y="2474"/>
                  </a:lnTo>
                  <a:lnTo>
                    <a:pt x="2013" y="2485"/>
                  </a:lnTo>
                  <a:lnTo>
                    <a:pt x="2014" y="2495"/>
                  </a:lnTo>
                  <a:lnTo>
                    <a:pt x="2016" y="2507"/>
                  </a:lnTo>
                  <a:lnTo>
                    <a:pt x="2017" y="2517"/>
                  </a:lnTo>
                  <a:lnTo>
                    <a:pt x="2019" y="2526"/>
                  </a:lnTo>
                  <a:lnTo>
                    <a:pt x="2030" y="2545"/>
                  </a:lnTo>
                  <a:lnTo>
                    <a:pt x="2048" y="2574"/>
                  </a:lnTo>
                  <a:lnTo>
                    <a:pt x="2059" y="2587"/>
                  </a:lnTo>
                  <a:lnTo>
                    <a:pt x="2069" y="2597"/>
                  </a:lnTo>
                  <a:lnTo>
                    <a:pt x="2074" y="2600"/>
                  </a:lnTo>
                  <a:lnTo>
                    <a:pt x="2078" y="2601"/>
                  </a:lnTo>
                  <a:lnTo>
                    <a:pt x="2082" y="2601"/>
                  </a:lnTo>
                  <a:lnTo>
                    <a:pt x="2085" y="2597"/>
                  </a:lnTo>
                  <a:lnTo>
                    <a:pt x="2090" y="2592"/>
                  </a:lnTo>
                  <a:lnTo>
                    <a:pt x="2097" y="2585"/>
                  </a:lnTo>
                  <a:lnTo>
                    <a:pt x="2108" y="2575"/>
                  </a:lnTo>
                  <a:lnTo>
                    <a:pt x="2118" y="2566"/>
                  </a:lnTo>
                  <a:lnTo>
                    <a:pt x="2130" y="2558"/>
                  </a:lnTo>
                  <a:lnTo>
                    <a:pt x="2140" y="2552"/>
                  </a:lnTo>
                  <a:lnTo>
                    <a:pt x="2145" y="2551"/>
                  </a:lnTo>
                  <a:lnTo>
                    <a:pt x="2149" y="2550"/>
                  </a:lnTo>
                  <a:lnTo>
                    <a:pt x="2153" y="2551"/>
                  </a:lnTo>
                  <a:lnTo>
                    <a:pt x="2155" y="2553"/>
                  </a:lnTo>
                  <a:lnTo>
                    <a:pt x="2159" y="2558"/>
                  </a:lnTo>
                  <a:lnTo>
                    <a:pt x="2161" y="2564"/>
                  </a:lnTo>
                  <a:lnTo>
                    <a:pt x="2163" y="2571"/>
                  </a:lnTo>
                  <a:lnTo>
                    <a:pt x="2165" y="2579"/>
                  </a:lnTo>
                  <a:lnTo>
                    <a:pt x="2167" y="2597"/>
                  </a:lnTo>
                  <a:lnTo>
                    <a:pt x="2167" y="2618"/>
                  </a:lnTo>
                  <a:lnTo>
                    <a:pt x="2168" y="2660"/>
                  </a:lnTo>
                  <a:lnTo>
                    <a:pt x="2168" y="2692"/>
                  </a:lnTo>
                  <a:lnTo>
                    <a:pt x="2170" y="2701"/>
                  </a:lnTo>
                  <a:lnTo>
                    <a:pt x="2173" y="2708"/>
                  </a:lnTo>
                  <a:lnTo>
                    <a:pt x="2177" y="2714"/>
                  </a:lnTo>
                  <a:lnTo>
                    <a:pt x="2182" y="2717"/>
                  </a:lnTo>
                  <a:lnTo>
                    <a:pt x="2188" y="2720"/>
                  </a:lnTo>
                  <a:lnTo>
                    <a:pt x="2194" y="2722"/>
                  </a:lnTo>
                  <a:lnTo>
                    <a:pt x="2201" y="2723"/>
                  </a:lnTo>
                  <a:lnTo>
                    <a:pt x="2208" y="2723"/>
                  </a:lnTo>
                  <a:lnTo>
                    <a:pt x="2220" y="2723"/>
                  </a:lnTo>
                  <a:lnTo>
                    <a:pt x="2231" y="2723"/>
                  </a:lnTo>
                  <a:lnTo>
                    <a:pt x="2236" y="2725"/>
                  </a:lnTo>
                  <a:lnTo>
                    <a:pt x="2239" y="2727"/>
                  </a:lnTo>
                  <a:lnTo>
                    <a:pt x="2241" y="2730"/>
                  </a:lnTo>
                  <a:lnTo>
                    <a:pt x="2243" y="2735"/>
                  </a:lnTo>
                  <a:lnTo>
                    <a:pt x="2241" y="2744"/>
                  </a:lnTo>
                  <a:lnTo>
                    <a:pt x="2239" y="2755"/>
                  </a:lnTo>
                  <a:lnTo>
                    <a:pt x="2236" y="2765"/>
                  </a:lnTo>
                  <a:lnTo>
                    <a:pt x="2231" y="2775"/>
                  </a:lnTo>
                  <a:lnTo>
                    <a:pt x="2222" y="2796"/>
                  </a:lnTo>
                  <a:lnTo>
                    <a:pt x="2216" y="2816"/>
                  </a:lnTo>
                  <a:lnTo>
                    <a:pt x="2212" y="2852"/>
                  </a:lnTo>
                  <a:lnTo>
                    <a:pt x="2210" y="2887"/>
                  </a:lnTo>
                  <a:lnTo>
                    <a:pt x="2209" y="2895"/>
                  </a:lnTo>
                  <a:lnTo>
                    <a:pt x="2207" y="2904"/>
                  </a:lnTo>
                  <a:lnTo>
                    <a:pt x="2203" y="2910"/>
                  </a:lnTo>
                  <a:lnTo>
                    <a:pt x="2198" y="2916"/>
                  </a:lnTo>
                  <a:lnTo>
                    <a:pt x="2193" y="2922"/>
                  </a:lnTo>
                  <a:lnTo>
                    <a:pt x="2184" y="2927"/>
                  </a:lnTo>
                  <a:lnTo>
                    <a:pt x="2176" y="2931"/>
                  </a:lnTo>
                  <a:lnTo>
                    <a:pt x="2165" y="2934"/>
                  </a:lnTo>
                  <a:lnTo>
                    <a:pt x="2145" y="2937"/>
                  </a:lnTo>
                  <a:lnTo>
                    <a:pt x="2129" y="2941"/>
                  </a:lnTo>
                  <a:lnTo>
                    <a:pt x="2116" y="2944"/>
                  </a:lnTo>
                  <a:lnTo>
                    <a:pt x="2105" y="2949"/>
                  </a:lnTo>
                  <a:lnTo>
                    <a:pt x="2096" y="2956"/>
                  </a:lnTo>
                  <a:lnTo>
                    <a:pt x="2085" y="2964"/>
                  </a:lnTo>
                  <a:lnTo>
                    <a:pt x="2074" y="2974"/>
                  </a:lnTo>
                  <a:lnTo>
                    <a:pt x="2060" y="2988"/>
                  </a:lnTo>
                  <a:lnTo>
                    <a:pt x="2016" y="2970"/>
                  </a:lnTo>
                  <a:lnTo>
                    <a:pt x="2007" y="2970"/>
                  </a:lnTo>
                  <a:lnTo>
                    <a:pt x="1998" y="2971"/>
                  </a:lnTo>
                  <a:lnTo>
                    <a:pt x="1990" y="2972"/>
                  </a:lnTo>
                  <a:lnTo>
                    <a:pt x="1982" y="2974"/>
                  </a:lnTo>
                  <a:lnTo>
                    <a:pt x="1968" y="2981"/>
                  </a:lnTo>
                  <a:lnTo>
                    <a:pt x="1954" y="2987"/>
                  </a:lnTo>
                  <a:lnTo>
                    <a:pt x="1948" y="2987"/>
                  </a:lnTo>
                  <a:lnTo>
                    <a:pt x="1943" y="2985"/>
                  </a:lnTo>
                  <a:lnTo>
                    <a:pt x="1940" y="2981"/>
                  </a:lnTo>
                  <a:lnTo>
                    <a:pt x="1936" y="2978"/>
                  </a:lnTo>
                  <a:lnTo>
                    <a:pt x="1931" y="2968"/>
                  </a:lnTo>
                  <a:lnTo>
                    <a:pt x="1925" y="2958"/>
                  </a:lnTo>
                  <a:lnTo>
                    <a:pt x="1920" y="2950"/>
                  </a:lnTo>
                  <a:lnTo>
                    <a:pt x="1915" y="2947"/>
                  </a:lnTo>
                  <a:lnTo>
                    <a:pt x="1912" y="2945"/>
                  </a:lnTo>
                  <a:lnTo>
                    <a:pt x="1910" y="2944"/>
                  </a:lnTo>
                  <a:lnTo>
                    <a:pt x="1907" y="2944"/>
                  </a:lnTo>
                  <a:lnTo>
                    <a:pt x="1904" y="2945"/>
                  </a:lnTo>
                  <a:lnTo>
                    <a:pt x="1899" y="2949"/>
                  </a:lnTo>
                  <a:lnTo>
                    <a:pt x="1893" y="2954"/>
                  </a:lnTo>
                  <a:lnTo>
                    <a:pt x="1889" y="2959"/>
                  </a:lnTo>
                  <a:lnTo>
                    <a:pt x="1883" y="2966"/>
                  </a:lnTo>
                  <a:lnTo>
                    <a:pt x="1874" y="2984"/>
                  </a:lnTo>
                  <a:lnTo>
                    <a:pt x="1865" y="3001"/>
                  </a:lnTo>
                  <a:lnTo>
                    <a:pt x="1860" y="3016"/>
                  </a:lnTo>
                  <a:lnTo>
                    <a:pt x="1857" y="3027"/>
                  </a:lnTo>
                  <a:lnTo>
                    <a:pt x="1854" y="3034"/>
                  </a:lnTo>
                  <a:lnTo>
                    <a:pt x="1850" y="3040"/>
                  </a:lnTo>
                  <a:lnTo>
                    <a:pt x="1847" y="3044"/>
                  </a:lnTo>
                  <a:lnTo>
                    <a:pt x="1843" y="3049"/>
                  </a:lnTo>
                  <a:lnTo>
                    <a:pt x="1835" y="3057"/>
                  </a:lnTo>
                  <a:lnTo>
                    <a:pt x="1827" y="3063"/>
                  </a:lnTo>
                  <a:lnTo>
                    <a:pt x="1808" y="3070"/>
                  </a:lnTo>
                  <a:lnTo>
                    <a:pt x="1791" y="3076"/>
                  </a:lnTo>
                  <a:lnTo>
                    <a:pt x="1783" y="3079"/>
                  </a:lnTo>
                  <a:lnTo>
                    <a:pt x="1776" y="3083"/>
                  </a:lnTo>
                  <a:lnTo>
                    <a:pt x="1770" y="3087"/>
                  </a:lnTo>
                  <a:lnTo>
                    <a:pt x="1765" y="3094"/>
                  </a:lnTo>
                  <a:lnTo>
                    <a:pt x="1764" y="3098"/>
                  </a:lnTo>
                  <a:lnTo>
                    <a:pt x="1763" y="3103"/>
                  </a:lnTo>
                  <a:lnTo>
                    <a:pt x="1763" y="3108"/>
                  </a:lnTo>
                  <a:lnTo>
                    <a:pt x="1763" y="3114"/>
                  </a:lnTo>
                  <a:lnTo>
                    <a:pt x="1764" y="3128"/>
                  </a:lnTo>
                  <a:lnTo>
                    <a:pt x="1769" y="3144"/>
                  </a:lnTo>
                  <a:lnTo>
                    <a:pt x="1771" y="3156"/>
                  </a:lnTo>
                  <a:lnTo>
                    <a:pt x="1772" y="3167"/>
                  </a:lnTo>
                  <a:lnTo>
                    <a:pt x="1772" y="3176"/>
                  </a:lnTo>
                  <a:lnTo>
                    <a:pt x="1770" y="3184"/>
                  </a:lnTo>
                  <a:lnTo>
                    <a:pt x="1768" y="3191"/>
                  </a:lnTo>
                  <a:lnTo>
                    <a:pt x="1764" y="3198"/>
                  </a:lnTo>
                  <a:lnTo>
                    <a:pt x="1758" y="3204"/>
                  </a:lnTo>
                  <a:lnTo>
                    <a:pt x="1754" y="3210"/>
                  </a:lnTo>
                  <a:lnTo>
                    <a:pt x="1726" y="3229"/>
                  </a:lnTo>
                  <a:lnTo>
                    <a:pt x="1695" y="3249"/>
                  </a:lnTo>
                  <a:lnTo>
                    <a:pt x="1691" y="3254"/>
                  </a:lnTo>
                  <a:lnTo>
                    <a:pt x="1689" y="3258"/>
                  </a:lnTo>
                  <a:lnTo>
                    <a:pt x="1686" y="3263"/>
                  </a:lnTo>
                  <a:lnTo>
                    <a:pt x="1687" y="3269"/>
                  </a:lnTo>
                  <a:lnTo>
                    <a:pt x="1689" y="3275"/>
                  </a:lnTo>
                  <a:lnTo>
                    <a:pt x="1690" y="3279"/>
                  </a:lnTo>
                  <a:lnTo>
                    <a:pt x="1693" y="3285"/>
                  </a:lnTo>
                  <a:lnTo>
                    <a:pt x="1697" y="3291"/>
                  </a:lnTo>
                  <a:lnTo>
                    <a:pt x="1707" y="3302"/>
                  </a:lnTo>
                  <a:lnTo>
                    <a:pt x="1718" y="3311"/>
                  </a:lnTo>
                  <a:lnTo>
                    <a:pt x="1723" y="3314"/>
                  </a:lnTo>
                  <a:lnTo>
                    <a:pt x="1728" y="3317"/>
                  </a:lnTo>
                  <a:lnTo>
                    <a:pt x="1734" y="3319"/>
                  </a:lnTo>
                  <a:lnTo>
                    <a:pt x="1739" y="3320"/>
                  </a:lnTo>
                  <a:lnTo>
                    <a:pt x="1767" y="3321"/>
                  </a:lnTo>
                  <a:lnTo>
                    <a:pt x="1800" y="3326"/>
                  </a:lnTo>
                  <a:lnTo>
                    <a:pt x="1808" y="3327"/>
                  </a:lnTo>
                  <a:lnTo>
                    <a:pt x="1815" y="3331"/>
                  </a:lnTo>
                  <a:lnTo>
                    <a:pt x="1822" y="3333"/>
                  </a:lnTo>
                  <a:lnTo>
                    <a:pt x="1828" y="3338"/>
                  </a:lnTo>
                  <a:lnTo>
                    <a:pt x="1832" y="3342"/>
                  </a:lnTo>
                  <a:lnTo>
                    <a:pt x="1835" y="3348"/>
                  </a:lnTo>
                  <a:lnTo>
                    <a:pt x="1836" y="3355"/>
                  </a:lnTo>
                  <a:lnTo>
                    <a:pt x="1836" y="3362"/>
                  </a:lnTo>
                  <a:lnTo>
                    <a:pt x="1833" y="3379"/>
                  </a:lnTo>
                  <a:lnTo>
                    <a:pt x="1828" y="3392"/>
                  </a:lnTo>
                  <a:lnTo>
                    <a:pt x="1824" y="3404"/>
                  </a:lnTo>
                  <a:lnTo>
                    <a:pt x="1818" y="3412"/>
                  </a:lnTo>
                  <a:lnTo>
                    <a:pt x="1812" y="3419"/>
                  </a:lnTo>
                  <a:lnTo>
                    <a:pt x="1805" y="3425"/>
                  </a:lnTo>
                  <a:lnTo>
                    <a:pt x="1798" y="3428"/>
                  </a:lnTo>
                  <a:lnTo>
                    <a:pt x="1791" y="3432"/>
                  </a:lnTo>
                  <a:lnTo>
                    <a:pt x="1775" y="3437"/>
                  </a:lnTo>
                  <a:lnTo>
                    <a:pt x="1758" y="3441"/>
                  </a:lnTo>
                  <a:lnTo>
                    <a:pt x="1749" y="3445"/>
                  </a:lnTo>
                  <a:lnTo>
                    <a:pt x="1741" y="3449"/>
                  </a:lnTo>
                  <a:lnTo>
                    <a:pt x="1733" y="3456"/>
                  </a:lnTo>
                  <a:lnTo>
                    <a:pt x="1725" y="3463"/>
                  </a:lnTo>
                  <a:lnTo>
                    <a:pt x="1705" y="3490"/>
                  </a:lnTo>
                  <a:lnTo>
                    <a:pt x="1691" y="3511"/>
                  </a:lnTo>
                  <a:lnTo>
                    <a:pt x="1684" y="3521"/>
                  </a:lnTo>
                  <a:lnTo>
                    <a:pt x="1673" y="3531"/>
                  </a:lnTo>
                  <a:lnTo>
                    <a:pt x="1661" y="3541"/>
                  </a:lnTo>
                  <a:lnTo>
                    <a:pt x="1643" y="3552"/>
                  </a:lnTo>
                  <a:lnTo>
                    <a:pt x="1635" y="3555"/>
                  </a:lnTo>
                  <a:lnTo>
                    <a:pt x="1628" y="3558"/>
                  </a:lnTo>
                  <a:lnTo>
                    <a:pt x="1620" y="3559"/>
                  </a:lnTo>
                  <a:lnTo>
                    <a:pt x="1613" y="3559"/>
                  </a:lnTo>
                  <a:lnTo>
                    <a:pt x="1598" y="3556"/>
                  </a:lnTo>
                  <a:lnTo>
                    <a:pt x="1583" y="3553"/>
                  </a:lnTo>
                  <a:lnTo>
                    <a:pt x="1567" y="3548"/>
                  </a:lnTo>
                  <a:lnTo>
                    <a:pt x="1552" y="3545"/>
                  </a:lnTo>
                  <a:lnTo>
                    <a:pt x="1545" y="3545"/>
                  </a:lnTo>
                  <a:lnTo>
                    <a:pt x="1538" y="3544"/>
                  </a:lnTo>
                  <a:lnTo>
                    <a:pt x="1531" y="3545"/>
                  </a:lnTo>
                  <a:lnTo>
                    <a:pt x="1524" y="3546"/>
                  </a:lnTo>
                  <a:lnTo>
                    <a:pt x="1517" y="3549"/>
                  </a:lnTo>
                  <a:lnTo>
                    <a:pt x="1513" y="3554"/>
                  </a:lnTo>
                  <a:lnTo>
                    <a:pt x="1510" y="3558"/>
                  </a:lnTo>
                  <a:lnTo>
                    <a:pt x="1507" y="3562"/>
                  </a:lnTo>
                  <a:lnTo>
                    <a:pt x="1503" y="3565"/>
                  </a:lnTo>
                  <a:lnTo>
                    <a:pt x="1500" y="3566"/>
                  </a:lnTo>
                  <a:lnTo>
                    <a:pt x="1493" y="3566"/>
                  </a:lnTo>
                  <a:lnTo>
                    <a:pt x="1484" y="3562"/>
                  </a:lnTo>
                  <a:lnTo>
                    <a:pt x="1469" y="3558"/>
                  </a:lnTo>
                  <a:lnTo>
                    <a:pt x="1457" y="3554"/>
                  </a:lnTo>
                  <a:lnTo>
                    <a:pt x="1448" y="3554"/>
                  </a:lnTo>
                  <a:lnTo>
                    <a:pt x="1439" y="3555"/>
                  </a:lnTo>
                  <a:lnTo>
                    <a:pt x="1432" y="3559"/>
                  </a:lnTo>
                  <a:lnTo>
                    <a:pt x="1428" y="3563"/>
                  </a:lnTo>
                  <a:lnTo>
                    <a:pt x="1423" y="3569"/>
                  </a:lnTo>
                  <a:lnTo>
                    <a:pt x="1420" y="3576"/>
                  </a:lnTo>
                  <a:lnTo>
                    <a:pt x="1414" y="3590"/>
                  </a:lnTo>
                  <a:lnTo>
                    <a:pt x="1407" y="3604"/>
                  </a:lnTo>
                  <a:lnTo>
                    <a:pt x="1403" y="3610"/>
                  </a:lnTo>
                  <a:lnTo>
                    <a:pt x="1398" y="3616"/>
                  </a:lnTo>
                  <a:lnTo>
                    <a:pt x="1391" y="3619"/>
                  </a:lnTo>
                  <a:lnTo>
                    <a:pt x="1382" y="3620"/>
                  </a:lnTo>
                  <a:lnTo>
                    <a:pt x="1365" y="3623"/>
                  </a:lnTo>
                  <a:lnTo>
                    <a:pt x="1344" y="3625"/>
                  </a:lnTo>
                  <a:lnTo>
                    <a:pt x="1322" y="3625"/>
                  </a:lnTo>
                  <a:lnTo>
                    <a:pt x="1300" y="3625"/>
                  </a:lnTo>
                  <a:lnTo>
                    <a:pt x="1289" y="3623"/>
                  </a:lnTo>
                  <a:lnTo>
                    <a:pt x="1279" y="3620"/>
                  </a:lnTo>
                  <a:lnTo>
                    <a:pt x="1271" y="3618"/>
                  </a:lnTo>
                  <a:lnTo>
                    <a:pt x="1262" y="3613"/>
                  </a:lnTo>
                  <a:lnTo>
                    <a:pt x="1257" y="3609"/>
                  </a:lnTo>
                  <a:lnTo>
                    <a:pt x="1251" y="3602"/>
                  </a:lnTo>
                  <a:lnTo>
                    <a:pt x="1249" y="3595"/>
                  </a:lnTo>
                  <a:lnTo>
                    <a:pt x="1247" y="3585"/>
                  </a:lnTo>
                  <a:lnTo>
                    <a:pt x="1237" y="3583"/>
                  </a:lnTo>
                  <a:lnTo>
                    <a:pt x="1226" y="3582"/>
                  </a:lnTo>
                  <a:lnTo>
                    <a:pt x="1216" y="3582"/>
                  </a:lnTo>
                  <a:lnTo>
                    <a:pt x="1204" y="3582"/>
                  </a:lnTo>
                  <a:lnTo>
                    <a:pt x="1182" y="3582"/>
                  </a:lnTo>
                  <a:lnTo>
                    <a:pt x="1160" y="3580"/>
                  </a:lnTo>
                  <a:lnTo>
                    <a:pt x="1157" y="3566"/>
                  </a:lnTo>
                  <a:lnTo>
                    <a:pt x="1152" y="3552"/>
                  </a:lnTo>
                  <a:lnTo>
                    <a:pt x="1144" y="3539"/>
                  </a:lnTo>
                  <a:lnTo>
                    <a:pt x="1134" y="3527"/>
                  </a:lnTo>
                  <a:lnTo>
                    <a:pt x="1130" y="3521"/>
                  </a:lnTo>
                  <a:lnTo>
                    <a:pt x="1124" y="3517"/>
                  </a:lnTo>
                  <a:lnTo>
                    <a:pt x="1118" y="3512"/>
                  </a:lnTo>
                  <a:lnTo>
                    <a:pt x="1112" y="3509"/>
                  </a:lnTo>
                  <a:lnTo>
                    <a:pt x="1105" y="3505"/>
                  </a:lnTo>
                  <a:lnTo>
                    <a:pt x="1098" y="3503"/>
                  </a:lnTo>
                  <a:lnTo>
                    <a:pt x="1091" y="3501"/>
                  </a:lnTo>
                  <a:lnTo>
                    <a:pt x="1084" y="3499"/>
                  </a:lnTo>
                  <a:lnTo>
                    <a:pt x="1074" y="3498"/>
                  </a:lnTo>
                  <a:lnTo>
                    <a:pt x="1065" y="3496"/>
                  </a:lnTo>
                  <a:lnTo>
                    <a:pt x="1054" y="3494"/>
                  </a:lnTo>
                  <a:lnTo>
                    <a:pt x="1045" y="3490"/>
                  </a:lnTo>
                  <a:lnTo>
                    <a:pt x="1025" y="3482"/>
                  </a:lnTo>
                  <a:lnTo>
                    <a:pt x="1006" y="3473"/>
                  </a:lnTo>
                  <a:lnTo>
                    <a:pt x="987" y="3463"/>
                  </a:lnTo>
                  <a:lnTo>
                    <a:pt x="967" y="3454"/>
                  </a:lnTo>
                  <a:lnTo>
                    <a:pt x="946" y="3446"/>
                  </a:lnTo>
                  <a:lnTo>
                    <a:pt x="925" y="3440"/>
                  </a:lnTo>
                  <a:lnTo>
                    <a:pt x="917" y="3438"/>
                  </a:lnTo>
                  <a:lnTo>
                    <a:pt x="909" y="3435"/>
                  </a:lnTo>
                  <a:lnTo>
                    <a:pt x="902" y="3432"/>
                  </a:lnTo>
                  <a:lnTo>
                    <a:pt x="896" y="3428"/>
                  </a:lnTo>
                  <a:lnTo>
                    <a:pt x="884" y="3420"/>
                  </a:lnTo>
                  <a:lnTo>
                    <a:pt x="873" y="3412"/>
                  </a:lnTo>
                  <a:lnTo>
                    <a:pt x="862" y="3404"/>
                  </a:lnTo>
                  <a:lnTo>
                    <a:pt x="852" y="3396"/>
                  </a:lnTo>
                  <a:lnTo>
                    <a:pt x="839" y="3390"/>
                  </a:lnTo>
                  <a:lnTo>
                    <a:pt x="824" y="3384"/>
                  </a:lnTo>
                  <a:lnTo>
                    <a:pt x="804" y="3381"/>
                  </a:lnTo>
                  <a:lnTo>
                    <a:pt x="782" y="3377"/>
                  </a:lnTo>
                  <a:lnTo>
                    <a:pt x="770" y="3375"/>
                  </a:lnTo>
                  <a:lnTo>
                    <a:pt x="761" y="3371"/>
                  </a:lnTo>
                  <a:lnTo>
                    <a:pt x="751" y="3368"/>
                  </a:lnTo>
                  <a:lnTo>
                    <a:pt x="743" y="3361"/>
                  </a:lnTo>
                  <a:lnTo>
                    <a:pt x="713" y="3333"/>
                  </a:lnTo>
                  <a:lnTo>
                    <a:pt x="679" y="3302"/>
                  </a:lnTo>
                  <a:lnTo>
                    <a:pt x="663" y="3286"/>
                  </a:lnTo>
                  <a:lnTo>
                    <a:pt x="648" y="3270"/>
                  </a:lnTo>
                  <a:lnTo>
                    <a:pt x="642" y="3262"/>
                  </a:lnTo>
                  <a:lnTo>
                    <a:pt x="636" y="3254"/>
                  </a:lnTo>
                  <a:lnTo>
                    <a:pt x="630" y="3246"/>
                  </a:lnTo>
                  <a:lnTo>
                    <a:pt x="627" y="3238"/>
                  </a:lnTo>
                  <a:lnTo>
                    <a:pt x="616" y="3214"/>
                  </a:lnTo>
                  <a:lnTo>
                    <a:pt x="607" y="3193"/>
                  </a:lnTo>
                  <a:lnTo>
                    <a:pt x="602" y="3184"/>
                  </a:lnTo>
                  <a:lnTo>
                    <a:pt x="597" y="3175"/>
                  </a:lnTo>
                  <a:lnTo>
                    <a:pt x="590" y="3164"/>
                  </a:lnTo>
                  <a:lnTo>
                    <a:pt x="579" y="3154"/>
                  </a:lnTo>
                  <a:lnTo>
                    <a:pt x="570" y="3144"/>
                  </a:lnTo>
                  <a:lnTo>
                    <a:pt x="559" y="3136"/>
                  </a:lnTo>
                  <a:lnTo>
                    <a:pt x="549" y="3129"/>
                  </a:lnTo>
                  <a:lnTo>
                    <a:pt x="537" y="3122"/>
                  </a:lnTo>
                  <a:lnTo>
                    <a:pt x="527" y="3116"/>
                  </a:lnTo>
                  <a:lnTo>
                    <a:pt x="516" y="3109"/>
                  </a:lnTo>
                  <a:lnTo>
                    <a:pt x="507" y="3103"/>
                  </a:lnTo>
                  <a:lnTo>
                    <a:pt x="499" y="3094"/>
                  </a:lnTo>
                  <a:lnTo>
                    <a:pt x="378" y="3041"/>
                  </a:lnTo>
                  <a:lnTo>
                    <a:pt x="309" y="2750"/>
                  </a:lnTo>
                  <a:lnTo>
                    <a:pt x="303" y="2717"/>
                  </a:lnTo>
                  <a:lnTo>
                    <a:pt x="298" y="2682"/>
                  </a:lnTo>
                  <a:lnTo>
                    <a:pt x="293" y="2645"/>
                  </a:lnTo>
                  <a:lnTo>
                    <a:pt x="288" y="2608"/>
                  </a:lnTo>
                  <a:lnTo>
                    <a:pt x="284" y="2572"/>
                  </a:lnTo>
                  <a:lnTo>
                    <a:pt x="277" y="2536"/>
                  </a:lnTo>
                  <a:lnTo>
                    <a:pt x="272" y="2519"/>
                  </a:lnTo>
                  <a:lnTo>
                    <a:pt x="267" y="2503"/>
                  </a:lnTo>
                  <a:lnTo>
                    <a:pt x="261" y="2487"/>
                  </a:lnTo>
                  <a:lnTo>
                    <a:pt x="256" y="2473"/>
                  </a:lnTo>
                  <a:lnTo>
                    <a:pt x="233" y="2432"/>
                  </a:lnTo>
                  <a:lnTo>
                    <a:pt x="208" y="2390"/>
                  </a:lnTo>
                  <a:lnTo>
                    <a:pt x="196" y="2369"/>
                  </a:lnTo>
                  <a:lnTo>
                    <a:pt x="185" y="2348"/>
                  </a:lnTo>
                  <a:lnTo>
                    <a:pt x="174" y="2329"/>
                  </a:lnTo>
                  <a:lnTo>
                    <a:pt x="167" y="2310"/>
                  </a:lnTo>
                  <a:lnTo>
                    <a:pt x="165" y="2295"/>
                  </a:lnTo>
                  <a:lnTo>
                    <a:pt x="161" y="2280"/>
                  </a:lnTo>
                  <a:lnTo>
                    <a:pt x="157" y="2266"/>
                  </a:lnTo>
                  <a:lnTo>
                    <a:pt x="150" y="2251"/>
                  </a:lnTo>
                  <a:lnTo>
                    <a:pt x="144" y="2236"/>
                  </a:lnTo>
                  <a:lnTo>
                    <a:pt x="139" y="2222"/>
                  </a:lnTo>
                  <a:lnTo>
                    <a:pt x="135" y="2206"/>
                  </a:lnTo>
                  <a:lnTo>
                    <a:pt x="133" y="2190"/>
                  </a:lnTo>
                  <a:lnTo>
                    <a:pt x="135" y="2167"/>
                  </a:lnTo>
                  <a:lnTo>
                    <a:pt x="135" y="2145"/>
                  </a:lnTo>
                  <a:lnTo>
                    <a:pt x="133" y="2134"/>
                  </a:lnTo>
                  <a:lnTo>
                    <a:pt x="131" y="2124"/>
                  </a:lnTo>
                  <a:lnTo>
                    <a:pt x="128" y="2113"/>
                  </a:lnTo>
                  <a:lnTo>
                    <a:pt x="122" y="2102"/>
                  </a:lnTo>
                  <a:lnTo>
                    <a:pt x="103" y="2061"/>
                  </a:lnTo>
                  <a:lnTo>
                    <a:pt x="86" y="2026"/>
                  </a:lnTo>
                  <a:lnTo>
                    <a:pt x="81" y="2018"/>
                  </a:lnTo>
                  <a:lnTo>
                    <a:pt x="76" y="2010"/>
                  </a:lnTo>
                  <a:lnTo>
                    <a:pt x="69" y="2003"/>
                  </a:lnTo>
                  <a:lnTo>
                    <a:pt x="62" y="1996"/>
                  </a:lnTo>
                  <a:lnTo>
                    <a:pt x="55" y="1989"/>
                  </a:lnTo>
                  <a:lnTo>
                    <a:pt x="46" y="1982"/>
                  </a:lnTo>
                  <a:lnTo>
                    <a:pt x="36" y="1976"/>
                  </a:lnTo>
                  <a:lnTo>
                    <a:pt x="24" y="1970"/>
                  </a:lnTo>
                  <a:lnTo>
                    <a:pt x="18" y="1968"/>
                  </a:lnTo>
                  <a:lnTo>
                    <a:pt x="13" y="1963"/>
                  </a:lnTo>
                  <a:lnTo>
                    <a:pt x="9" y="1959"/>
                  </a:lnTo>
                  <a:lnTo>
                    <a:pt x="5" y="1954"/>
                  </a:lnTo>
                  <a:lnTo>
                    <a:pt x="3" y="1948"/>
                  </a:lnTo>
                  <a:lnTo>
                    <a:pt x="1" y="1942"/>
                  </a:lnTo>
                  <a:lnTo>
                    <a:pt x="0" y="1935"/>
                  </a:lnTo>
                  <a:lnTo>
                    <a:pt x="0" y="1929"/>
                  </a:lnTo>
                  <a:lnTo>
                    <a:pt x="1" y="1924"/>
                  </a:lnTo>
                  <a:lnTo>
                    <a:pt x="2" y="1917"/>
                  </a:lnTo>
                  <a:lnTo>
                    <a:pt x="4" y="1912"/>
                  </a:lnTo>
                  <a:lnTo>
                    <a:pt x="6" y="1906"/>
                  </a:lnTo>
                  <a:lnTo>
                    <a:pt x="10" y="1902"/>
                  </a:lnTo>
                  <a:lnTo>
                    <a:pt x="15" y="1897"/>
                  </a:lnTo>
                  <a:lnTo>
                    <a:pt x="20" y="1893"/>
                  </a:lnTo>
                  <a:lnTo>
                    <a:pt x="26" y="1891"/>
                  </a:lnTo>
                  <a:lnTo>
                    <a:pt x="62" y="1849"/>
                  </a:lnTo>
                  <a:lnTo>
                    <a:pt x="80" y="1750"/>
                  </a:lnTo>
                  <a:lnTo>
                    <a:pt x="81" y="1743"/>
                  </a:lnTo>
                  <a:lnTo>
                    <a:pt x="79" y="1735"/>
                  </a:lnTo>
                  <a:lnTo>
                    <a:pt x="76" y="1725"/>
                  </a:lnTo>
                  <a:lnTo>
                    <a:pt x="73" y="1714"/>
                  </a:lnTo>
                  <a:lnTo>
                    <a:pt x="69" y="1705"/>
                  </a:lnTo>
                  <a:lnTo>
                    <a:pt x="65" y="1697"/>
                  </a:lnTo>
                  <a:lnTo>
                    <a:pt x="61" y="1693"/>
                  </a:lnTo>
                  <a:lnTo>
                    <a:pt x="59" y="1690"/>
                  </a:lnTo>
                  <a:lnTo>
                    <a:pt x="57" y="1689"/>
                  </a:lnTo>
                  <a:lnTo>
                    <a:pt x="53" y="1687"/>
                  </a:lnTo>
                  <a:lnTo>
                    <a:pt x="54" y="1685"/>
                  </a:lnTo>
                  <a:lnTo>
                    <a:pt x="55" y="1683"/>
                  </a:lnTo>
                  <a:lnTo>
                    <a:pt x="58" y="1682"/>
                  </a:lnTo>
                  <a:lnTo>
                    <a:pt x="60" y="1680"/>
                  </a:lnTo>
                  <a:lnTo>
                    <a:pt x="67" y="1679"/>
                  </a:lnTo>
                  <a:lnTo>
                    <a:pt x="75" y="1677"/>
                  </a:lnTo>
                  <a:lnTo>
                    <a:pt x="82" y="1675"/>
                  </a:lnTo>
                  <a:lnTo>
                    <a:pt x="88" y="1671"/>
                  </a:lnTo>
                  <a:lnTo>
                    <a:pt x="90" y="1669"/>
                  </a:lnTo>
                  <a:lnTo>
                    <a:pt x="91" y="1665"/>
                  </a:lnTo>
                  <a:lnTo>
                    <a:pt x="91" y="1662"/>
                  </a:lnTo>
                  <a:lnTo>
                    <a:pt x="91" y="1657"/>
                  </a:lnTo>
                  <a:lnTo>
                    <a:pt x="87" y="1645"/>
                  </a:lnTo>
                  <a:lnTo>
                    <a:pt x="80" y="1636"/>
                  </a:lnTo>
                  <a:lnTo>
                    <a:pt x="73" y="1626"/>
                  </a:lnTo>
                  <a:lnTo>
                    <a:pt x="65" y="1616"/>
                  </a:lnTo>
                  <a:lnTo>
                    <a:pt x="57" y="1606"/>
                  </a:lnTo>
                  <a:lnTo>
                    <a:pt x="50" y="1595"/>
                  </a:lnTo>
                  <a:lnTo>
                    <a:pt x="47" y="1590"/>
                  </a:lnTo>
                  <a:lnTo>
                    <a:pt x="45" y="1583"/>
                  </a:lnTo>
                  <a:lnTo>
                    <a:pt x="44" y="1576"/>
                  </a:lnTo>
                  <a:lnTo>
                    <a:pt x="43" y="1569"/>
                  </a:lnTo>
                  <a:lnTo>
                    <a:pt x="43" y="1556"/>
                  </a:lnTo>
                  <a:lnTo>
                    <a:pt x="44" y="1543"/>
                  </a:lnTo>
                  <a:lnTo>
                    <a:pt x="44" y="1531"/>
                  </a:lnTo>
                  <a:lnTo>
                    <a:pt x="45" y="1519"/>
                  </a:lnTo>
                  <a:lnTo>
                    <a:pt x="43" y="1504"/>
                  </a:lnTo>
                  <a:lnTo>
                    <a:pt x="38" y="1483"/>
                  </a:lnTo>
                  <a:lnTo>
                    <a:pt x="33" y="1463"/>
                  </a:lnTo>
                  <a:lnTo>
                    <a:pt x="31" y="1446"/>
                  </a:lnTo>
                  <a:lnTo>
                    <a:pt x="55" y="1442"/>
                  </a:lnTo>
                  <a:lnTo>
                    <a:pt x="76" y="1436"/>
                  </a:lnTo>
                  <a:lnTo>
                    <a:pt x="80" y="1434"/>
                  </a:lnTo>
                  <a:lnTo>
                    <a:pt x="83" y="1431"/>
                  </a:lnTo>
                  <a:lnTo>
                    <a:pt x="87" y="1428"/>
                  </a:lnTo>
                  <a:lnTo>
                    <a:pt x="90" y="1424"/>
                  </a:lnTo>
                  <a:lnTo>
                    <a:pt x="93" y="1419"/>
                  </a:lnTo>
                  <a:lnTo>
                    <a:pt x="94" y="1413"/>
                  </a:lnTo>
                  <a:lnTo>
                    <a:pt x="95" y="1406"/>
                  </a:lnTo>
                  <a:lnTo>
                    <a:pt x="95" y="1398"/>
                  </a:lnTo>
                  <a:lnTo>
                    <a:pt x="96" y="1382"/>
                  </a:lnTo>
                  <a:lnTo>
                    <a:pt x="97" y="1364"/>
                  </a:lnTo>
                  <a:lnTo>
                    <a:pt x="100" y="1345"/>
                  </a:lnTo>
                  <a:lnTo>
                    <a:pt x="102" y="1330"/>
                  </a:lnTo>
                  <a:lnTo>
                    <a:pt x="104" y="1323"/>
                  </a:lnTo>
                  <a:lnTo>
                    <a:pt x="108" y="1318"/>
                  </a:lnTo>
                  <a:lnTo>
                    <a:pt x="111" y="1315"/>
                  </a:lnTo>
                  <a:lnTo>
                    <a:pt x="115" y="1313"/>
                  </a:lnTo>
                  <a:lnTo>
                    <a:pt x="124" y="1310"/>
                  </a:lnTo>
                  <a:lnTo>
                    <a:pt x="133" y="1309"/>
                  </a:lnTo>
                  <a:lnTo>
                    <a:pt x="138" y="1308"/>
                  </a:lnTo>
                  <a:lnTo>
                    <a:pt x="142" y="1308"/>
                  </a:lnTo>
                  <a:lnTo>
                    <a:pt x="145" y="1306"/>
                  </a:lnTo>
                  <a:lnTo>
                    <a:pt x="147" y="1303"/>
                  </a:lnTo>
                  <a:lnTo>
                    <a:pt x="150" y="1300"/>
                  </a:lnTo>
                  <a:lnTo>
                    <a:pt x="150" y="1294"/>
                  </a:lnTo>
                  <a:lnTo>
                    <a:pt x="150" y="1288"/>
                  </a:lnTo>
                  <a:lnTo>
                    <a:pt x="147" y="1279"/>
                  </a:lnTo>
                  <a:lnTo>
                    <a:pt x="146" y="1268"/>
                  </a:lnTo>
                  <a:lnTo>
                    <a:pt x="146" y="1261"/>
                  </a:lnTo>
                  <a:lnTo>
                    <a:pt x="147" y="1257"/>
                  </a:lnTo>
                  <a:lnTo>
                    <a:pt x="151" y="1254"/>
                  </a:lnTo>
                  <a:lnTo>
                    <a:pt x="155" y="1251"/>
                  </a:lnTo>
                  <a:lnTo>
                    <a:pt x="160" y="1249"/>
                  </a:lnTo>
                  <a:lnTo>
                    <a:pt x="165" y="1243"/>
                  </a:lnTo>
                  <a:lnTo>
                    <a:pt x="169" y="1236"/>
                  </a:lnTo>
                  <a:lnTo>
                    <a:pt x="172" y="1232"/>
                  </a:lnTo>
                  <a:lnTo>
                    <a:pt x="172" y="1229"/>
                  </a:lnTo>
                  <a:lnTo>
                    <a:pt x="172" y="1225"/>
                  </a:lnTo>
                  <a:lnTo>
                    <a:pt x="171" y="1222"/>
                  </a:lnTo>
                  <a:lnTo>
                    <a:pt x="167" y="1215"/>
                  </a:lnTo>
                  <a:lnTo>
                    <a:pt x="162" y="1208"/>
                  </a:lnTo>
                  <a:lnTo>
                    <a:pt x="157" y="1201"/>
                  </a:lnTo>
                  <a:lnTo>
                    <a:pt x="151" y="1194"/>
                  </a:lnTo>
                  <a:lnTo>
                    <a:pt x="146" y="1187"/>
                  </a:lnTo>
                  <a:lnTo>
                    <a:pt x="144" y="1181"/>
                  </a:lnTo>
                  <a:lnTo>
                    <a:pt x="137" y="1173"/>
                  </a:lnTo>
                  <a:lnTo>
                    <a:pt x="131" y="1165"/>
                  </a:lnTo>
                  <a:lnTo>
                    <a:pt x="126" y="1156"/>
                  </a:lnTo>
                  <a:lnTo>
                    <a:pt x="122" y="1145"/>
                  </a:lnTo>
                  <a:lnTo>
                    <a:pt x="115" y="1124"/>
                  </a:lnTo>
                  <a:lnTo>
                    <a:pt x="107" y="1106"/>
                  </a:lnTo>
                  <a:lnTo>
                    <a:pt x="101" y="1099"/>
                  </a:lnTo>
                  <a:lnTo>
                    <a:pt x="94" y="1093"/>
                  </a:lnTo>
                  <a:lnTo>
                    <a:pt x="87" y="1086"/>
                  </a:lnTo>
                  <a:lnTo>
                    <a:pt x="79" y="1080"/>
                  </a:lnTo>
                  <a:lnTo>
                    <a:pt x="71" y="1073"/>
                  </a:lnTo>
                  <a:lnTo>
                    <a:pt x="65" y="1066"/>
                  </a:lnTo>
                  <a:lnTo>
                    <a:pt x="62" y="1062"/>
                  </a:lnTo>
                  <a:lnTo>
                    <a:pt x="60" y="1059"/>
                  </a:lnTo>
                  <a:lnTo>
                    <a:pt x="59" y="1055"/>
                  </a:lnTo>
                  <a:lnTo>
                    <a:pt x="59" y="1051"/>
                  </a:lnTo>
                  <a:lnTo>
                    <a:pt x="64" y="1050"/>
                  </a:lnTo>
                  <a:lnTo>
                    <a:pt x="69" y="1050"/>
                  </a:lnTo>
                  <a:lnTo>
                    <a:pt x="76" y="1050"/>
                  </a:lnTo>
                  <a:lnTo>
                    <a:pt x="83" y="1051"/>
                  </a:lnTo>
                  <a:lnTo>
                    <a:pt x="90" y="1053"/>
                  </a:lnTo>
                  <a:lnTo>
                    <a:pt x="98" y="1053"/>
                  </a:lnTo>
                  <a:lnTo>
                    <a:pt x="105" y="1052"/>
                  </a:lnTo>
                  <a:lnTo>
                    <a:pt x="112" y="1050"/>
                  </a:lnTo>
                  <a:lnTo>
                    <a:pt x="123" y="1040"/>
                  </a:lnTo>
                  <a:lnTo>
                    <a:pt x="132" y="1030"/>
                  </a:lnTo>
                  <a:lnTo>
                    <a:pt x="142" y="1018"/>
                  </a:lnTo>
                  <a:lnTo>
                    <a:pt x="151" y="1005"/>
                  </a:lnTo>
                  <a:lnTo>
                    <a:pt x="160" y="995"/>
                  </a:lnTo>
                  <a:lnTo>
                    <a:pt x="171" y="986"/>
                  </a:lnTo>
                  <a:lnTo>
                    <a:pt x="176" y="982"/>
                  </a:lnTo>
                  <a:lnTo>
                    <a:pt x="183" y="980"/>
                  </a:lnTo>
                  <a:lnTo>
                    <a:pt x="190" y="979"/>
                  </a:lnTo>
                  <a:lnTo>
                    <a:pt x="197" y="979"/>
                  </a:lnTo>
                  <a:lnTo>
                    <a:pt x="203" y="981"/>
                  </a:lnTo>
                  <a:lnTo>
                    <a:pt x="210" y="984"/>
                  </a:lnTo>
                  <a:lnTo>
                    <a:pt x="216" y="990"/>
                  </a:lnTo>
                  <a:lnTo>
                    <a:pt x="222" y="996"/>
                  </a:lnTo>
                  <a:lnTo>
                    <a:pt x="229" y="1002"/>
                  </a:lnTo>
                  <a:lnTo>
                    <a:pt x="236" y="1005"/>
                  </a:lnTo>
                  <a:lnTo>
                    <a:pt x="239" y="1005"/>
                  </a:lnTo>
                  <a:lnTo>
                    <a:pt x="243" y="1005"/>
                  </a:lnTo>
                  <a:lnTo>
                    <a:pt x="247" y="1004"/>
                  </a:lnTo>
                  <a:lnTo>
                    <a:pt x="251" y="1003"/>
                  </a:lnTo>
                  <a:lnTo>
                    <a:pt x="257" y="998"/>
                  </a:lnTo>
                  <a:lnTo>
                    <a:pt x="260" y="993"/>
                  </a:lnTo>
                  <a:lnTo>
                    <a:pt x="263" y="986"/>
                  </a:lnTo>
                  <a:lnTo>
                    <a:pt x="265" y="979"/>
                  </a:lnTo>
                  <a:lnTo>
                    <a:pt x="267" y="972"/>
                  </a:lnTo>
                  <a:lnTo>
                    <a:pt x="270" y="965"/>
                  </a:lnTo>
                  <a:lnTo>
                    <a:pt x="274" y="959"/>
                  </a:lnTo>
                  <a:lnTo>
                    <a:pt x="279" y="954"/>
                  </a:lnTo>
                  <a:lnTo>
                    <a:pt x="370" y="891"/>
                  </a:lnTo>
                  <a:lnTo>
                    <a:pt x="375" y="887"/>
                  </a:lnTo>
                  <a:lnTo>
                    <a:pt x="381" y="881"/>
                  </a:lnTo>
                  <a:lnTo>
                    <a:pt x="387" y="875"/>
                  </a:lnTo>
                  <a:lnTo>
                    <a:pt x="391" y="869"/>
                  </a:lnTo>
                  <a:lnTo>
                    <a:pt x="399" y="858"/>
                  </a:lnTo>
                  <a:lnTo>
                    <a:pt x="405" y="845"/>
                  </a:lnTo>
                  <a:lnTo>
                    <a:pt x="410" y="832"/>
                  </a:lnTo>
                  <a:lnTo>
                    <a:pt x="417" y="820"/>
                  </a:lnTo>
                  <a:lnTo>
                    <a:pt x="424" y="808"/>
                  </a:lnTo>
                  <a:lnTo>
                    <a:pt x="435" y="796"/>
                  </a:lnTo>
                  <a:lnTo>
                    <a:pt x="438" y="796"/>
                  </a:lnTo>
                  <a:lnTo>
                    <a:pt x="443" y="798"/>
                  </a:lnTo>
                  <a:lnTo>
                    <a:pt x="448" y="801"/>
                  </a:lnTo>
                  <a:lnTo>
                    <a:pt x="452" y="803"/>
                  </a:lnTo>
                  <a:lnTo>
                    <a:pt x="463" y="811"/>
                  </a:lnTo>
                  <a:lnTo>
                    <a:pt x="474" y="820"/>
                  </a:lnTo>
                  <a:lnTo>
                    <a:pt x="497" y="839"/>
                  </a:lnTo>
                  <a:lnTo>
                    <a:pt x="513" y="853"/>
                  </a:lnTo>
                  <a:lnTo>
                    <a:pt x="521" y="856"/>
                  </a:lnTo>
                  <a:lnTo>
                    <a:pt x="530" y="858"/>
                  </a:lnTo>
                  <a:lnTo>
                    <a:pt x="540" y="859"/>
                  </a:lnTo>
                  <a:lnTo>
                    <a:pt x="550" y="858"/>
                  </a:lnTo>
                  <a:lnTo>
                    <a:pt x="561" y="855"/>
                  </a:lnTo>
                  <a:lnTo>
                    <a:pt x="571" y="852"/>
                  </a:lnTo>
                  <a:lnTo>
                    <a:pt x="582" y="847"/>
                  </a:lnTo>
                  <a:lnTo>
                    <a:pt x="593" y="843"/>
                  </a:lnTo>
                  <a:lnTo>
                    <a:pt x="637" y="820"/>
                  </a:lnTo>
                  <a:lnTo>
                    <a:pt x="676" y="803"/>
                  </a:lnTo>
                  <a:lnTo>
                    <a:pt x="684" y="801"/>
                  </a:lnTo>
                  <a:lnTo>
                    <a:pt x="693" y="801"/>
                  </a:lnTo>
                  <a:lnTo>
                    <a:pt x="701" y="802"/>
                  </a:lnTo>
                  <a:lnTo>
                    <a:pt x="710" y="804"/>
                  </a:lnTo>
                  <a:lnTo>
                    <a:pt x="727" y="811"/>
                  </a:lnTo>
                  <a:lnTo>
                    <a:pt x="743" y="820"/>
                  </a:lnTo>
                  <a:lnTo>
                    <a:pt x="758" y="830"/>
                  </a:lnTo>
                  <a:lnTo>
                    <a:pt x="771" y="837"/>
                  </a:lnTo>
                  <a:lnTo>
                    <a:pt x="778" y="839"/>
                  </a:lnTo>
                  <a:lnTo>
                    <a:pt x="783" y="841"/>
                  </a:lnTo>
                  <a:lnTo>
                    <a:pt x="788" y="841"/>
                  </a:lnTo>
                  <a:lnTo>
                    <a:pt x="792" y="839"/>
                  </a:lnTo>
                  <a:lnTo>
                    <a:pt x="791" y="810"/>
                  </a:lnTo>
                  <a:lnTo>
                    <a:pt x="790" y="773"/>
                  </a:lnTo>
                  <a:lnTo>
                    <a:pt x="788" y="733"/>
                  </a:lnTo>
                  <a:lnTo>
                    <a:pt x="785" y="691"/>
                  </a:lnTo>
                  <a:lnTo>
                    <a:pt x="785" y="650"/>
                  </a:lnTo>
                  <a:lnTo>
                    <a:pt x="786" y="612"/>
                  </a:lnTo>
                  <a:lnTo>
                    <a:pt x="789" y="595"/>
                  </a:lnTo>
                  <a:lnTo>
                    <a:pt x="791" y="580"/>
                  </a:lnTo>
                  <a:lnTo>
                    <a:pt x="796" y="566"/>
                  </a:lnTo>
                  <a:lnTo>
                    <a:pt x="800" y="553"/>
                  </a:lnTo>
                  <a:lnTo>
                    <a:pt x="818" y="559"/>
                  </a:lnTo>
                  <a:lnTo>
                    <a:pt x="835" y="567"/>
                  </a:lnTo>
                  <a:lnTo>
                    <a:pt x="850" y="575"/>
                  </a:lnTo>
                  <a:lnTo>
                    <a:pt x="867" y="584"/>
                  </a:lnTo>
                  <a:lnTo>
                    <a:pt x="882" y="591"/>
                  </a:lnTo>
                  <a:lnTo>
                    <a:pt x="898" y="596"/>
                  </a:lnTo>
                  <a:lnTo>
                    <a:pt x="906" y="598"/>
                  </a:lnTo>
                  <a:lnTo>
                    <a:pt x="914" y="598"/>
                  </a:lnTo>
                  <a:lnTo>
                    <a:pt x="924" y="598"/>
                  </a:lnTo>
                  <a:lnTo>
                    <a:pt x="932" y="597"/>
                  </a:lnTo>
                  <a:lnTo>
                    <a:pt x="940" y="596"/>
                  </a:lnTo>
                  <a:lnTo>
                    <a:pt x="946" y="595"/>
                  </a:lnTo>
                  <a:lnTo>
                    <a:pt x="951" y="596"/>
                  </a:lnTo>
                  <a:lnTo>
                    <a:pt x="955" y="596"/>
                  </a:lnTo>
                  <a:lnTo>
                    <a:pt x="959" y="597"/>
                  </a:lnTo>
                  <a:lnTo>
                    <a:pt x="961" y="599"/>
                  </a:lnTo>
                  <a:lnTo>
                    <a:pt x="963" y="602"/>
                  </a:lnTo>
                  <a:lnTo>
                    <a:pt x="966" y="604"/>
                  </a:lnTo>
                  <a:lnTo>
                    <a:pt x="970" y="611"/>
                  </a:lnTo>
                  <a:lnTo>
                    <a:pt x="975" y="618"/>
                  </a:lnTo>
                  <a:lnTo>
                    <a:pt x="982" y="625"/>
                  </a:lnTo>
                  <a:lnTo>
                    <a:pt x="992" y="633"/>
                  </a:lnTo>
                  <a:lnTo>
                    <a:pt x="998" y="635"/>
                  </a:lnTo>
                  <a:lnTo>
                    <a:pt x="1008" y="637"/>
                  </a:lnTo>
                  <a:lnTo>
                    <a:pt x="1020" y="637"/>
                  </a:lnTo>
                  <a:lnTo>
                    <a:pt x="1034" y="638"/>
                  </a:lnTo>
                  <a:lnTo>
                    <a:pt x="1070" y="637"/>
                  </a:lnTo>
                  <a:lnTo>
                    <a:pt x="1109" y="634"/>
                  </a:lnTo>
                  <a:lnTo>
                    <a:pt x="1147" y="630"/>
                  </a:lnTo>
                  <a:lnTo>
                    <a:pt x="1181" y="626"/>
                  </a:lnTo>
                  <a:lnTo>
                    <a:pt x="1195" y="624"/>
                  </a:lnTo>
                  <a:lnTo>
                    <a:pt x="1205" y="621"/>
                  </a:lnTo>
                  <a:lnTo>
                    <a:pt x="1212" y="619"/>
                  </a:lnTo>
                  <a:lnTo>
                    <a:pt x="1216" y="617"/>
                  </a:lnTo>
                  <a:lnTo>
                    <a:pt x="1217" y="614"/>
                  </a:lnTo>
                  <a:lnTo>
                    <a:pt x="1218" y="612"/>
                  </a:lnTo>
                  <a:lnTo>
                    <a:pt x="1218" y="610"/>
                  </a:lnTo>
                  <a:lnTo>
                    <a:pt x="1217" y="607"/>
                  </a:lnTo>
                  <a:lnTo>
                    <a:pt x="1215" y="603"/>
                  </a:lnTo>
                  <a:lnTo>
                    <a:pt x="1210" y="598"/>
                  </a:lnTo>
                  <a:lnTo>
                    <a:pt x="1197" y="589"/>
                  </a:lnTo>
                  <a:lnTo>
                    <a:pt x="1182" y="578"/>
                  </a:lnTo>
                  <a:lnTo>
                    <a:pt x="1174" y="571"/>
                  </a:lnTo>
                  <a:lnTo>
                    <a:pt x="1167" y="566"/>
                  </a:lnTo>
                  <a:lnTo>
                    <a:pt x="1161" y="559"/>
                  </a:lnTo>
                  <a:lnTo>
                    <a:pt x="1155" y="550"/>
                  </a:lnTo>
                  <a:lnTo>
                    <a:pt x="1152" y="542"/>
                  </a:lnTo>
                  <a:lnTo>
                    <a:pt x="1151" y="533"/>
                  </a:lnTo>
                  <a:lnTo>
                    <a:pt x="1150" y="527"/>
                  </a:lnTo>
                  <a:lnTo>
                    <a:pt x="1151" y="522"/>
                  </a:lnTo>
                  <a:lnTo>
                    <a:pt x="1152" y="517"/>
                  </a:lnTo>
                  <a:lnTo>
                    <a:pt x="1154" y="512"/>
                  </a:lnTo>
                  <a:lnTo>
                    <a:pt x="1155" y="504"/>
                  </a:lnTo>
                  <a:lnTo>
                    <a:pt x="1157" y="497"/>
                  </a:lnTo>
                  <a:lnTo>
                    <a:pt x="1158" y="490"/>
                  </a:lnTo>
                  <a:lnTo>
                    <a:pt x="1158" y="483"/>
                  </a:lnTo>
                  <a:lnTo>
                    <a:pt x="1155" y="468"/>
                  </a:lnTo>
                  <a:lnTo>
                    <a:pt x="1154" y="454"/>
                  </a:lnTo>
                  <a:lnTo>
                    <a:pt x="1154" y="447"/>
                  </a:lnTo>
                  <a:lnTo>
                    <a:pt x="1155" y="440"/>
                  </a:lnTo>
                  <a:lnTo>
                    <a:pt x="1157" y="433"/>
                  </a:lnTo>
                  <a:lnTo>
                    <a:pt x="1159" y="426"/>
                  </a:lnTo>
                  <a:lnTo>
                    <a:pt x="1164" y="420"/>
                  </a:lnTo>
                  <a:lnTo>
                    <a:pt x="1168" y="413"/>
                  </a:lnTo>
                  <a:lnTo>
                    <a:pt x="1175" y="407"/>
                  </a:lnTo>
                  <a:lnTo>
                    <a:pt x="1184" y="401"/>
                  </a:lnTo>
                  <a:lnTo>
                    <a:pt x="1189" y="399"/>
                  </a:lnTo>
                  <a:lnTo>
                    <a:pt x="1194" y="397"/>
                  </a:lnTo>
                  <a:lnTo>
                    <a:pt x="1198" y="396"/>
                  </a:lnTo>
                  <a:lnTo>
                    <a:pt x="1204" y="396"/>
                  </a:lnTo>
                  <a:lnTo>
                    <a:pt x="1215" y="396"/>
                  </a:lnTo>
                  <a:lnTo>
                    <a:pt x="1225" y="397"/>
                  </a:lnTo>
                  <a:lnTo>
                    <a:pt x="1246" y="403"/>
                  </a:lnTo>
                  <a:lnTo>
                    <a:pt x="1266" y="410"/>
                  </a:lnTo>
                  <a:lnTo>
                    <a:pt x="1275" y="411"/>
                  </a:lnTo>
                  <a:lnTo>
                    <a:pt x="1285" y="412"/>
                  </a:lnTo>
                  <a:lnTo>
                    <a:pt x="1288" y="412"/>
                  </a:lnTo>
                  <a:lnTo>
                    <a:pt x="1292" y="411"/>
                  </a:lnTo>
                  <a:lnTo>
                    <a:pt x="1296" y="410"/>
                  </a:lnTo>
                  <a:lnTo>
                    <a:pt x="1299" y="407"/>
                  </a:lnTo>
                  <a:lnTo>
                    <a:pt x="1302" y="405"/>
                  </a:lnTo>
                  <a:lnTo>
                    <a:pt x="1304" y="401"/>
                  </a:lnTo>
                  <a:lnTo>
                    <a:pt x="1307" y="398"/>
                  </a:lnTo>
                  <a:lnTo>
                    <a:pt x="1309" y="392"/>
                  </a:lnTo>
                  <a:lnTo>
                    <a:pt x="1313" y="379"/>
                  </a:lnTo>
                  <a:lnTo>
                    <a:pt x="1314" y="362"/>
                  </a:lnTo>
                  <a:lnTo>
                    <a:pt x="1315" y="357"/>
                  </a:lnTo>
                  <a:lnTo>
                    <a:pt x="1316" y="351"/>
                  </a:lnTo>
                  <a:lnTo>
                    <a:pt x="1320" y="348"/>
                  </a:lnTo>
                  <a:lnTo>
                    <a:pt x="1323" y="344"/>
                  </a:lnTo>
                  <a:lnTo>
                    <a:pt x="1332" y="339"/>
                  </a:lnTo>
                  <a:lnTo>
                    <a:pt x="1343" y="334"/>
                  </a:lnTo>
                  <a:lnTo>
                    <a:pt x="1367" y="328"/>
                  </a:lnTo>
                  <a:lnTo>
                    <a:pt x="1388" y="321"/>
                  </a:lnTo>
                  <a:lnTo>
                    <a:pt x="1394" y="319"/>
                  </a:lnTo>
                  <a:lnTo>
                    <a:pt x="1399" y="314"/>
                  </a:lnTo>
                  <a:lnTo>
                    <a:pt x="1402" y="311"/>
                  </a:lnTo>
                  <a:lnTo>
                    <a:pt x="1406" y="306"/>
                  </a:lnTo>
                  <a:lnTo>
                    <a:pt x="1409" y="296"/>
                  </a:lnTo>
                  <a:lnTo>
                    <a:pt x="1411" y="284"/>
                  </a:lnTo>
                  <a:lnTo>
                    <a:pt x="1414" y="258"/>
                  </a:lnTo>
                  <a:lnTo>
                    <a:pt x="1418" y="235"/>
                  </a:lnTo>
                  <a:lnTo>
                    <a:pt x="1429" y="218"/>
                  </a:lnTo>
                  <a:lnTo>
                    <a:pt x="1441" y="199"/>
                  </a:lnTo>
                  <a:lnTo>
                    <a:pt x="1448" y="191"/>
                  </a:lnTo>
                  <a:lnTo>
                    <a:pt x="1456" y="184"/>
                  </a:lnTo>
                  <a:lnTo>
                    <a:pt x="1464" y="177"/>
                  </a:lnTo>
                  <a:lnTo>
                    <a:pt x="1472" y="172"/>
                  </a:lnTo>
                  <a:lnTo>
                    <a:pt x="1501" y="165"/>
                  </a:lnTo>
                  <a:lnTo>
                    <a:pt x="1533" y="159"/>
                  </a:lnTo>
                  <a:lnTo>
                    <a:pt x="1540" y="157"/>
                  </a:lnTo>
                  <a:lnTo>
                    <a:pt x="1547" y="155"/>
                  </a:lnTo>
                  <a:lnTo>
                    <a:pt x="1553" y="151"/>
                  </a:lnTo>
                  <a:lnTo>
                    <a:pt x="1558" y="147"/>
                  </a:lnTo>
                  <a:lnTo>
                    <a:pt x="1563" y="141"/>
                  </a:lnTo>
                  <a:lnTo>
                    <a:pt x="1566" y="134"/>
                  </a:lnTo>
                  <a:lnTo>
                    <a:pt x="1569" y="126"/>
                  </a:lnTo>
                  <a:lnTo>
                    <a:pt x="1570" y="116"/>
                  </a:lnTo>
                  <a:lnTo>
                    <a:pt x="1570" y="92"/>
                  </a:lnTo>
                  <a:lnTo>
                    <a:pt x="1569" y="65"/>
                  </a:lnTo>
                  <a:lnTo>
                    <a:pt x="1570" y="52"/>
                  </a:lnTo>
                  <a:lnTo>
                    <a:pt x="1573" y="40"/>
                  </a:lnTo>
                  <a:lnTo>
                    <a:pt x="1574" y="34"/>
                  </a:lnTo>
                  <a:lnTo>
                    <a:pt x="1578" y="28"/>
                  </a:lnTo>
                  <a:lnTo>
                    <a:pt x="1580" y="23"/>
                  </a:lnTo>
                  <a:lnTo>
                    <a:pt x="1585" y="19"/>
                  </a:lnTo>
                  <a:lnTo>
                    <a:pt x="1593" y="9"/>
                  </a:lnTo>
                  <a:lnTo>
                    <a:pt x="1601" y="3"/>
                  </a:lnTo>
                  <a:lnTo>
                    <a:pt x="1608" y="0"/>
                  </a:lnTo>
                  <a:lnTo>
                    <a:pt x="1613" y="0"/>
                  </a:lnTo>
                  <a:lnTo>
                    <a:pt x="1618" y="1"/>
                  </a:lnTo>
                  <a:lnTo>
                    <a:pt x="1621" y="5"/>
                  </a:lnTo>
                  <a:lnTo>
                    <a:pt x="1624" y="9"/>
                  </a:lnTo>
                  <a:lnTo>
                    <a:pt x="1627" y="15"/>
                  </a:lnTo>
                  <a:lnTo>
                    <a:pt x="1633" y="45"/>
                  </a:lnTo>
                  <a:lnTo>
                    <a:pt x="1635" y="71"/>
                  </a:lnTo>
                  <a:lnTo>
                    <a:pt x="1637" y="77"/>
                  </a:lnTo>
                  <a:lnTo>
                    <a:pt x="1641" y="83"/>
                  </a:lnTo>
                  <a:lnTo>
                    <a:pt x="1645" y="87"/>
                  </a:lnTo>
                  <a:lnTo>
                    <a:pt x="1650" y="91"/>
                  </a:lnTo>
                  <a:lnTo>
                    <a:pt x="1656" y="94"/>
                  </a:lnTo>
                  <a:lnTo>
                    <a:pt x="1662" y="97"/>
                  </a:lnTo>
                  <a:lnTo>
                    <a:pt x="1669" y="98"/>
                  </a:lnTo>
                  <a:lnTo>
                    <a:pt x="1676" y="99"/>
                  </a:lnTo>
                  <a:lnTo>
                    <a:pt x="1705" y="101"/>
                  </a:lnTo>
                  <a:lnTo>
                    <a:pt x="1729" y="10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sz="1200" dirty="0"/>
            </a:p>
          </p:txBody>
        </p:sp>
        <p:sp>
          <p:nvSpPr>
            <p:cNvPr id="23" name="Freeform 62"/>
            <p:cNvSpPr>
              <a:spLocks noEditPoints="1"/>
            </p:cNvSpPr>
            <p:nvPr/>
          </p:nvSpPr>
          <p:spPr bwMode="auto">
            <a:xfrm>
              <a:off x="4641550" y="5240826"/>
              <a:ext cx="36851" cy="202682"/>
            </a:xfrm>
            <a:custGeom>
              <a:avLst/>
              <a:gdLst>
                <a:gd name="T0" fmla="*/ 108 w 108"/>
                <a:gd name="T1" fmla="*/ 38 h 604"/>
                <a:gd name="T2" fmla="*/ 96 w 108"/>
                <a:gd name="T3" fmla="*/ 65 h 604"/>
                <a:gd name="T4" fmla="*/ 86 w 108"/>
                <a:gd name="T5" fmla="*/ 93 h 604"/>
                <a:gd name="T6" fmla="*/ 76 w 108"/>
                <a:gd name="T7" fmla="*/ 119 h 604"/>
                <a:gd name="T8" fmla="*/ 68 w 108"/>
                <a:gd name="T9" fmla="*/ 146 h 604"/>
                <a:gd name="T10" fmla="*/ 11 w 108"/>
                <a:gd name="T11" fmla="*/ 110 h 604"/>
                <a:gd name="T12" fmla="*/ 11 w 108"/>
                <a:gd name="T13" fmla="*/ 103 h 604"/>
                <a:gd name="T14" fmla="*/ 9 w 108"/>
                <a:gd name="T15" fmla="*/ 96 h 604"/>
                <a:gd name="T16" fmla="*/ 5 w 108"/>
                <a:gd name="T17" fmla="*/ 90 h 604"/>
                <a:gd name="T18" fmla="*/ 3 w 108"/>
                <a:gd name="T19" fmla="*/ 83 h 604"/>
                <a:gd name="T20" fmla="*/ 1 w 108"/>
                <a:gd name="T21" fmla="*/ 71 h 604"/>
                <a:gd name="T22" fmla="*/ 0 w 108"/>
                <a:gd name="T23" fmla="*/ 58 h 604"/>
                <a:gd name="T24" fmla="*/ 0 w 108"/>
                <a:gd name="T25" fmla="*/ 44 h 604"/>
                <a:gd name="T26" fmla="*/ 3 w 108"/>
                <a:gd name="T27" fmla="*/ 32 h 604"/>
                <a:gd name="T28" fmla="*/ 7 w 108"/>
                <a:gd name="T29" fmla="*/ 24 h 604"/>
                <a:gd name="T30" fmla="*/ 12 w 108"/>
                <a:gd name="T31" fmla="*/ 17 h 604"/>
                <a:gd name="T32" fmla="*/ 18 w 108"/>
                <a:gd name="T33" fmla="*/ 10 h 604"/>
                <a:gd name="T34" fmla="*/ 25 w 108"/>
                <a:gd name="T35" fmla="*/ 4 h 604"/>
                <a:gd name="T36" fmla="*/ 30 w 108"/>
                <a:gd name="T37" fmla="*/ 2 h 604"/>
                <a:gd name="T38" fmla="*/ 35 w 108"/>
                <a:gd name="T39" fmla="*/ 0 h 604"/>
                <a:gd name="T40" fmla="*/ 40 w 108"/>
                <a:gd name="T41" fmla="*/ 0 h 604"/>
                <a:gd name="T42" fmla="*/ 45 w 108"/>
                <a:gd name="T43" fmla="*/ 0 h 604"/>
                <a:gd name="T44" fmla="*/ 56 w 108"/>
                <a:gd name="T45" fmla="*/ 4 h 604"/>
                <a:gd name="T46" fmla="*/ 67 w 108"/>
                <a:gd name="T47" fmla="*/ 10 h 604"/>
                <a:gd name="T48" fmla="*/ 89 w 108"/>
                <a:gd name="T49" fmla="*/ 26 h 604"/>
                <a:gd name="T50" fmla="*/ 108 w 108"/>
                <a:gd name="T51" fmla="*/ 38 h 604"/>
                <a:gd name="T52" fmla="*/ 99 w 108"/>
                <a:gd name="T53" fmla="*/ 552 h 604"/>
                <a:gd name="T54" fmla="*/ 94 w 108"/>
                <a:gd name="T55" fmla="*/ 566 h 604"/>
                <a:gd name="T56" fmla="*/ 90 w 108"/>
                <a:gd name="T57" fmla="*/ 578 h 604"/>
                <a:gd name="T58" fmla="*/ 86 w 108"/>
                <a:gd name="T59" fmla="*/ 588 h 604"/>
                <a:gd name="T60" fmla="*/ 79 w 108"/>
                <a:gd name="T61" fmla="*/ 604 h 604"/>
                <a:gd name="T62" fmla="*/ 39 w 108"/>
                <a:gd name="T63" fmla="*/ 568 h 604"/>
                <a:gd name="T64" fmla="*/ 65 w 108"/>
                <a:gd name="T65" fmla="*/ 536 h 604"/>
                <a:gd name="T66" fmla="*/ 99 w 108"/>
                <a:gd name="T67" fmla="*/ 552 h 6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8" h="604">
                  <a:moveTo>
                    <a:pt x="108" y="38"/>
                  </a:moveTo>
                  <a:lnTo>
                    <a:pt x="96" y="65"/>
                  </a:lnTo>
                  <a:lnTo>
                    <a:pt x="86" y="93"/>
                  </a:lnTo>
                  <a:lnTo>
                    <a:pt x="76" y="119"/>
                  </a:lnTo>
                  <a:lnTo>
                    <a:pt x="68" y="146"/>
                  </a:lnTo>
                  <a:lnTo>
                    <a:pt x="11" y="110"/>
                  </a:lnTo>
                  <a:lnTo>
                    <a:pt x="11" y="103"/>
                  </a:lnTo>
                  <a:lnTo>
                    <a:pt x="9" y="96"/>
                  </a:lnTo>
                  <a:lnTo>
                    <a:pt x="5" y="90"/>
                  </a:lnTo>
                  <a:lnTo>
                    <a:pt x="3" y="83"/>
                  </a:lnTo>
                  <a:lnTo>
                    <a:pt x="1" y="71"/>
                  </a:lnTo>
                  <a:lnTo>
                    <a:pt x="0" y="58"/>
                  </a:lnTo>
                  <a:lnTo>
                    <a:pt x="0" y="44"/>
                  </a:lnTo>
                  <a:lnTo>
                    <a:pt x="3" y="32"/>
                  </a:lnTo>
                  <a:lnTo>
                    <a:pt x="7" y="24"/>
                  </a:lnTo>
                  <a:lnTo>
                    <a:pt x="12" y="17"/>
                  </a:lnTo>
                  <a:lnTo>
                    <a:pt x="18" y="10"/>
                  </a:lnTo>
                  <a:lnTo>
                    <a:pt x="25" y="4"/>
                  </a:lnTo>
                  <a:lnTo>
                    <a:pt x="30" y="2"/>
                  </a:lnTo>
                  <a:lnTo>
                    <a:pt x="35" y="0"/>
                  </a:lnTo>
                  <a:lnTo>
                    <a:pt x="40" y="0"/>
                  </a:lnTo>
                  <a:lnTo>
                    <a:pt x="45" y="0"/>
                  </a:lnTo>
                  <a:lnTo>
                    <a:pt x="56" y="4"/>
                  </a:lnTo>
                  <a:lnTo>
                    <a:pt x="67" y="10"/>
                  </a:lnTo>
                  <a:lnTo>
                    <a:pt x="89" y="26"/>
                  </a:lnTo>
                  <a:lnTo>
                    <a:pt x="108" y="38"/>
                  </a:lnTo>
                  <a:close/>
                  <a:moveTo>
                    <a:pt x="99" y="552"/>
                  </a:moveTo>
                  <a:lnTo>
                    <a:pt x="94" y="566"/>
                  </a:lnTo>
                  <a:lnTo>
                    <a:pt x="90" y="578"/>
                  </a:lnTo>
                  <a:lnTo>
                    <a:pt x="86" y="588"/>
                  </a:lnTo>
                  <a:lnTo>
                    <a:pt x="79" y="604"/>
                  </a:lnTo>
                  <a:lnTo>
                    <a:pt x="39" y="568"/>
                  </a:lnTo>
                  <a:lnTo>
                    <a:pt x="65" y="536"/>
                  </a:lnTo>
                  <a:lnTo>
                    <a:pt x="99" y="552"/>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sz="1200" dirty="0"/>
            </a:p>
          </p:txBody>
        </p:sp>
        <p:sp>
          <p:nvSpPr>
            <p:cNvPr id="24" name="Freeform 101"/>
            <p:cNvSpPr>
              <a:spLocks noEditPoints="1"/>
            </p:cNvSpPr>
            <p:nvPr/>
          </p:nvSpPr>
          <p:spPr bwMode="auto">
            <a:xfrm>
              <a:off x="3480738" y="3739978"/>
              <a:ext cx="68677" cy="80403"/>
            </a:xfrm>
            <a:custGeom>
              <a:avLst/>
              <a:gdLst>
                <a:gd name="T0" fmla="*/ 7 w 203"/>
                <a:gd name="T1" fmla="*/ 55 h 241"/>
                <a:gd name="T2" fmla="*/ 18 w 203"/>
                <a:gd name="T3" fmla="*/ 19 h 241"/>
                <a:gd name="T4" fmla="*/ 32 w 203"/>
                <a:gd name="T5" fmla="*/ 8 h 241"/>
                <a:gd name="T6" fmla="*/ 47 w 203"/>
                <a:gd name="T7" fmla="*/ 24 h 241"/>
                <a:gd name="T8" fmla="*/ 53 w 203"/>
                <a:gd name="T9" fmla="*/ 36 h 241"/>
                <a:gd name="T10" fmla="*/ 54 w 203"/>
                <a:gd name="T11" fmla="*/ 47 h 241"/>
                <a:gd name="T12" fmla="*/ 53 w 203"/>
                <a:gd name="T13" fmla="*/ 57 h 241"/>
                <a:gd name="T14" fmla="*/ 48 w 203"/>
                <a:gd name="T15" fmla="*/ 64 h 241"/>
                <a:gd name="T16" fmla="*/ 37 w 203"/>
                <a:gd name="T17" fmla="*/ 70 h 241"/>
                <a:gd name="T18" fmla="*/ 19 w 203"/>
                <a:gd name="T19" fmla="*/ 76 h 241"/>
                <a:gd name="T20" fmla="*/ 8 w 203"/>
                <a:gd name="T21" fmla="*/ 76 h 241"/>
                <a:gd name="T22" fmla="*/ 59 w 203"/>
                <a:gd name="T23" fmla="*/ 131 h 241"/>
                <a:gd name="T24" fmla="*/ 80 w 203"/>
                <a:gd name="T25" fmla="*/ 104 h 241"/>
                <a:gd name="T26" fmla="*/ 90 w 203"/>
                <a:gd name="T27" fmla="*/ 91 h 241"/>
                <a:gd name="T28" fmla="*/ 104 w 203"/>
                <a:gd name="T29" fmla="*/ 83 h 241"/>
                <a:gd name="T30" fmla="*/ 124 w 203"/>
                <a:gd name="T31" fmla="*/ 75 h 241"/>
                <a:gd name="T32" fmla="*/ 144 w 203"/>
                <a:gd name="T33" fmla="*/ 72 h 241"/>
                <a:gd name="T34" fmla="*/ 152 w 203"/>
                <a:gd name="T35" fmla="*/ 75 h 241"/>
                <a:gd name="T36" fmla="*/ 159 w 203"/>
                <a:gd name="T37" fmla="*/ 79 h 241"/>
                <a:gd name="T38" fmla="*/ 164 w 203"/>
                <a:gd name="T39" fmla="*/ 88 h 241"/>
                <a:gd name="T40" fmla="*/ 165 w 203"/>
                <a:gd name="T41" fmla="*/ 99 h 241"/>
                <a:gd name="T42" fmla="*/ 162 w 203"/>
                <a:gd name="T43" fmla="*/ 117 h 241"/>
                <a:gd name="T44" fmla="*/ 161 w 203"/>
                <a:gd name="T45" fmla="*/ 134 h 241"/>
                <a:gd name="T46" fmla="*/ 166 w 203"/>
                <a:gd name="T47" fmla="*/ 155 h 241"/>
                <a:gd name="T48" fmla="*/ 169 w 203"/>
                <a:gd name="T49" fmla="*/ 164 h 241"/>
                <a:gd name="T50" fmla="*/ 176 w 203"/>
                <a:gd name="T51" fmla="*/ 174 h 241"/>
                <a:gd name="T52" fmla="*/ 202 w 203"/>
                <a:gd name="T53" fmla="*/ 203 h 241"/>
                <a:gd name="T54" fmla="*/ 203 w 203"/>
                <a:gd name="T55" fmla="*/ 219 h 241"/>
                <a:gd name="T56" fmla="*/ 201 w 203"/>
                <a:gd name="T57" fmla="*/ 230 h 241"/>
                <a:gd name="T58" fmla="*/ 194 w 203"/>
                <a:gd name="T59" fmla="*/ 238 h 241"/>
                <a:gd name="T60" fmla="*/ 182 w 203"/>
                <a:gd name="T61" fmla="*/ 241 h 241"/>
                <a:gd name="T62" fmla="*/ 169 w 203"/>
                <a:gd name="T63" fmla="*/ 240 h 241"/>
                <a:gd name="T64" fmla="*/ 158 w 203"/>
                <a:gd name="T65" fmla="*/ 234 h 241"/>
                <a:gd name="T66" fmla="*/ 144 w 203"/>
                <a:gd name="T67" fmla="*/ 226 h 241"/>
                <a:gd name="T68" fmla="*/ 124 w 203"/>
                <a:gd name="T69" fmla="*/ 218 h 241"/>
                <a:gd name="T70" fmla="*/ 102 w 203"/>
                <a:gd name="T71" fmla="*/ 211 h 241"/>
                <a:gd name="T72" fmla="*/ 84 w 203"/>
                <a:gd name="T73" fmla="*/ 206 h 241"/>
                <a:gd name="T74" fmla="*/ 76 w 203"/>
                <a:gd name="T75" fmla="*/ 198 h 241"/>
                <a:gd name="T76" fmla="*/ 67 w 203"/>
                <a:gd name="T77" fmla="*/ 177 h 241"/>
                <a:gd name="T78" fmla="*/ 60 w 203"/>
                <a:gd name="T79" fmla="*/ 147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3" h="241">
                  <a:moveTo>
                    <a:pt x="0" y="72"/>
                  </a:moveTo>
                  <a:lnTo>
                    <a:pt x="7" y="55"/>
                  </a:lnTo>
                  <a:lnTo>
                    <a:pt x="12" y="36"/>
                  </a:lnTo>
                  <a:lnTo>
                    <a:pt x="18" y="19"/>
                  </a:lnTo>
                  <a:lnTo>
                    <a:pt x="23" y="0"/>
                  </a:lnTo>
                  <a:lnTo>
                    <a:pt x="32" y="8"/>
                  </a:lnTo>
                  <a:lnTo>
                    <a:pt x="41" y="15"/>
                  </a:lnTo>
                  <a:lnTo>
                    <a:pt x="47" y="24"/>
                  </a:lnTo>
                  <a:lnTo>
                    <a:pt x="52" y="32"/>
                  </a:lnTo>
                  <a:lnTo>
                    <a:pt x="53" y="36"/>
                  </a:lnTo>
                  <a:lnTo>
                    <a:pt x="54" y="42"/>
                  </a:lnTo>
                  <a:lnTo>
                    <a:pt x="54" y="47"/>
                  </a:lnTo>
                  <a:lnTo>
                    <a:pt x="54" y="52"/>
                  </a:lnTo>
                  <a:lnTo>
                    <a:pt x="53" y="57"/>
                  </a:lnTo>
                  <a:lnTo>
                    <a:pt x="52" y="62"/>
                  </a:lnTo>
                  <a:lnTo>
                    <a:pt x="48" y="64"/>
                  </a:lnTo>
                  <a:lnTo>
                    <a:pt x="45" y="68"/>
                  </a:lnTo>
                  <a:lnTo>
                    <a:pt x="37" y="70"/>
                  </a:lnTo>
                  <a:lnTo>
                    <a:pt x="27" y="74"/>
                  </a:lnTo>
                  <a:lnTo>
                    <a:pt x="19" y="76"/>
                  </a:lnTo>
                  <a:lnTo>
                    <a:pt x="13" y="77"/>
                  </a:lnTo>
                  <a:lnTo>
                    <a:pt x="8" y="76"/>
                  </a:lnTo>
                  <a:lnTo>
                    <a:pt x="0" y="72"/>
                  </a:lnTo>
                  <a:close/>
                  <a:moveTo>
                    <a:pt x="59" y="131"/>
                  </a:moveTo>
                  <a:lnTo>
                    <a:pt x="69" y="118"/>
                  </a:lnTo>
                  <a:lnTo>
                    <a:pt x="80" y="104"/>
                  </a:lnTo>
                  <a:lnTo>
                    <a:pt x="84" y="98"/>
                  </a:lnTo>
                  <a:lnTo>
                    <a:pt x="90" y="91"/>
                  </a:lnTo>
                  <a:lnTo>
                    <a:pt x="97" y="86"/>
                  </a:lnTo>
                  <a:lnTo>
                    <a:pt x="104" y="83"/>
                  </a:lnTo>
                  <a:lnTo>
                    <a:pt x="114" y="78"/>
                  </a:lnTo>
                  <a:lnTo>
                    <a:pt x="124" y="75"/>
                  </a:lnTo>
                  <a:lnTo>
                    <a:pt x="135" y="72"/>
                  </a:lnTo>
                  <a:lnTo>
                    <a:pt x="144" y="72"/>
                  </a:lnTo>
                  <a:lnTo>
                    <a:pt x="149" y="72"/>
                  </a:lnTo>
                  <a:lnTo>
                    <a:pt x="152" y="75"/>
                  </a:lnTo>
                  <a:lnTo>
                    <a:pt x="156" y="76"/>
                  </a:lnTo>
                  <a:lnTo>
                    <a:pt x="159" y="79"/>
                  </a:lnTo>
                  <a:lnTo>
                    <a:pt x="161" y="83"/>
                  </a:lnTo>
                  <a:lnTo>
                    <a:pt x="164" y="88"/>
                  </a:lnTo>
                  <a:lnTo>
                    <a:pt x="165" y="92"/>
                  </a:lnTo>
                  <a:lnTo>
                    <a:pt x="165" y="99"/>
                  </a:lnTo>
                  <a:lnTo>
                    <a:pt x="165" y="109"/>
                  </a:lnTo>
                  <a:lnTo>
                    <a:pt x="162" y="117"/>
                  </a:lnTo>
                  <a:lnTo>
                    <a:pt x="161" y="126"/>
                  </a:lnTo>
                  <a:lnTo>
                    <a:pt x="161" y="134"/>
                  </a:lnTo>
                  <a:lnTo>
                    <a:pt x="162" y="146"/>
                  </a:lnTo>
                  <a:lnTo>
                    <a:pt x="166" y="155"/>
                  </a:lnTo>
                  <a:lnTo>
                    <a:pt x="167" y="160"/>
                  </a:lnTo>
                  <a:lnTo>
                    <a:pt x="169" y="164"/>
                  </a:lnTo>
                  <a:lnTo>
                    <a:pt x="173" y="169"/>
                  </a:lnTo>
                  <a:lnTo>
                    <a:pt x="176" y="174"/>
                  </a:lnTo>
                  <a:lnTo>
                    <a:pt x="201" y="199"/>
                  </a:lnTo>
                  <a:lnTo>
                    <a:pt x="202" y="203"/>
                  </a:lnTo>
                  <a:lnTo>
                    <a:pt x="203" y="213"/>
                  </a:lnTo>
                  <a:lnTo>
                    <a:pt x="203" y="219"/>
                  </a:lnTo>
                  <a:lnTo>
                    <a:pt x="203" y="225"/>
                  </a:lnTo>
                  <a:lnTo>
                    <a:pt x="201" y="230"/>
                  </a:lnTo>
                  <a:lnTo>
                    <a:pt x="199" y="233"/>
                  </a:lnTo>
                  <a:lnTo>
                    <a:pt x="194" y="238"/>
                  </a:lnTo>
                  <a:lnTo>
                    <a:pt x="188" y="240"/>
                  </a:lnTo>
                  <a:lnTo>
                    <a:pt x="182" y="241"/>
                  </a:lnTo>
                  <a:lnTo>
                    <a:pt x="175" y="241"/>
                  </a:lnTo>
                  <a:lnTo>
                    <a:pt x="169" y="240"/>
                  </a:lnTo>
                  <a:lnTo>
                    <a:pt x="164" y="238"/>
                  </a:lnTo>
                  <a:lnTo>
                    <a:pt x="158" y="234"/>
                  </a:lnTo>
                  <a:lnTo>
                    <a:pt x="152" y="231"/>
                  </a:lnTo>
                  <a:lnTo>
                    <a:pt x="144" y="226"/>
                  </a:lnTo>
                  <a:lnTo>
                    <a:pt x="133" y="221"/>
                  </a:lnTo>
                  <a:lnTo>
                    <a:pt x="124" y="218"/>
                  </a:lnTo>
                  <a:lnTo>
                    <a:pt x="115" y="214"/>
                  </a:lnTo>
                  <a:lnTo>
                    <a:pt x="102" y="211"/>
                  </a:lnTo>
                  <a:lnTo>
                    <a:pt x="90" y="207"/>
                  </a:lnTo>
                  <a:lnTo>
                    <a:pt x="84" y="206"/>
                  </a:lnTo>
                  <a:lnTo>
                    <a:pt x="80" y="203"/>
                  </a:lnTo>
                  <a:lnTo>
                    <a:pt x="76" y="198"/>
                  </a:lnTo>
                  <a:lnTo>
                    <a:pt x="73" y="192"/>
                  </a:lnTo>
                  <a:lnTo>
                    <a:pt x="67" y="177"/>
                  </a:lnTo>
                  <a:lnTo>
                    <a:pt x="62" y="162"/>
                  </a:lnTo>
                  <a:lnTo>
                    <a:pt x="60" y="147"/>
                  </a:lnTo>
                  <a:lnTo>
                    <a:pt x="59" y="131"/>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sz="1200" dirty="0"/>
            </a:p>
          </p:txBody>
        </p:sp>
        <p:sp>
          <p:nvSpPr>
            <p:cNvPr id="25" name="Freeform 5"/>
            <p:cNvSpPr>
              <a:spLocks noEditPoints="1"/>
            </p:cNvSpPr>
            <p:nvPr/>
          </p:nvSpPr>
          <p:spPr bwMode="auto">
            <a:xfrm>
              <a:off x="2693462" y="2962754"/>
              <a:ext cx="1068684" cy="844227"/>
            </a:xfrm>
            <a:custGeom>
              <a:avLst/>
              <a:gdLst>
                <a:gd name="T0" fmla="*/ 1833 w 3189"/>
                <a:gd name="T1" fmla="*/ 2017 h 2518"/>
                <a:gd name="T2" fmla="*/ 2032 w 3189"/>
                <a:gd name="T3" fmla="*/ 1792 h 2518"/>
                <a:gd name="T4" fmla="*/ 2114 w 3189"/>
                <a:gd name="T5" fmla="*/ 1356 h 2518"/>
                <a:gd name="T6" fmla="*/ 2153 w 3189"/>
                <a:gd name="T7" fmla="*/ 1372 h 2518"/>
                <a:gd name="T8" fmla="*/ 2346 w 3189"/>
                <a:gd name="T9" fmla="*/ 1350 h 2518"/>
                <a:gd name="T10" fmla="*/ 2199 w 3189"/>
                <a:gd name="T11" fmla="*/ 1486 h 2518"/>
                <a:gd name="T12" fmla="*/ 2276 w 3189"/>
                <a:gd name="T13" fmla="*/ 1559 h 2518"/>
                <a:gd name="T14" fmla="*/ 2360 w 3189"/>
                <a:gd name="T15" fmla="*/ 1673 h 2518"/>
                <a:gd name="T16" fmla="*/ 2278 w 3189"/>
                <a:gd name="T17" fmla="*/ 1800 h 2518"/>
                <a:gd name="T18" fmla="*/ 2289 w 3189"/>
                <a:gd name="T19" fmla="*/ 1940 h 2518"/>
                <a:gd name="T20" fmla="*/ 2388 w 3189"/>
                <a:gd name="T21" fmla="*/ 2101 h 2518"/>
                <a:gd name="T22" fmla="*/ 2405 w 3189"/>
                <a:gd name="T23" fmla="*/ 2366 h 2518"/>
                <a:gd name="T24" fmla="*/ 2435 w 3189"/>
                <a:gd name="T25" fmla="*/ 2417 h 2518"/>
                <a:gd name="T26" fmla="*/ 2520 w 3189"/>
                <a:gd name="T27" fmla="*/ 2483 h 2518"/>
                <a:gd name="T28" fmla="*/ 2650 w 3189"/>
                <a:gd name="T29" fmla="*/ 2411 h 2518"/>
                <a:gd name="T30" fmla="*/ 2671 w 3189"/>
                <a:gd name="T31" fmla="*/ 2223 h 2518"/>
                <a:gd name="T32" fmla="*/ 2851 w 3189"/>
                <a:gd name="T33" fmla="*/ 2238 h 2518"/>
                <a:gd name="T34" fmla="*/ 2902 w 3189"/>
                <a:gd name="T35" fmla="*/ 2115 h 2518"/>
                <a:gd name="T36" fmla="*/ 2831 w 3189"/>
                <a:gd name="T37" fmla="*/ 1963 h 2518"/>
                <a:gd name="T38" fmla="*/ 2901 w 3189"/>
                <a:gd name="T39" fmla="*/ 1836 h 2518"/>
                <a:gd name="T40" fmla="*/ 3098 w 3189"/>
                <a:gd name="T41" fmla="*/ 1740 h 2518"/>
                <a:gd name="T42" fmla="*/ 2886 w 3189"/>
                <a:gd name="T43" fmla="*/ 1772 h 2518"/>
                <a:gd name="T44" fmla="*/ 2896 w 3189"/>
                <a:gd name="T45" fmla="*/ 1663 h 2518"/>
                <a:gd name="T46" fmla="*/ 3024 w 3189"/>
                <a:gd name="T47" fmla="*/ 1431 h 2518"/>
                <a:gd name="T48" fmla="*/ 3047 w 3189"/>
                <a:gd name="T49" fmla="*/ 1285 h 2518"/>
                <a:gd name="T50" fmla="*/ 2969 w 3189"/>
                <a:gd name="T51" fmla="*/ 1216 h 2518"/>
                <a:gd name="T52" fmla="*/ 3096 w 3189"/>
                <a:gd name="T53" fmla="*/ 1135 h 2518"/>
                <a:gd name="T54" fmla="*/ 3158 w 3189"/>
                <a:gd name="T55" fmla="*/ 972 h 2518"/>
                <a:gd name="T56" fmla="*/ 3007 w 3189"/>
                <a:gd name="T57" fmla="*/ 816 h 2518"/>
                <a:gd name="T58" fmla="*/ 2764 w 3189"/>
                <a:gd name="T59" fmla="*/ 598 h 2518"/>
                <a:gd name="T60" fmla="*/ 2631 w 3189"/>
                <a:gd name="T61" fmla="*/ 492 h 2518"/>
                <a:gd name="T62" fmla="*/ 2623 w 3189"/>
                <a:gd name="T63" fmla="*/ 336 h 2518"/>
                <a:gd name="T64" fmla="*/ 2504 w 3189"/>
                <a:gd name="T65" fmla="*/ 265 h 2518"/>
                <a:gd name="T66" fmla="*/ 2504 w 3189"/>
                <a:gd name="T67" fmla="*/ 127 h 2518"/>
                <a:gd name="T68" fmla="*/ 2385 w 3189"/>
                <a:gd name="T69" fmla="*/ 194 h 2518"/>
                <a:gd name="T70" fmla="*/ 2162 w 3189"/>
                <a:gd name="T71" fmla="*/ 109 h 2518"/>
                <a:gd name="T72" fmla="*/ 1999 w 3189"/>
                <a:gd name="T73" fmla="*/ 19 h 2518"/>
                <a:gd name="T74" fmla="*/ 1892 w 3189"/>
                <a:gd name="T75" fmla="*/ 30 h 2518"/>
                <a:gd name="T76" fmla="*/ 1735 w 3189"/>
                <a:gd name="T77" fmla="*/ 20 h 2518"/>
                <a:gd name="T78" fmla="*/ 1423 w 3189"/>
                <a:gd name="T79" fmla="*/ 67 h 2518"/>
                <a:gd name="T80" fmla="*/ 1310 w 3189"/>
                <a:gd name="T81" fmla="*/ 262 h 2518"/>
                <a:gd name="T82" fmla="*/ 1180 w 3189"/>
                <a:gd name="T83" fmla="*/ 156 h 2518"/>
                <a:gd name="T84" fmla="*/ 778 w 3189"/>
                <a:gd name="T85" fmla="*/ 279 h 2518"/>
                <a:gd name="T86" fmla="*/ 496 w 3189"/>
                <a:gd name="T87" fmla="*/ 241 h 2518"/>
                <a:gd name="T88" fmla="*/ 315 w 3189"/>
                <a:gd name="T89" fmla="*/ 235 h 2518"/>
                <a:gd name="T90" fmla="*/ 170 w 3189"/>
                <a:gd name="T91" fmla="*/ 389 h 2518"/>
                <a:gd name="T92" fmla="*/ 31 w 3189"/>
                <a:gd name="T93" fmla="*/ 614 h 2518"/>
                <a:gd name="T94" fmla="*/ 146 w 3189"/>
                <a:gd name="T95" fmla="*/ 505 h 2518"/>
                <a:gd name="T96" fmla="*/ 237 w 3189"/>
                <a:gd name="T97" fmla="*/ 478 h 2518"/>
                <a:gd name="T98" fmla="*/ 152 w 3189"/>
                <a:gd name="T99" fmla="*/ 631 h 2518"/>
                <a:gd name="T100" fmla="*/ 210 w 3189"/>
                <a:gd name="T101" fmla="*/ 818 h 2518"/>
                <a:gd name="T102" fmla="*/ 758 w 3189"/>
                <a:gd name="T103" fmla="*/ 1072 h 2518"/>
                <a:gd name="T104" fmla="*/ 1011 w 3189"/>
                <a:gd name="T105" fmla="*/ 922 h 2518"/>
                <a:gd name="T106" fmla="*/ 1171 w 3189"/>
                <a:gd name="T107" fmla="*/ 909 h 2518"/>
                <a:gd name="T108" fmla="*/ 1109 w 3189"/>
                <a:gd name="T109" fmla="*/ 1012 h 2518"/>
                <a:gd name="T110" fmla="*/ 918 w 3189"/>
                <a:gd name="T111" fmla="*/ 1197 h 2518"/>
                <a:gd name="T112" fmla="*/ 734 w 3189"/>
                <a:gd name="T113" fmla="*/ 1296 h 2518"/>
                <a:gd name="T114" fmla="*/ 508 w 3189"/>
                <a:gd name="T115" fmla="*/ 1345 h 2518"/>
                <a:gd name="T116" fmla="*/ 433 w 3189"/>
                <a:gd name="T117" fmla="*/ 1257 h 2518"/>
                <a:gd name="T118" fmla="*/ 508 w 3189"/>
                <a:gd name="T119" fmla="*/ 1499 h 2518"/>
                <a:gd name="T120" fmla="*/ 1367 w 3189"/>
                <a:gd name="T121" fmla="*/ 2197 h 2518"/>
                <a:gd name="T122" fmla="*/ 1064 w 3189"/>
                <a:gd name="T123" fmla="*/ 893 h 2518"/>
                <a:gd name="T124" fmla="*/ 1102 w 3189"/>
                <a:gd name="T125" fmla="*/ 923 h 2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89" h="2518">
                  <a:moveTo>
                    <a:pt x="1425" y="2186"/>
                  </a:moveTo>
                  <a:lnTo>
                    <a:pt x="1452" y="2176"/>
                  </a:lnTo>
                  <a:lnTo>
                    <a:pt x="1480" y="2166"/>
                  </a:lnTo>
                  <a:lnTo>
                    <a:pt x="1508" y="2153"/>
                  </a:lnTo>
                  <a:lnTo>
                    <a:pt x="1538" y="2140"/>
                  </a:lnTo>
                  <a:lnTo>
                    <a:pt x="1567" y="2127"/>
                  </a:lnTo>
                  <a:lnTo>
                    <a:pt x="1599" y="2113"/>
                  </a:lnTo>
                  <a:lnTo>
                    <a:pt x="1631" y="2099"/>
                  </a:lnTo>
                  <a:lnTo>
                    <a:pt x="1665" y="2087"/>
                  </a:lnTo>
                  <a:lnTo>
                    <a:pt x="1685" y="2069"/>
                  </a:lnTo>
                  <a:lnTo>
                    <a:pt x="1701" y="2055"/>
                  </a:lnTo>
                  <a:lnTo>
                    <a:pt x="1710" y="2051"/>
                  </a:lnTo>
                  <a:lnTo>
                    <a:pt x="1721" y="2047"/>
                  </a:lnTo>
                  <a:lnTo>
                    <a:pt x="1727" y="2046"/>
                  </a:lnTo>
                  <a:lnTo>
                    <a:pt x="1732" y="2046"/>
                  </a:lnTo>
                  <a:lnTo>
                    <a:pt x="1741" y="2046"/>
                  </a:lnTo>
                  <a:lnTo>
                    <a:pt x="1749" y="2047"/>
                  </a:lnTo>
                  <a:lnTo>
                    <a:pt x="1757" y="2047"/>
                  </a:lnTo>
                  <a:lnTo>
                    <a:pt x="1766" y="2046"/>
                  </a:lnTo>
                  <a:lnTo>
                    <a:pt x="1777" y="2044"/>
                  </a:lnTo>
                  <a:lnTo>
                    <a:pt x="1787" y="2040"/>
                  </a:lnTo>
                  <a:lnTo>
                    <a:pt x="1809" y="2030"/>
                  </a:lnTo>
                  <a:lnTo>
                    <a:pt x="1833" y="2017"/>
                  </a:lnTo>
                  <a:lnTo>
                    <a:pt x="1856" y="2004"/>
                  </a:lnTo>
                  <a:lnTo>
                    <a:pt x="1879" y="1990"/>
                  </a:lnTo>
                  <a:lnTo>
                    <a:pt x="1901" y="1980"/>
                  </a:lnTo>
                  <a:lnTo>
                    <a:pt x="1920" y="1971"/>
                  </a:lnTo>
                  <a:lnTo>
                    <a:pt x="1935" y="1967"/>
                  </a:lnTo>
                  <a:lnTo>
                    <a:pt x="1949" y="1961"/>
                  </a:lnTo>
                  <a:lnTo>
                    <a:pt x="1959" y="1955"/>
                  </a:lnTo>
                  <a:lnTo>
                    <a:pt x="1969" y="1948"/>
                  </a:lnTo>
                  <a:lnTo>
                    <a:pt x="1972" y="1945"/>
                  </a:lnTo>
                  <a:lnTo>
                    <a:pt x="1975" y="1940"/>
                  </a:lnTo>
                  <a:lnTo>
                    <a:pt x="1977" y="1935"/>
                  </a:lnTo>
                  <a:lnTo>
                    <a:pt x="1978" y="1929"/>
                  </a:lnTo>
                  <a:lnTo>
                    <a:pt x="1979" y="1924"/>
                  </a:lnTo>
                  <a:lnTo>
                    <a:pt x="1979" y="1917"/>
                  </a:lnTo>
                  <a:lnTo>
                    <a:pt x="1978" y="1910"/>
                  </a:lnTo>
                  <a:lnTo>
                    <a:pt x="1977" y="1902"/>
                  </a:lnTo>
                  <a:lnTo>
                    <a:pt x="1977" y="1897"/>
                  </a:lnTo>
                  <a:lnTo>
                    <a:pt x="1978" y="1890"/>
                  </a:lnTo>
                  <a:lnTo>
                    <a:pt x="1980" y="1882"/>
                  </a:lnTo>
                  <a:lnTo>
                    <a:pt x="1984" y="1874"/>
                  </a:lnTo>
                  <a:lnTo>
                    <a:pt x="1994" y="1854"/>
                  </a:lnTo>
                  <a:lnTo>
                    <a:pt x="2006" y="1833"/>
                  </a:lnTo>
                  <a:lnTo>
                    <a:pt x="2032" y="1792"/>
                  </a:lnTo>
                  <a:lnTo>
                    <a:pt x="2050" y="1763"/>
                  </a:lnTo>
                  <a:lnTo>
                    <a:pt x="2057" y="1749"/>
                  </a:lnTo>
                  <a:lnTo>
                    <a:pt x="2063" y="1737"/>
                  </a:lnTo>
                  <a:lnTo>
                    <a:pt x="2067" y="1726"/>
                  </a:lnTo>
                  <a:lnTo>
                    <a:pt x="2070" y="1717"/>
                  </a:lnTo>
                  <a:lnTo>
                    <a:pt x="2071" y="1706"/>
                  </a:lnTo>
                  <a:lnTo>
                    <a:pt x="2071" y="1697"/>
                  </a:lnTo>
                  <a:lnTo>
                    <a:pt x="2070" y="1689"/>
                  </a:lnTo>
                  <a:lnTo>
                    <a:pt x="2069" y="1679"/>
                  </a:lnTo>
                  <a:lnTo>
                    <a:pt x="2055" y="1643"/>
                  </a:lnTo>
                  <a:lnTo>
                    <a:pt x="2039" y="1595"/>
                  </a:lnTo>
                  <a:lnTo>
                    <a:pt x="2046" y="1566"/>
                  </a:lnTo>
                  <a:lnTo>
                    <a:pt x="2053" y="1540"/>
                  </a:lnTo>
                  <a:lnTo>
                    <a:pt x="2060" y="1513"/>
                  </a:lnTo>
                  <a:lnTo>
                    <a:pt x="2068" y="1487"/>
                  </a:lnTo>
                  <a:lnTo>
                    <a:pt x="2076" y="1462"/>
                  </a:lnTo>
                  <a:lnTo>
                    <a:pt x="2085" y="1437"/>
                  </a:lnTo>
                  <a:lnTo>
                    <a:pt x="2096" y="1410"/>
                  </a:lnTo>
                  <a:lnTo>
                    <a:pt x="2108" y="1384"/>
                  </a:lnTo>
                  <a:lnTo>
                    <a:pt x="2112" y="1377"/>
                  </a:lnTo>
                  <a:lnTo>
                    <a:pt x="2114" y="1370"/>
                  </a:lnTo>
                  <a:lnTo>
                    <a:pt x="2114" y="1363"/>
                  </a:lnTo>
                  <a:lnTo>
                    <a:pt x="2114" y="1356"/>
                  </a:lnTo>
                  <a:lnTo>
                    <a:pt x="2113" y="1344"/>
                  </a:lnTo>
                  <a:lnTo>
                    <a:pt x="2110" y="1332"/>
                  </a:lnTo>
                  <a:lnTo>
                    <a:pt x="2106" y="1320"/>
                  </a:lnTo>
                  <a:lnTo>
                    <a:pt x="2104" y="1307"/>
                  </a:lnTo>
                  <a:lnTo>
                    <a:pt x="2103" y="1300"/>
                  </a:lnTo>
                  <a:lnTo>
                    <a:pt x="2104" y="1292"/>
                  </a:lnTo>
                  <a:lnTo>
                    <a:pt x="2105" y="1284"/>
                  </a:lnTo>
                  <a:lnTo>
                    <a:pt x="2108" y="1275"/>
                  </a:lnTo>
                  <a:lnTo>
                    <a:pt x="2111" y="1268"/>
                  </a:lnTo>
                  <a:lnTo>
                    <a:pt x="2114" y="1266"/>
                  </a:lnTo>
                  <a:lnTo>
                    <a:pt x="2117" y="1267"/>
                  </a:lnTo>
                  <a:lnTo>
                    <a:pt x="2118" y="1272"/>
                  </a:lnTo>
                  <a:lnTo>
                    <a:pt x="2121" y="1289"/>
                  </a:lnTo>
                  <a:lnTo>
                    <a:pt x="2125" y="1312"/>
                  </a:lnTo>
                  <a:lnTo>
                    <a:pt x="2127" y="1324"/>
                  </a:lnTo>
                  <a:lnTo>
                    <a:pt x="2131" y="1337"/>
                  </a:lnTo>
                  <a:lnTo>
                    <a:pt x="2134" y="1348"/>
                  </a:lnTo>
                  <a:lnTo>
                    <a:pt x="2138" y="1358"/>
                  </a:lnTo>
                  <a:lnTo>
                    <a:pt x="2140" y="1363"/>
                  </a:lnTo>
                  <a:lnTo>
                    <a:pt x="2142" y="1366"/>
                  </a:lnTo>
                  <a:lnTo>
                    <a:pt x="2146" y="1369"/>
                  </a:lnTo>
                  <a:lnTo>
                    <a:pt x="2149" y="1371"/>
                  </a:lnTo>
                  <a:lnTo>
                    <a:pt x="2153" y="1372"/>
                  </a:lnTo>
                  <a:lnTo>
                    <a:pt x="2156" y="1373"/>
                  </a:lnTo>
                  <a:lnTo>
                    <a:pt x="2161" y="1373"/>
                  </a:lnTo>
                  <a:lnTo>
                    <a:pt x="2164" y="1371"/>
                  </a:lnTo>
                  <a:lnTo>
                    <a:pt x="2190" y="1358"/>
                  </a:lnTo>
                  <a:lnTo>
                    <a:pt x="2213" y="1343"/>
                  </a:lnTo>
                  <a:lnTo>
                    <a:pt x="2219" y="1341"/>
                  </a:lnTo>
                  <a:lnTo>
                    <a:pt x="2225" y="1338"/>
                  </a:lnTo>
                  <a:lnTo>
                    <a:pt x="2232" y="1337"/>
                  </a:lnTo>
                  <a:lnTo>
                    <a:pt x="2238" y="1336"/>
                  </a:lnTo>
                  <a:lnTo>
                    <a:pt x="2245" y="1336"/>
                  </a:lnTo>
                  <a:lnTo>
                    <a:pt x="2252" y="1337"/>
                  </a:lnTo>
                  <a:lnTo>
                    <a:pt x="2260" y="1339"/>
                  </a:lnTo>
                  <a:lnTo>
                    <a:pt x="2267" y="1343"/>
                  </a:lnTo>
                  <a:lnTo>
                    <a:pt x="2276" y="1346"/>
                  </a:lnTo>
                  <a:lnTo>
                    <a:pt x="2287" y="1349"/>
                  </a:lnTo>
                  <a:lnTo>
                    <a:pt x="2296" y="1349"/>
                  </a:lnTo>
                  <a:lnTo>
                    <a:pt x="2305" y="1349"/>
                  </a:lnTo>
                  <a:lnTo>
                    <a:pt x="2324" y="1346"/>
                  </a:lnTo>
                  <a:lnTo>
                    <a:pt x="2344" y="1344"/>
                  </a:lnTo>
                  <a:lnTo>
                    <a:pt x="2352" y="1343"/>
                  </a:lnTo>
                  <a:lnTo>
                    <a:pt x="2354" y="1344"/>
                  </a:lnTo>
                  <a:lnTo>
                    <a:pt x="2351" y="1345"/>
                  </a:lnTo>
                  <a:lnTo>
                    <a:pt x="2346" y="1350"/>
                  </a:lnTo>
                  <a:lnTo>
                    <a:pt x="2340" y="1359"/>
                  </a:lnTo>
                  <a:lnTo>
                    <a:pt x="2333" y="1366"/>
                  </a:lnTo>
                  <a:lnTo>
                    <a:pt x="2328" y="1370"/>
                  </a:lnTo>
                  <a:lnTo>
                    <a:pt x="2323" y="1372"/>
                  </a:lnTo>
                  <a:lnTo>
                    <a:pt x="2317" y="1373"/>
                  </a:lnTo>
                  <a:lnTo>
                    <a:pt x="2311" y="1374"/>
                  </a:lnTo>
                  <a:lnTo>
                    <a:pt x="2298" y="1376"/>
                  </a:lnTo>
                  <a:lnTo>
                    <a:pt x="2284" y="1376"/>
                  </a:lnTo>
                  <a:lnTo>
                    <a:pt x="2271" y="1377"/>
                  </a:lnTo>
                  <a:lnTo>
                    <a:pt x="2257" y="1379"/>
                  </a:lnTo>
                  <a:lnTo>
                    <a:pt x="2252" y="1380"/>
                  </a:lnTo>
                  <a:lnTo>
                    <a:pt x="2246" y="1383"/>
                  </a:lnTo>
                  <a:lnTo>
                    <a:pt x="2240" y="1386"/>
                  </a:lnTo>
                  <a:lnTo>
                    <a:pt x="2234" y="1391"/>
                  </a:lnTo>
                  <a:lnTo>
                    <a:pt x="2229" y="1396"/>
                  </a:lnTo>
                  <a:lnTo>
                    <a:pt x="2225" y="1403"/>
                  </a:lnTo>
                  <a:lnTo>
                    <a:pt x="2220" y="1413"/>
                  </a:lnTo>
                  <a:lnTo>
                    <a:pt x="2215" y="1423"/>
                  </a:lnTo>
                  <a:lnTo>
                    <a:pt x="2212" y="1435"/>
                  </a:lnTo>
                  <a:lnTo>
                    <a:pt x="2207" y="1448"/>
                  </a:lnTo>
                  <a:lnTo>
                    <a:pt x="2204" y="1460"/>
                  </a:lnTo>
                  <a:lnTo>
                    <a:pt x="2200" y="1473"/>
                  </a:lnTo>
                  <a:lnTo>
                    <a:pt x="2199" y="1486"/>
                  </a:lnTo>
                  <a:lnTo>
                    <a:pt x="2198" y="1498"/>
                  </a:lnTo>
                  <a:lnTo>
                    <a:pt x="2198" y="1508"/>
                  </a:lnTo>
                  <a:lnTo>
                    <a:pt x="2199" y="1518"/>
                  </a:lnTo>
                  <a:lnTo>
                    <a:pt x="2200" y="1522"/>
                  </a:lnTo>
                  <a:lnTo>
                    <a:pt x="2202" y="1526"/>
                  </a:lnTo>
                  <a:lnTo>
                    <a:pt x="2204" y="1528"/>
                  </a:lnTo>
                  <a:lnTo>
                    <a:pt x="2206" y="1530"/>
                  </a:lnTo>
                  <a:lnTo>
                    <a:pt x="2210" y="1531"/>
                  </a:lnTo>
                  <a:lnTo>
                    <a:pt x="2213" y="1533"/>
                  </a:lnTo>
                  <a:lnTo>
                    <a:pt x="2217" y="1533"/>
                  </a:lnTo>
                  <a:lnTo>
                    <a:pt x="2221" y="1531"/>
                  </a:lnTo>
                  <a:lnTo>
                    <a:pt x="2240" y="1523"/>
                  </a:lnTo>
                  <a:lnTo>
                    <a:pt x="2263" y="1512"/>
                  </a:lnTo>
                  <a:lnTo>
                    <a:pt x="2275" y="1506"/>
                  </a:lnTo>
                  <a:lnTo>
                    <a:pt x="2287" y="1500"/>
                  </a:lnTo>
                  <a:lnTo>
                    <a:pt x="2295" y="1498"/>
                  </a:lnTo>
                  <a:lnTo>
                    <a:pt x="2302" y="1497"/>
                  </a:lnTo>
                  <a:lnTo>
                    <a:pt x="2300" y="1502"/>
                  </a:lnTo>
                  <a:lnTo>
                    <a:pt x="2296" y="1514"/>
                  </a:lnTo>
                  <a:lnTo>
                    <a:pt x="2289" y="1528"/>
                  </a:lnTo>
                  <a:lnTo>
                    <a:pt x="2283" y="1537"/>
                  </a:lnTo>
                  <a:lnTo>
                    <a:pt x="2280" y="1549"/>
                  </a:lnTo>
                  <a:lnTo>
                    <a:pt x="2276" y="1559"/>
                  </a:lnTo>
                  <a:lnTo>
                    <a:pt x="2273" y="1571"/>
                  </a:lnTo>
                  <a:lnTo>
                    <a:pt x="2270" y="1583"/>
                  </a:lnTo>
                  <a:lnTo>
                    <a:pt x="2268" y="1593"/>
                  </a:lnTo>
                  <a:lnTo>
                    <a:pt x="2264" y="1605"/>
                  </a:lnTo>
                  <a:lnTo>
                    <a:pt x="2260" y="1615"/>
                  </a:lnTo>
                  <a:lnTo>
                    <a:pt x="2253" y="1627"/>
                  </a:lnTo>
                  <a:lnTo>
                    <a:pt x="2246" y="1634"/>
                  </a:lnTo>
                  <a:lnTo>
                    <a:pt x="2238" y="1640"/>
                  </a:lnTo>
                  <a:lnTo>
                    <a:pt x="2231" y="1646"/>
                  </a:lnTo>
                  <a:lnTo>
                    <a:pt x="2225" y="1650"/>
                  </a:lnTo>
                  <a:lnTo>
                    <a:pt x="2222" y="1651"/>
                  </a:lnTo>
                  <a:lnTo>
                    <a:pt x="2221" y="1653"/>
                  </a:lnTo>
                  <a:lnTo>
                    <a:pt x="2221" y="1654"/>
                  </a:lnTo>
                  <a:lnTo>
                    <a:pt x="2222" y="1655"/>
                  </a:lnTo>
                  <a:lnTo>
                    <a:pt x="2229" y="1655"/>
                  </a:lnTo>
                  <a:lnTo>
                    <a:pt x="2245" y="1655"/>
                  </a:lnTo>
                  <a:lnTo>
                    <a:pt x="2261" y="1654"/>
                  </a:lnTo>
                  <a:lnTo>
                    <a:pt x="2276" y="1654"/>
                  </a:lnTo>
                  <a:lnTo>
                    <a:pt x="2290" y="1656"/>
                  </a:lnTo>
                  <a:lnTo>
                    <a:pt x="2304" y="1658"/>
                  </a:lnTo>
                  <a:lnTo>
                    <a:pt x="2331" y="1664"/>
                  </a:lnTo>
                  <a:lnTo>
                    <a:pt x="2359" y="1673"/>
                  </a:lnTo>
                  <a:lnTo>
                    <a:pt x="2360" y="1673"/>
                  </a:lnTo>
                  <a:lnTo>
                    <a:pt x="2360" y="1675"/>
                  </a:lnTo>
                  <a:lnTo>
                    <a:pt x="2359" y="1675"/>
                  </a:lnTo>
                  <a:lnTo>
                    <a:pt x="2358" y="1676"/>
                  </a:lnTo>
                  <a:lnTo>
                    <a:pt x="2353" y="1678"/>
                  </a:lnTo>
                  <a:lnTo>
                    <a:pt x="2346" y="1680"/>
                  </a:lnTo>
                  <a:lnTo>
                    <a:pt x="2333" y="1686"/>
                  </a:lnTo>
                  <a:lnTo>
                    <a:pt x="2325" y="1690"/>
                  </a:lnTo>
                  <a:lnTo>
                    <a:pt x="2320" y="1694"/>
                  </a:lnTo>
                  <a:lnTo>
                    <a:pt x="2316" y="1701"/>
                  </a:lnTo>
                  <a:lnTo>
                    <a:pt x="2312" y="1707"/>
                  </a:lnTo>
                  <a:lnTo>
                    <a:pt x="2310" y="1714"/>
                  </a:lnTo>
                  <a:lnTo>
                    <a:pt x="2304" y="1728"/>
                  </a:lnTo>
                  <a:lnTo>
                    <a:pt x="2298" y="1741"/>
                  </a:lnTo>
                  <a:lnTo>
                    <a:pt x="2302" y="1749"/>
                  </a:lnTo>
                  <a:lnTo>
                    <a:pt x="2307" y="1761"/>
                  </a:lnTo>
                  <a:lnTo>
                    <a:pt x="2310" y="1767"/>
                  </a:lnTo>
                  <a:lnTo>
                    <a:pt x="2311" y="1772"/>
                  </a:lnTo>
                  <a:lnTo>
                    <a:pt x="2311" y="1777"/>
                  </a:lnTo>
                  <a:lnTo>
                    <a:pt x="2309" y="1779"/>
                  </a:lnTo>
                  <a:lnTo>
                    <a:pt x="2295" y="1789"/>
                  </a:lnTo>
                  <a:lnTo>
                    <a:pt x="2285" y="1794"/>
                  </a:lnTo>
                  <a:lnTo>
                    <a:pt x="2281" y="1798"/>
                  </a:lnTo>
                  <a:lnTo>
                    <a:pt x="2278" y="1800"/>
                  </a:lnTo>
                  <a:lnTo>
                    <a:pt x="2276" y="1804"/>
                  </a:lnTo>
                  <a:lnTo>
                    <a:pt x="2275" y="1806"/>
                  </a:lnTo>
                  <a:lnTo>
                    <a:pt x="2275" y="1810"/>
                  </a:lnTo>
                  <a:lnTo>
                    <a:pt x="2276" y="1812"/>
                  </a:lnTo>
                  <a:lnTo>
                    <a:pt x="2276" y="1815"/>
                  </a:lnTo>
                  <a:lnTo>
                    <a:pt x="2278" y="1820"/>
                  </a:lnTo>
                  <a:lnTo>
                    <a:pt x="2284" y="1829"/>
                  </a:lnTo>
                  <a:lnTo>
                    <a:pt x="2292" y="1841"/>
                  </a:lnTo>
                  <a:lnTo>
                    <a:pt x="2306" y="1862"/>
                  </a:lnTo>
                  <a:lnTo>
                    <a:pt x="2311" y="1871"/>
                  </a:lnTo>
                  <a:lnTo>
                    <a:pt x="2310" y="1875"/>
                  </a:lnTo>
                  <a:lnTo>
                    <a:pt x="2306" y="1879"/>
                  </a:lnTo>
                  <a:lnTo>
                    <a:pt x="2302" y="1884"/>
                  </a:lnTo>
                  <a:lnTo>
                    <a:pt x="2292" y="1893"/>
                  </a:lnTo>
                  <a:lnTo>
                    <a:pt x="2283" y="1904"/>
                  </a:lnTo>
                  <a:lnTo>
                    <a:pt x="2277" y="1913"/>
                  </a:lnTo>
                  <a:lnTo>
                    <a:pt x="2276" y="1917"/>
                  </a:lnTo>
                  <a:lnTo>
                    <a:pt x="2275" y="1920"/>
                  </a:lnTo>
                  <a:lnTo>
                    <a:pt x="2275" y="1924"/>
                  </a:lnTo>
                  <a:lnTo>
                    <a:pt x="2275" y="1927"/>
                  </a:lnTo>
                  <a:lnTo>
                    <a:pt x="2278" y="1932"/>
                  </a:lnTo>
                  <a:lnTo>
                    <a:pt x="2283" y="1936"/>
                  </a:lnTo>
                  <a:lnTo>
                    <a:pt x="2289" y="1940"/>
                  </a:lnTo>
                  <a:lnTo>
                    <a:pt x="2297" y="1942"/>
                  </a:lnTo>
                  <a:lnTo>
                    <a:pt x="2314" y="1948"/>
                  </a:lnTo>
                  <a:lnTo>
                    <a:pt x="2332" y="1954"/>
                  </a:lnTo>
                  <a:lnTo>
                    <a:pt x="2340" y="1957"/>
                  </a:lnTo>
                  <a:lnTo>
                    <a:pt x="2347" y="1962"/>
                  </a:lnTo>
                  <a:lnTo>
                    <a:pt x="2353" y="1969"/>
                  </a:lnTo>
                  <a:lnTo>
                    <a:pt x="2356" y="1976"/>
                  </a:lnTo>
                  <a:lnTo>
                    <a:pt x="2362" y="1989"/>
                  </a:lnTo>
                  <a:lnTo>
                    <a:pt x="2368" y="2002"/>
                  </a:lnTo>
                  <a:lnTo>
                    <a:pt x="2374" y="2012"/>
                  </a:lnTo>
                  <a:lnTo>
                    <a:pt x="2382" y="2025"/>
                  </a:lnTo>
                  <a:lnTo>
                    <a:pt x="2385" y="2032"/>
                  </a:lnTo>
                  <a:lnTo>
                    <a:pt x="2387" y="2038"/>
                  </a:lnTo>
                  <a:lnTo>
                    <a:pt x="2388" y="2044"/>
                  </a:lnTo>
                  <a:lnTo>
                    <a:pt x="2388" y="2049"/>
                  </a:lnTo>
                  <a:lnTo>
                    <a:pt x="2384" y="2060"/>
                  </a:lnTo>
                  <a:lnTo>
                    <a:pt x="2382" y="2070"/>
                  </a:lnTo>
                  <a:lnTo>
                    <a:pt x="2381" y="2075"/>
                  </a:lnTo>
                  <a:lnTo>
                    <a:pt x="2380" y="2080"/>
                  </a:lnTo>
                  <a:lnTo>
                    <a:pt x="2380" y="2085"/>
                  </a:lnTo>
                  <a:lnTo>
                    <a:pt x="2381" y="2090"/>
                  </a:lnTo>
                  <a:lnTo>
                    <a:pt x="2384" y="2095"/>
                  </a:lnTo>
                  <a:lnTo>
                    <a:pt x="2388" y="2101"/>
                  </a:lnTo>
                  <a:lnTo>
                    <a:pt x="2394" y="2105"/>
                  </a:lnTo>
                  <a:lnTo>
                    <a:pt x="2403" y="2111"/>
                  </a:lnTo>
                  <a:lnTo>
                    <a:pt x="2406" y="2115"/>
                  </a:lnTo>
                  <a:lnTo>
                    <a:pt x="2409" y="2120"/>
                  </a:lnTo>
                  <a:lnTo>
                    <a:pt x="2410" y="2126"/>
                  </a:lnTo>
                  <a:lnTo>
                    <a:pt x="2410" y="2134"/>
                  </a:lnTo>
                  <a:lnTo>
                    <a:pt x="2408" y="2154"/>
                  </a:lnTo>
                  <a:lnTo>
                    <a:pt x="2402" y="2175"/>
                  </a:lnTo>
                  <a:lnTo>
                    <a:pt x="2396" y="2198"/>
                  </a:lnTo>
                  <a:lnTo>
                    <a:pt x="2390" y="2220"/>
                  </a:lnTo>
                  <a:lnTo>
                    <a:pt x="2385" y="2241"/>
                  </a:lnTo>
                  <a:lnTo>
                    <a:pt x="2383" y="2258"/>
                  </a:lnTo>
                  <a:lnTo>
                    <a:pt x="2382" y="2274"/>
                  </a:lnTo>
                  <a:lnTo>
                    <a:pt x="2380" y="2290"/>
                  </a:lnTo>
                  <a:lnTo>
                    <a:pt x="2377" y="2305"/>
                  </a:lnTo>
                  <a:lnTo>
                    <a:pt x="2374" y="2319"/>
                  </a:lnTo>
                  <a:lnTo>
                    <a:pt x="2383" y="2327"/>
                  </a:lnTo>
                  <a:lnTo>
                    <a:pt x="2392" y="2334"/>
                  </a:lnTo>
                  <a:lnTo>
                    <a:pt x="2398" y="2343"/>
                  </a:lnTo>
                  <a:lnTo>
                    <a:pt x="2403" y="2351"/>
                  </a:lnTo>
                  <a:lnTo>
                    <a:pt x="2404" y="2355"/>
                  </a:lnTo>
                  <a:lnTo>
                    <a:pt x="2405" y="2361"/>
                  </a:lnTo>
                  <a:lnTo>
                    <a:pt x="2405" y="2366"/>
                  </a:lnTo>
                  <a:lnTo>
                    <a:pt x="2405" y="2371"/>
                  </a:lnTo>
                  <a:lnTo>
                    <a:pt x="2404" y="2376"/>
                  </a:lnTo>
                  <a:lnTo>
                    <a:pt x="2403" y="2381"/>
                  </a:lnTo>
                  <a:lnTo>
                    <a:pt x="2399" y="2383"/>
                  </a:lnTo>
                  <a:lnTo>
                    <a:pt x="2396" y="2387"/>
                  </a:lnTo>
                  <a:lnTo>
                    <a:pt x="2388" y="2389"/>
                  </a:lnTo>
                  <a:lnTo>
                    <a:pt x="2378" y="2393"/>
                  </a:lnTo>
                  <a:lnTo>
                    <a:pt x="2370" y="2395"/>
                  </a:lnTo>
                  <a:lnTo>
                    <a:pt x="2364" y="2396"/>
                  </a:lnTo>
                  <a:lnTo>
                    <a:pt x="2359" y="2395"/>
                  </a:lnTo>
                  <a:lnTo>
                    <a:pt x="2351" y="2391"/>
                  </a:lnTo>
                  <a:lnTo>
                    <a:pt x="2346" y="2404"/>
                  </a:lnTo>
                  <a:lnTo>
                    <a:pt x="2341" y="2417"/>
                  </a:lnTo>
                  <a:lnTo>
                    <a:pt x="2337" y="2430"/>
                  </a:lnTo>
                  <a:lnTo>
                    <a:pt x="2332" y="2444"/>
                  </a:lnTo>
                  <a:lnTo>
                    <a:pt x="2325" y="2459"/>
                  </a:lnTo>
                  <a:lnTo>
                    <a:pt x="2318" y="2474"/>
                  </a:lnTo>
                  <a:lnTo>
                    <a:pt x="2311" y="2490"/>
                  </a:lnTo>
                  <a:lnTo>
                    <a:pt x="2304" y="2506"/>
                  </a:lnTo>
                  <a:lnTo>
                    <a:pt x="2410" y="2450"/>
                  </a:lnTo>
                  <a:lnTo>
                    <a:pt x="2420" y="2437"/>
                  </a:lnTo>
                  <a:lnTo>
                    <a:pt x="2431" y="2423"/>
                  </a:lnTo>
                  <a:lnTo>
                    <a:pt x="2435" y="2417"/>
                  </a:lnTo>
                  <a:lnTo>
                    <a:pt x="2441" y="2410"/>
                  </a:lnTo>
                  <a:lnTo>
                    <a:pt x="2448" y="2405"/>
                  </a:lnTo>
                  <a:lnTo>
                    <a:pt x="2455" y="2402"/>
                  </a:lnTo>
                  <a:lnTo>
                    <a:pt x="2465" y="2397"/>
                  </a:lnTo>
                  <a:lnTo>
                    <a:pt x="2475" y="2394"/>
                  </a:lnTo>
                  <a:lnTo>
                    <a:pt x="2486" y="2391"/>
                  </a:lnTo>
                  <a:lnTo>
                    <a:pt x="2495" y="2391"/>
                  </a:lnTo>
                  <a:lnTo>
                    <a:pt x="2500" y="2391"/>
                  </a:lnTo>
                  <a:lnTo>
                    <a:pt x="2503" y="2394"/>
                  </a:lnTo>
                  <a:lnTo>
                    <a:pt x="2507" y="2395"/>
                  </a:lnTo>
                  <a:lnTo>
                    <a:pt x="2510" y="2398"/>
                  </a:lnTo>
                  <a:lnTo>
                    <a:pt x="2512" y="2402"/>
                  </a:lnTo>
                  <a:lnTo>
                    <a:pt x="2515" y="2407"/>
                  </a:lnTo>
                  <a:lnTo>
                    <a:pt x="2516" y="2411"/>
                  </a:lnTo>
                  <a:lnTo>
                    <a:pt x="2516" y="2418"/>
                  </a:lnTo>
                  <a:lnTo>
                    <a:pt x="2516" y="2428"/>
                  </a:lnTo>
                  <a:lnTo>
                    <a:pt x="2513" y="2436"/>
                  </a:lnTo>
                  <a:lnTo>
                    <a:pt x="2512" y="2445"/>
                  </a:lnTo>
                  <a:lnTo>
                    <a:pt x="2512" y="2453"/>
                  </a:lnTo>
                  <a:lnTo>
                    <a:pt x="2513" y="2465"/>
                  </a:lnTo>
                  <a:lnTo>
                    <a:pt x="2517" y="2474"/>
                  </a:lnTo>
                  <a:lnTo>
                    <a:pt x="2518" y="2479"/>
                  </a:lnTo>
                  <a:lnTo>
                    <a:pt x="2520" y="2483"/>
                  </a:lnTo>
                  <a:lnTo>
                    <a:pt x="2524" y="2488"/>
                  </a:lnTo>
                  <a:lnTo>
                    <a:pt x="2527" y="2493"/>
                  </a:lnTo>
                  <a:lnTo>
                    <a:pt x="2552" y="2518"/>
                  </a:lnTo>
                  <a:lnTo>
                    <a:pt x="2553" y="2515"/>
                  </a:lnTo>
                  <a:lnTo>
                    <a:pt x="2560" y="2501"/>
                  </a:lnTo>
                  <a:lnTo>
                    <a:pt x="2564" y="2489"/>
                  </a:lnTo>
                  <a:lnTo>
                    <a:pt x="2567" y="2483"/>
                  </a:lnTo>
                  <a:lnTo>
                    <a:pt x="2572" y="2479"/>
                  </a:lnTo>
                  <a:lnTo>
                    <a:pt x="2578" y="2475"/>
                  </a:lnTo>
                  <a:lnTo>
                    <a:pt x="2587" y="2473"/>
                  </a:lnTo>
                  <a:lnTo>
                    <a:pt x="2603" y="2471"/>
                  </a:lnTo>
                  <a:lnTo>
                    <a:pt x="2618" y="2471"/>
                  </a:lnTo>
                  <a:lnTo>
                    <a:pt x="2633" y="2469"/>
                  </a:lnTo>
                  <a:lnTo>
                    <a:pt x="2649" y="2467"/>
                  </a:lnTo>
                  <a:lnTo>
                    <a:pt x="2654" y="2464"/>
                  </a:lnTo>
                  <a:lnTo>
                    <a:pt x="2659" y="2461"/>
                  </a:lnTo>
                  <a:lnTo>
                    <a:pt x="2662" y="2457"/>
                  </a:lnTo>
                  <a:lnTo>
                    <a:pt x="2664" y="2453"/>
                  </a:lnTo>
                  <a:lnTo>
                    <a:pt x="2665" y="2449"/>
                  </a:lnTo>
                  <a:lnTo>
                    <a:pt x="2664" y="2444"/>
                  </a:lnTo>
                  <a:lnTo>
                    <a:pt x="2662" y="2438"/>
                  </a:lnTo>
                  <a:lnTo>
                    <a:pt x="2660" y="2433"/>
                  </a:lnTo>
                  <a:lnTo>
                    <a:pt x="2650" y="2411"/>
                  </a:lnTo>
                  <a:lnTo>
                    <a:pt x="2643" y="2393"/>
                  </a:lnTo>
                  <a:lnTo>
                    <a:pt x="2643" y="2387"/>
                  </a:lnTo>
                  <a:lnTo>
                    <a:pt x="2644" y="2381"/>
                  </a:lnTo>
                  <a:lnTo>
                    <a:pt x="2646" y="2376"/>
                  </a:lnTo>
                  <a:lnTo>
                    <a:pt x="2650" y="2372"/>
                  </a:lnTo>
                  <a:lnTo>
                    <a:pt x="2657" y="2365"/>
                  </a:lnTo>
                  <a:lnTo>
                    <a:pt x="2665" y="2357"/>
                  </a:lnTo>
                  <a:lnTo>
                    <a:pt x="2671" y="2350"/>
                  </a:lnTo>
                  <a:lnTo>
                    <a:pt x="2674" y="2344"/>
                  </a:lnTo>
                  <a:lnTo>
                    <a:pt x="2676" y="2337"/>
                  </a:lnTo>
                  <a:lnTo>
                    <a:pt x="2678" y="2331"/>
                  </a:lnTo>
                  <a:lnTo>
                    <a:pt x="2680" y="2317"/>
                  </a:lnTo>
                  <a:lnTo>
                    <a:pt x="2683" y="2302"/>
                  </a:lnTo>
                  <a:lnTo>
                    <a:pt x="2678" y="2286"/>
                  </a:lnTo>
                  <a:lnTo>
                    <a:pt x="2671" y="2267"/>
                  </a:lnTo>
                  <a:lnTo>
                    <a:pt x="2666" y="2259"/>
                  </a:lnTo>
                  <a:lnTo>
                    <a:pt x="2664" y="2250"/>
                  </a:lnTo>
                  <a:lnTo>
                    <a:pt x="2662" y="2241"/>
                  </a:lnTo>
                  <a:lnTo>
                    <a:pt x="2662" y="2233"/>
                  </a:lnTo>
                  <a:lnTo>
                    <a:pt x="2664" y="2229"/>
                  </a:lnTo>
                  <a:lnTo>
                    <a:pt x="2665" y="2226"/>
                  </a:lnTo>
                  <a:lnTo>
                    <a:pt x="2667" y="2224"/>
                  </a:lnTo>
                  <a:lnTo>
                    <a:pt x="2671" y="2223"/>
                  </a:lnTo>
                  <a:lnTo>
                    <a:pt x="2674" y="2223"/>
                  </a:lnTo>
                  <a:lnTo>
                    <a:pt x="2678" y="2223"/>
                  </a:lnTo>
                  <a:lnTo>
                    <a:pt x="2682" y="2224"/>
                  </a:lnTo>
                  <a:lnTo>
                    <a:pt x="2688" y="2226"/>
                  </a:lnTo>
                  <a:lnTo>
                    <a:pt x="2711" y="2239"/>
                  </a:lnTo>
                  <a:lnTo>
                    <a:pt x="2739" y="2255"/>
                  </a:lnTo>
                  <a:lnTo>
                    <a:pt x="2754" y="2263"/>
                  </a:lnTo>
                  <a:lnTo>
                    <a:pt x="2768" y="2270"/>
                  </a:lnTo>
                  <a:lnTo>
                    <a:pt x="2784" y="2276"/>
                  </a:lnTo>
                  <a:lnTo>
                    <a:pt x="2798" y="2281"/>
                  </a:lnTo>
                  <a:lnTo>
                    <a:pt x="2804" y="2282"/>
                  </a:lnTo>
                  <a:lnTo>
                    <a:pt x="2811" y="2282"/>
                  </a:lnTo>
                  <a:lnTo>
                    <a:pt x="2818" y="2282"/>
                  </a:lnTo>
                  <a:lnTo>
                    <a:pt x="2824" y="2281"/>
                  </a:lnTo>
                  <a:lnTo>
                    <a:pt x="2830" y="2279"/>
                  </a:lnTo>
                  <a:lnTo>
                    <a:pt x="2836" y="2275"/>
                  </a:lnTo>
                  <a:lnTo>
                    <a:pt x="2841" y="2270"/>
                  </a:lnTo>
                  <a:lnTo>
                    <a:pt x="2845" y="2265"/>
                  </a:lnTo>
                  <a:lnTo>
                    <a:pt x="2848" y="2260"/>
                  </a:lnTo>
                  <a:lnTo>
                    <a:pt x="2850" y="2255"/>
                  </a:lnTo>
                  <a:lnTo>
                    <a:pt x="2851" y="2251"/>
                  </a:lnTo>
                  <a:lnTo>
                    <a:pt x="2851" y="2246"/>
                  </a:lnTo>
                  <a:lnTo>
                    <a:pt x="2851" y="2238"/>
                  </a:lnTo>
                  <a:lnTo>
                    <a:pt x="2851" y="2231"/>
                  </a:lnTo>
                  <a:lnTo>
                    <a:pt x="2852" y="2229"/>
                  </a:lnTo>
                  <a:lnTo>
                    <a:pt x="2852" y="2225"/>
                  </a:lnTo>
                  <a:lnTo>
                    <a:pt x="2855" y="2223"/>
                  </a:lnTo>
                  <a:lnTo>
                    <a:pt x="2857" y="2220"/>
                  </a:lnTo>
                  <a:lnTo>
                    <a:pt x="2862" y="2219"/>
                  </a:lnTo>
                  <a:lnTo>
                    <a:pt x="2866" y="2217"/>
                  </a:lnTo>
                  <a:lnTo>
                    <a:pt x="2873" y="2216"/>
                  </a:lnTo>
                  <a:lnTo>
                    <a:pt x="2881" y="2215"/>
                  </a:lnTo>
                  <a:lnTo>
                    <a:pt x="2888" y="2213"/>
                  </a:lnTo>
                  <a:lnTo>
                    <a:pt x="2894" y="2212"/>
                  </a:lnTo>
                  <a:lnTo>
                    <a:pt x="2900" y="2210"/>
                  </a:lnTo>
                  <a:lnTo>
                    <a:pt x="2903" y="2208"/>
                  </a:lnTo>
                  <a:lnTo>
                    <a:pt x="2908" y="2204"/>
                  </a:lnTo>
                  <a:lnTo>
                    <a:pt x="2910" y="2201"/>
                  </a:lnTo>
                  <a:lnTo>
                    <a:pt x="2913" y="2196"/>
                  </a:lnTo>
                  <a:lnTo>
                    <a:pt x="2915" y="2191"/>
                  </a:lnTo>
                  <a:lnTo>
                    <a:pt x="2916" y="2181"/>
                  </a:lnTo>
                  <a:lnTo>
                    <a:pt x="2916" y="2168"/>
                  </a:lnTo>
                  <a:lnTo>
                    <a:pt x="2915" y="2156"/>
                  </a:lnTo>
                  <a:lnTo>
                    <a:pt x="2912" y="2142"/>
                  </a:lnTo>
                  <a:lnTo>
                    <a:pt x="2908" y="2128"/>
                  </a:lnTo>
                  <a:lnTo>
                    <a:pt x="2902" y="2115"/>
                  </a:lnTo>
                  <a:lnTo>
                    <a:pt x="2896" y="2101"/>
                  </a:lnTo>
                  <a:lnTo>
                    <a:pt x="2891" y="2088"/>
                  </a:lnTo>
                  <a:lnTo>
                    <a:pt x="2880" y="2064"/>
                  </a:lnTo>
                  <a:lnTo>
                    <a:pt x="2871" y="2047"/>
                  </a:lnTo>
                  <a:lnTo>
                    <a:pt x="2865" y="2038"/>
                  </a:lnTo>
                  <a:lnTo>
                    <a:pt x="2857" y="2030"/>
                  </a:lnTo>
                  <a:lnTo>
                    <a:pt x="2848" y="2023"/>
                  </a:lnTo>
                  <a:lnTo>
                    <a:pt x="2838" y="2017"/>
                  </a:lnTo>
                  <a:lnTo>
                    <a:pt x="2828" y="2011"/>
                  </a:lnTo>
                  <a:lnTo>
                    <a:pt x="2818" y="2005"/>
                  </a:lnTo>
                  <a:lnTo>
                    <a:pt x="2809" y="1999"/>
                  </a:lnTo>
                  <a:lnTo>
                    <a:pt x="2800" y="1992"/>
                  </a:lnTo>
                  <a:lnTo>
                    <a:pt x="2785" y="1981"/>
                  </a:lnTo>
                  <a:lnTo>
                    <a:pt x="2774" y="1973"/>
                  </a:lnTo>
                  <a:lnTo>
                    <a:pt x="2773" y="1971"/>
                  </a:lnTo>
                  <a:lnTo>
                    <a:pt x="2773" y="1970"/>
                  </a:lnTo>
                  <a:lnTo>
                    <a:pt x="2774" y="1969"/>
                  </a:lnTo>
                  <a:lnTo>
                    <a:pt x="2777" y="1968"/>
                  </a:lnTo>
                  <a:lnTo>
                    <a:pt x="2786" y="1967"/>
                  </a:lnTo>
                  <a:lnTo>
                    <a:pt x="2802" y="1967"/>
                  </a:lnTo>
                  <a:lnTo>
                    <a:pt x="2817" y="1966"/>
                  </a:lnTo>
                  <a:lnTo>
                    <a:pt x="2828" y="1964"/>
                  </a:lnTo>
                  <a:lnTo>
                    <a:pt x="2831" y="1963"/>
                  </a:lnTo>
                  <a:lnTo>
                    <a:pt x="2835" y="1962"/>
                  </a:lnTo>
                  <a:lnTo>
                    <a:pt x="2837" y="1961"/>
                  </a:lnTo>
                  <a:lnTo>
                    <a:pt x="2839" y="1959"/>
                  </a:lnTo>
                  <a:lnTo>
                    <a:pt x="2842" y="1953"/>
                  </a:lnTo>
                  <a:lnTo>
                    <a:pt x="2843" y="1946"/>
                  </a:lnTo>
                  <a:lnTo>
                    <a:pt x="2843" y="1936"/>
                  </a:lnTo>
                  <a:lnTo>
                    <a:pt x="2844" y="1925"/>
                  </a:lnTo>
                  <a:lnTo>
                    <a:pt x="2845" y="1922"/>
                  </a:lnTo>
                  <a:lnTo>
                    <a:pt x="2846" y="1920"/>
                  </a:lnTo>
                  <a:lnTo>
                    <a:pt x="2849" y="1918"/>
                  </a:lnTo>
                  <a:lnTo>
                    <a:pt x="2852" y="1917"/>
                  </a:lnTo>
                  <a:lnTo>
                    <a:pt x="2862" y="1912"/>
                  </a:lnTo>
                  <a:lnTo>
                    <a:pt x="2872" y="1907"/>
                  </a:lnTo>
                  <a:lnTo>
                    <a:pt x="2881" y="1902"/>
                  </a:lnTo>
                  <a:lnTo>
                    <a:pt x="2892" y="1895"/>
                  </a:lnTo>
                  <a:lnTo>
                    <a:pt x="2895" y="1890"/>
                  </a:lnTo>
                  <a:lnTo>
                    <a:pt x="2899" y="1885"/>
                  </a:lnTo>
                  <a:lnTo>
                    <a:pt x="2902" y="1879"/>
                  </a:lnTo>
                  <a:lnTo>
                    <a:pt x="2903" y="1874"/>
                  </a:lnTo>
                  <a:lnTo>
                    <a:pt x="2905" y="1864"/>
                  </a:lnTo>
                  <a:lnTo>
                    <a:pt x="2905" y="1854"/>
                  </a:lnTo>
                  <a:lnTo>
                    <a:pt x="2903" y="1846"/>
                  </a:lnTo>
                  <a:lnTo>
                    <a:pt x="2901" y="1836"/>
                  </a:lnTo>
                  <a:lnTo>
                    <a:pt x="2899" y="1828"/>
                  </a:lnTo>
                  <a:lnTo>
                    <a:pt x="2898" y="1819"/>
                  </a:lnTo>
                  <a:lnTo>
                    <a:pt x="2896" y="1811"/>
                  </a:lnTo>
                  <a:lnTo>
                    <a:pt x="2898" y="1801"/>
                  </a:lnTo>
                  <a:lnTo>
                    <a:pt x="2910" y="1803"/>
                  </a:lnTo>
                  <a:lnTo>
                    <a:pt x="2922" y="1804"/>
                  </a:lnTo>
                  <a:lnTo>
                    <a:pt x="2934" y="1806"/>
                  </a:lnTo>
                  <a:lnTo>
                    <a:pt x="2947" y="1810"/>
                  </a:lnTo>
                  <a:lnTo>
                    <a:pt x="2958" y="1811"/>
                  </a:lnTo>
                  <a:lnTo>
                    <a:pt x="2971" y="1812"/>
                  </a:lnTo>
                  <a:lnTo>
                    <a:pt x="2977" y="1812"/>
                  </a:lnTo>
                  <a:lnTo>
                    <a:pt x="2984" y="1811"/>
                  </a:lnTo>
                  <a:lnTo>
                    <a:pt x="2990" y="1810"/>
                  </a:lnTo>
                  <a:lnTo>
                    <a:pt x="2995" y="1807"/>
                  </a:lnTo>
                  <a:lnTo>
                    <a:pt x="3011" y="1800"/>
                  </a:lnTo>
                  <a:lnTo>
                    <a:pt x="3031" y="1790"/>
                  </a:lnTo>
                  <a:lnTo>
                    <a:pt x="3055" y="1776"/>
                  </a:lnTo>
                  <a:lnTo>
                    <a:pt x="3077" y="1761"/>
                  </a:lnTo>
                  <a:lnTo>
                    <a:pt x="3086" y="1754"/>
                  </a:lnTo>
                  <a:lnTo>
                    <a:pt x="3093" y="1748"/>
                  </a:lnTo>
                  <a:lnTo>
                    <a:pt x="3096" y="1744"/>
                  </a:lnTo>
                  <a:lnTo>
                    <a:pt x="3097" y="1742"/>
                  </a:lnTo>
                  <a:lnTo>
                    <a:pt x="3098" y="1740"/>
                  </a:lnTo>
                  <a:lnTo>
                    <a:pt x="3097" y="1737"/>
                  </a:lnTo>
                  <a:lnTo>
                    <a:pt x="3097" y="1735"/>
                  </a:lnTo>
                  <a:lnTo>
                    <a:pt x="3094" y="1734"/>
                  </a:lnTo>
                  <a:lnTo>
                    <a:pt x="3091" y="1733"/>
                  </a:lnTo>
                  <a:lnTo>
                    <a:pt x="3086" y="1733"/>
                  </a:lnTo>
                  <a:lnTo>
                    <a:pt x="3073" y="1733"/>
                  </a:lnTo>
                  <a:lnTo>
                    <a:pt x="3056" y="1735"/>
                  </a:lnTo>
                  <a:lnTo>
                    <a:pt x="3035" y="1737"/>
                  </a:lnTo>
                  <a:lnTo>
                    <a:pt x="3016" y="1739"/>
                  </a:lnTo>
                  <a:lnTo>
                    <a:pt x="2998" y="1737"/>
                  </a:lnTo>
                  <a:lnTo>
                    <a:pt x="2977" y="1734"/>
                  </a:lnTo>
                  <a:lnTo>
                    <a:pt x="2972" y="1733"/>
                  </a:lnTo>
                  <a:lnTo>
                    <a:pt x="2967" y="1734"/>
                  </a:lnTo>
                  <a:lnTo>
                    <a:pt x="2963" y="1735"/>
                  </a:lnTo>
                  <a:lnTo>
                    <a:pt x="2958" y="1737"/>
                  </a:lnTo>
                  <a:lnTo>
                    <a:pt x="2948" y="1744"/>
                  </a:lnTo>
                  <a:lnTo>
                    <a:pt x="2936" y="1751"/>
                  </a:lnTo>
                  <a:lnTo>
                    <a:pt x="2924" y="1758"/>
                  </a:lnTo>
                  <a:lnTo>
                    <a:pt x="2913" y="1765"/>
                  </a:lnTo>
                  <a:lnTo>
                    <a:pt x="2906" y="1769"/>
                  </a:lnTo>
                  <a:lnTo>
                    <a:pt x="2900" y="1770"/>
                  </a:lnTo>
                  <a:lnTo>
                    <a:pt x="2893" y="1772"/>
                  </a:lnTo>
                  <a:lnTo>
                    <a:pt x="2886" y="1772"/>
                  </a:lnTo>
                  <a:lnTo>
                    <a:pt x="2875" y="1771"/>
                  </a:lnTo>
                  <a:lnTo>
                    <a:pt x="2866" y="1769"/>
                  </a:lnTo>
                  <a:lnTo>
                    <a:pt x="2857" y="1765"/>
                  </a:lnTo>
                  <a:lnTo>
                    <a:pt x="2850" y="1760"/>
                  </a:lnTo>
                  <a:lnTo>
                    <a:pt x="2848" y="1757"/>
                  </a:lnTo>
                  <a:lnTo>
                    <a:pt x="2845" y="1754"/>
                  </a:lnTo>
                  <a:lnTo>
                    <a:pt x="2843" y="1749"/>
                  </a:lnTo>
                  <a:lnTo>
                    <a:pt x="2843" y="1746"/>
                  </a:lnTo>
                  <a:lnTo>
                    <a:pt x="2842" y="1741"/>
                  </a:lnTo>
                  <a:lnTo>
                    <a:pt x="2843" y="1735"/>
                  </a:lnTo>
                  <a:lnTo>
                    <a:pt x="2844" y="1730"/>
                  </a:lnTo>
                  <a:lnTo>
                    <a:pt x="2846" y="1725"/>
                  </a:lnTo>
                  <a:lnTo>
                    <a:pt x="2852" y="1707"/>
                  </a:lnTo>
                  <a:lnTo>
                    <a:pt x="2857" y="1698"/>
                  </a:lnTo>
                  <a:lnTo>
                    <a:pt x="2859" y="1693"/>
                  </a:lnTo>
                  <a:lnTo>
                    <a:pt x="2864" y="1690"/>
                  </a:lnTo>
                  <a:lnTo>
                    <a:pt x="2870" y="1685"/>
                  </a:lnTo>
                  <a:lnTo>
                    <a:pt x="2880" y="1680"/>
                  </a:lnTo>
                  <a:lnTo>
                    <a:pt x="2887" y="1676"/>
                  </a:lnTo>
                  <a:lnTo>
                    <a:pt x="2892" y="1672"/>
                  </a:lnTo>
                  <a:lnTo>
                    <a:pt x="2894" y="1669"/>
                  </a:lnTo>
                  <a:lnTo>
                    <a:pt x="2896" y="1665"/>
                  </a:lnTo>
                  <a:lnTo>
                    <a:pt x="2896" y="1663"/>
                  </a:lnTo>
                  <a:lnTo>
                    <a:pt x="2895" y="1661"/>
                  </a:lnTo>
                  <a:lnTo>
                    <a:pt x="2893" y="1657"/>
                  </a:lnTo>
                  <a:lnTo>
                    <a:pt x="2891" y="1655"/>
                  </a:lnTo>
                  <a:lnTo>
                    <a:pt x="2884" y="1650"/>
                  </a:lnTo>
                  <a:lnTo>
                    <a:pt x="2875" y="1644"/>
                  </a:lnTo>
                  <a:lnTo>
                    <a:pt x="2869" y="1639"/>
                  </a:lnTo>
                  <a:lnTo>
                    <a:pt x="2863" y="1633"/>
                  </a:lnTo>
                  <a:lnTo>
                    <a:pt x="2860" y="1626"/>
                  </a:lnTo>
                  <a:lnTo>
                    <a:pt x="2859" y="1619"/>
                  </a:lnTo>
                  <a:lnTo>
                    <a:pt x="2859" y="1613"/>
                  </a:lnTo>
                  <a:lnTo>
                    <a:pt x="2862" y="1607"/>
                  </a:lnTo>
                  <a:lnTo>
                    <a:pt x="2864" y="1602"/>
                  </a:lnTo>
                  <a:lnTo>
                    <a:pt x="2867" y="1597"/>
                  </a:lnTo>
                  <a:lnTo>
                    <a:pt x="2871" y="1592"/>
                  </a:lnTo>
                  <a:lnTo>
                    <a:pt x="2875" y="1587"/>
                  </a:lnTo>
                  <a:lnTo>
                    <a:pt x="2887" y="1579"/>
                  </a:lnTo>
                  <a:lnTo>
                    <a:pt x="2899" y="1572"/>
                  </a:lnTo>
                  <a:lnTo>
                    <a:pt x="2910" y="1565"/>
                  </a:lnTo>
                  <a:lnTo>
                    <a:pt x="2921" y="1559"/>
                  </a:lnTo>
                  <a:lnTo>
                    <a:pt x="2988" y="1537"/>
                  </a:lnTo>
                  <a:lnTo>
                    <a:pt x="3026" y="1449"/>
                  </a:lnTo>
                  <a:lnTo>
                    <a:pt x="3026" y="1440"/>
                  </a:lnTo>
                  <a:lnTo>
                    <a:pt x="3024" y="1431"/>
                  </a:lnTo>
                  <a:lnTo>
                    <a:pt x="3022" y="1423"/>
                  </a:lnTo>
                  <a:lnTo>
                    <a:pt x="3019" y="1416"/>
                  </a:lnTo>
                  <a:lnTo>
                    <a:pt x="3012" y="1402"/>
                  </a:lnTo>
                  <a:lnTo>
                    <a:pt x="3004" y="1390"/>
                  </a:lnTo>
                  <a:lnTo>
                    <a:pt x="2995" y="1378"/>
                  </a:lnTo>
                  <a:lnTo>
                    <a:pt x="2987" y="1365"/>
                  </a:lnTo>
                  <a:lnTo>
                    <a:pt x="2984" y="1359"/>
                  </a:lnTo>
                  <a:lnTo>
                    <a:pt x="2980" y="1352"/>
                  </a:lnTo>
                  <a:lnTo>
                    <a:pt x="2978" y="1345"/>
                  </a:lnTo>
                  <a:lnTo>
                    <a:pt x="2976" y="1338"/>
                  </a:lnTo>
                  <a:lnTo>
                    <a:pt x="2974" y="1329"/>
                  </a:lnTo>
                  <a:lnTo>
                    <a:pt x="2973" y="1321"/>
                  </a:lnTo>
                  <a:lnTo>
                    <a:pt x="2973" y="1314"/>
                  </a:lnTo>
                  <a:lnTo>
                    <a:pt x="2974" y="1309"/>
                  </a:lnTo>
                  <a:lnTo>
                    <a:pt x="2976" y="1305"/>
                  </a:lnTo>
                  <a:lnTo>
                    <a:pt x="2978" y="1302"/>
                  </a:lnTo>
                  <a:lnTo>
                    <a:pt x="2981" y="1300"/>
                  </a:lnTo>
                  <a:lnTo>
                    <a:pt x="2985" y="1299"/>
                  </a:lnTo>
                  <a:lnTo>
                    <a:pt x="3007" y="1298"/>
                  </a:lnTo>
                  <a:lnTo>
                    <a:pt x="3036" y="1299"/>
                  </a:lnTo>
                  <a:lnTo>
                    <a:pt x="3040" y="1293"/>
                  </a:lnTo>
                  <a:lnTo>
                    <a:pt x="3042" y="1288"/>
                  </a:lnTo>
                  <a:lnTo>
                    <a:pt x="3047" y="1285"/>
                  </a:lnTo>
                  <a:lnTo>
                    <a:pt x="3050" y="1284"/>
                  </a:lnTo>
                  <a:lnTo>
                    <a:pt x="3059" y="1279"/>
                  </a:lnTo>
                  <a:lnTo>
                    <a:pt x="3070" y="1272"/>
                  </a:lnTo>
                  <a:lnTo>
                    <a:pt x="3073" y="1268"/>
                  </a:lnTo>
                  <a:lnTo>
                    <a:pt x="3077" y="1266"/>
                  </a:lnTo>
                  <a:lnTo>
                    <a:pt x="3078" y="1263"/>
                  </a:lnTo>
                  <a:lnTo>
                    <a:pt x="3078" y="1260"/>
                  </a:lnTo>
                  <a:lnTo>
                    <a:pt x="3077" y="1256"/>
                  </a:lnTo>
                  <a:lnTo>
                    <a:pt x="3073" y="1252"/>
                  </a:lnTo>
                  <a:lnTo>
                    <a:pt x="3069" y="1248"/>
                  </a:lnTo>
                  <a:lnTo>
                    <a:pt x="3064" y="1244"/>
                  </a:lnTo>
                  <a:lnTo>
                    <a:pt x="3059" y="1239"/>
                  </a:lnTo>
                  <a:lnTo>
                    <a:pt x="3057" y="1235"/>
                  </a:lnTo>
                  <a:lnTo>
                    <a:pt x="3043" y="1235"/>
                  </a:lnTo>
                  <a:lnTo>
                    <a:pt x="3029" y="1237"/>
                  </a:lnTo>
                  <a:lnTo>
                    <a:pt x="3015" y="1239"/>
                  </a:lnTo>
                  <a:lnTo>
                    <a:pt x="3001" y="1241"/>
                  </a:lnTo>
                  <a:lnTo>
                    <a:pt x="2994" y="1239"/>
                  </a:lnTo>
                  <a:lnTo>
                    <a:pt x="2987" y="1237"/>
                  </a:lnTo>
                  <a:lnTo>
                    <a:pt x="2980" y="1234"/>
                  </a:lnTo>
                  <a:lnTo>
                    <a:pt x="2974" y="1228"/>
                  </a:lnTo>
                  <a:lnTo>
                    <a:pt x="2971" y="1222"/>
                  </a:lnTo>
                  <a:lnTo>
                    <a:pt x="2969" y="1216"/>
                  </a:lnTo>
                  <a:lnTo>
                    <a:pt x="2969" y="1213"/>
                  </a:lnTo>
                  <a:lnTo>
                    <a:pt x="2970" y="1210"/>
                  </a:lnTo>
                  <a:lnTo>
                    <a:pt x="2971" y="1207"/>
                  </a:lnTo>
                  <a:lnTo>
                    <a:pt x="2974" y="1203"/>
                  </a:lnTo>
                  <a:lnTo>
                    <a:pt x="2980" y="1199"/>
                  </a:lnTo>
                  <a:lnTo>
                    <a:pt x="2987" y="1195"/>
                  </a:lnTo>
                  <a:lnTo>
                    <a:pt x="2993" y="1193"/>
                  </a:lnTo>
                  <a:lnTo>
                    <a:pt x="2999" y="1191"/>
                  </a:lnTo>
                  <a:lnTo>
                    <a:pt x="3011" y="1189"/>
                  </a:lnTo>
                  <a:lnTo>
                    <a:pt x="3022" y="1189"/>
                  </a:lnTo>
                  <a:lnTo>
                    <a:pt x="3028" y="1189"/>
                  </a:lnTo>
                  <a:lnTo>
                    <a:pt x="3034" y="1188"/>
                  </a:lnTo>
                  <a:lnTo>
                    <a:pt x="3038" y="1186"/>
                  </a:lnTo>
                  <a:lnTo>
                    <a:pt x="3044" y="1184"/>
                  </a:lnTo>
                  <a:lnTo>
                    <a:pt x="3050" y="1180"/>
                  </a:lnTo>
                  <a:lnTo>
                    <a:pt x="3056" y="1174"/>
                  </a:lnTo>
                  <a:lnTo>
                    <a:pt x="3062" y="1167"/>
                  </a:lnTo>
                  <a:lnTo>
                    <a:pt x="3068" y="1159"/>
                  </a:lnTo>
                  <a:lnTo>
                    <a:pt x="3072" y="1152"/>
                  </a:lnTo>
                  <a:lnTo>
                    <a:pt x="3077" y="1146"/>
                  </a:lnTo>
                  <a:lnTo>
                    <a:pt x="3082" y="1143"/>
                  </a:lnTo>
                  <a:lnTo>
                    <a:pt x="3086" y="1139"/>
                  </a:lnTo>
                  <a:lnTo>
                    <a:pt x="3096" y="1135"/>
                  </a:lnTo>
                  <a:lnTo>
                    <a:pt x="3105" y="1133"/>
                  </a:lnTo>
                  <a:lnTo>
                    <a:pt x="3114" y="1132"/>
                  </a:lnTo>
                  <a:lnTo>
                    <a:pt x="3125" y="1131"/>
                  </a:lnTo>
                  <a:lnTo>
                    <a:pt x="3130" y="1129"/>
                  </a:lnTo>
                  <a:lnTo>
                    <a:pt x="3135" y="1128"/>
                  </a:lnTo>
                  <a:lnTo>
                    <a:pt x="3141" y="1124"/>
                  </a:lnTo>
                  <a:lnTo>
                    <a:pt x="3147" y="1121"/>
                  </a:lnTo>
                  <a:lnTo>
                    <a:pt x="3151" y="1117"/>
                  </a:lnTo>
                  <a:lnTo>
                    <a:pt x="3155" y="1113"/>
                  </a:lnTo>
                  <a:lnTo>
                    <a:pt x="3160" y="1107"/>
                  </a:lnTo>
                  <a:lnTo>
                    <a:pt x="3163" y="1101"/>
                  </a:lnTo>
                  <a:lnTo>
                    <a:pt x="3169" y="1088"/>
                  </a:lnTo>
                  <a:lnTo>
                    <a:pt x="3173" y="1076"/>
                  </a:lnTo>
                  <a:lnTo>
                    <a:pt x="3182" y="1058"/>
                  </a:lnTo>
                  <a:lnTo>
                    <a:pt x="3186" y="1044"/>
                  </a:lnTo>
                  <a:lnTo>
                    <a:pt x="3189" y="1038"/>
                  </a:lnTo>
                  <a:lnTo>
                    <a:pt x="3189" y="1033"/>
                  </a:lnTo>
                  <a:lnTo>
                    <a:pt x="3189" y="1029"/>
                  </a:lnTo>
                  <a:lnTo>
                    <a:pt x="3189" y="1024"/>
                  </a:lnTo>
                  <a:lnTo>
                    <a:pt x="3185" y="1015"/>
                  </a:lnTo>
                  <a:lnTo>
                    <a:pt x="3179" y="1004"/>
                  </a:lnTo>
                  <a:lnTo>
                    <a:pt x="3170" y="990"/>
                  </a:lnTo>
                  <a:lnTo>
                    <a:pt x="3158" y="972"/>
                  </a:lnTo>
                  <a:lnTo>
                    <a:pt x="3125" y="915"/>
                  </a:lnTo>
                  <a:lnTo>
                    <a:pt x="3118" y="897"/>
                  </a:lnTo>
                  <a:lnTo>
                    <a:pt x="3106" y="874"/>
                  </a:lnTo>
                  <a:lnTo>
                    <a:pt x="3099" y="862"/>
                  </a:lnTo>
                  <a:lnTo>
                    <a:pt x="3092" y="853"/>
                  </a:lnTo>
                  <a:lnTo>
                    <a:pt x="3089" y="850"/>
                  </a:lnTo>
                  <a:lnTo>
                    <a:pt x="3085" y="846"/>
                  </a:lnTo>
                  <a:lnTo>
                    <a:pt x="3082" y="845"/>
                  </a:lnTo>
                  <a:lnTo>
                    <a:pt x="3078" y="844"/>
                  </a:lnTo>
                  <a:lnTo>
                    <a:pt x="3071" y="844"/>
                  </a:lnTo>
                  <a:lnTo>
                    <a:pt x="3064" y="845"/>
                  </a:lnTo>
                  <a:lnTo>
                    <a:pt x="3057" y="846"/>
                  </a:lnTo>
                  <a:lnTo>
                    <a:pt x="3051" y="848"/>
                  </a:lnTo>
                  <a:lnTo>
                    <a:pt x="3041" y="852"/>
                  </a:lnTo>
                  <a:lnTo>
                    <a:pt x="3031" y="855"/>
                  </a:lnTo>
                  <a:lnTo>
                    <a:pt x="3027" y="855"/>
                  </a:lnTo>
                  <a:lnTo>
                    <a:pt x="3023" y="855"/>
                  </a:lnTo>
                  <a:lnTo>
                    <a:pt x="3020" y="853"/>
                  </a:lnTo>
                  <a:lnTo>
                    <a:pt x="3016" y="850"/>
                  </a:lnTo>
                  <a:lnTo>
                    <a:pt x="3014" y="845"/>
                  </a:lnTo>
                  <a:lnTo>
                    <a:pt x="3011" y="837"/>
                  </a:lnTo>
                  <a:lnTo>
                    <a:pt x="3009" y="827"/>
                  </a:lnTo>
                  <a:lnTo>
                    <a:pt x="3007" y="816"/>
                  </a:lnTo>
                  <a:lnTo>
                    <a:pt x="3005" y="808"/>
                  </a:lnTo>
                  <a:lnTo>
                    <a:pt x="3001" y="799"/>
                  </a:lnTo>
                  <a:lnTo>
                    <a:pt x="2995" y="794"/>
                  </a:lnTo>
                  <a:lnTo>
                    <a:pt x="2990" y="788"/>
                  </a:lnTo>
                  <a:lnTo>
                    <a:pt x="2976" y="779"/>
                  </a:lnTo>
                  <a:lnTo>
                    <a:pt x="2960" y="770"/>
                  </a:lnTo>
                  <a:lnTo>
                    <a:pt x="2938" y="756"/>
                  </a:lnTo>
                  <a:lnTo>
                    <a:pt x="2915" y="742"/>
                  </a:lnTo>
                  <a:lnTo>
                    <a:pt x="2893" y="730"/>
                  </a:lnTo>
                  <a:lnTo>
                    <a:pt x="2870" y="717"/>
                  </a:lnTo>
                  <a:lnTo>
                    <a:pt x="2836" y="706"/>
                  </a:lnTo>
                  <a:lnTo>
                    <a:pt x="2800" y="696"/>
                  </a:lnTo>
                  <a:lnTo>
                    <a:pt x="2792" y="692"/>
                  </a:lnTo>
                  <a:lnTo>
                    <a:pt x="2785" y="689"/>
                  </a:lnTo>
                  <a:lnTo>
                    <a:pt x="2778" y="683"/>
                  </a:lnTo>
                  <a:lnTo>
                    <a:pt x="2771" y="678"/>
                  </a:lnTo>
                  <a:lnTo>
                    <a:pt x="2766" y="671"/>
                  </a:lnTo>
                  <a:lnTo>
                    <a:pt x="2763" y="663"/>
                  </a:lnTo>
                  <a:lnTo>
                    <a:pt x="2760" y="655"/>
                  </a:lnTo>
                  <a:lnTo>
                    <a:pt x="2759" y="645"/>
                  </a:lnTo>
                  <a:lnTo>
                    <a:pt x="2760" y="631"/>
                  </a:lnTo>
                  <a:lnTo>
                    <a:pt x="2763" y="610"/>
                  </a:lnTo>
                  <a:lnTo>
                    <a:pt x="2764" y="598"/>
                  </a:lnTo>
                  <a:lnTo>
                    <a:pt x="2764" y="589"/>
                  </a:lnTo>
                  <a:lnTo>
                    <a:pt x="2763" y="585"/>
                  </a:lnTo>
                  <a:lnTo>
                    <a:pt x="2763" y="583"/>
                  </a:lnTo>
                  <a:lnTo>
                    <a:pt x="2761" y="581"/>
                  </a:lnTo>
                  <a:lnTo>
                    <a:pt x="2759" y="581"/>
                  </a:lnTo>
                  <a:lnTo>
                    <a:pt x="2754" y="581"/>
                  </a:lnTo>
                  <a:lnTo>
                    <a:pt x="2750" y="581"/>
                  </a:lnTo>
                  <a:lnTo>
                    <a:pt x="2744" y="583"/>
                  </a:lnTo>
                  <a:lnTo>
                    <a:pt x="2739" y="585"/>
                  </a:lnTo>
                  <a:lnTo>
                    <a:pt x="2729" y="591"/>
                  </a:lnTo>
                  <a:lnTo>
                    <a:pt x="2721" y="596"/>
                  </a:lnTo>
                  <a:lnTo>
                    <a:pt x="2716" y="598"/>
                  </a:lnTo>
                  <a:lnTo>
                    <a:pt x="2711" y="599"/>
                  </a:lnTo>
                  <a:lnTo>
                    <a:pt x="2708" y="600"/>
                  </a:lnTo>
                  <a:lnTo>
                    <a:pt x="2704" y="600"/>
                  </a:lnTo>
                  <a:lnTo>
                    <a:pt x="2701" y="599"/>
                  </a:lnTo>
                  <a:lnTo>
                    <a:pt x="2699" y="597"/>
                  </a:lnTo>
                  <a:lnTo>
                    <a:pt x="2695" y="592"/>
                  </a:lnTo>
                  <a:lnTo>
                    <a:pt x="2693" y="587"/>
                  </a:lnTo>
                  <a:lnTo>
                    <a:pt x="2679" y="561"/>
                  </a:lnTo>
                  <a:lnTo>
                    <a:pt x="2664" y="536"/>
                  </a:lnTo>
                  <a:lnTo>
                    <a:pt x="2647" y="514"/>
                  </a:lnTo>
                  <a:lnTo>
                    <a:pt x="2631" y="492"/>
                  </a:lnTo>
                  <a:lnTo>
                    <a:pt x="2626" y="485"/>
                  </a:lnTo>
                  <a:lnTo>
                    <a:pt x="2623" y="479"/>
                  </a:lnTo>
                  <a:lnTo>
                    <a:pt x="2622" y="474"/>
                  </a:lnTo>
                  <a:lnTo>
                    <a:pt x="2621" y="469"/>
                  </a:lnTo>
                  <a:lnTo>
                    <a:pt x="2622" y="464"/>
                  </a:lnTo>
                  <a:lnTo>
                    <a:pt x="2623" y="460"/>
                  </a:lnTo>
                  <a:lnTo>
                    <a:pt x="2625" y="455"/>
                  </a:lnTo>
                  <a:lnTo>
                    <a:pt x="2628" y="452"/>
                  </a:lnTo>
                  <a:lnTo>
                    <a:pt x="2635" y="443"/>
                  </a:lnTo>
                  <a:lnTo>
                    <a:pt x="2643" y="434"/>
                  </a:lnTo>
                  <a:lnTo>
                    <a:pt x="2650" y="426"/>
                  </a:lnTo>
                  <a:lnTo>
                    <a:pt x="2654" y="415"/>
                  </a:lnTo>
                  <a:lnTo>
                    <a:pt x="2657" y="407"/>
                  </a:lnTo>
                  <a:lnTo>
                    <a:pt x="2657" y="399"/>
                  </a:lnTo>
                  <a:lnTo>
                    <a:pt x="2655" y="392"/>
                  </a:lnTo>
                  <a:lnTo>
                    <a:pt x="2653" y="385"/>
                  </a:lnTo>
                  <a:lnTo>
                    <a:pt x="2646" y="371"/>
                  </a:lnTo>
                  <a:lnTo>
                    <a:pt x="2639" y="357"/>
                  </a:lnTo>
                  <a:lnTo>
                    <a:pt x="2636" y="349"/>
                  </a:lnTo>
                  <a:lnTo>
                    <a:pt x="2632" y="343"/>
                  </a:lnTo>
                  <a:lnTo>
                    <a:pt x="2629" y="339"/>
                  </a:lnTo>
                  <a:lnTo>
                    <a:pt x="2625" y="336"/>
                  </a:lnTo>
                  <a:lnTo>
                    <a:pt x="2623" y="336"/>
                  </a:lnTo>
                  <a:lnTo>
                    <a:pt x="2621" y="337"/>
                  </a:lnTo>
                  <a:lnTo>
                    <a:pt x="2618" y="340"/>
                  </a:lnTo>
                  <a:lnTo>
                    <a:pt x="2616" y="343"/>
                  </a:lnTo>
                  <a:lnTo>
                    <a:pt x="2611" y="351"/>
                  </a:lnTo>
                  <a:lnTo>
                    <a:pt x="2605" y="362"/>
                  </a:lnTo>
                  <a:lnTo>
                    <a:pt x="2603" y="368"/>
                  </a:lnTo>
                  <a:lnTo>
                    <a:pt x="2600" y="372"/>
                  </a:lnTo>
                  <a:lnTo>
                    <a:pt x="2595" y="377"/>
                  </a:lnTo>
                  <a:lnTo>
                    <a:pt x="2590" y="382"/>
                  </a:lnTo>
                  <a:lnTo>
                    <a:pt x="2587" y="384"/>
                  </a:lnTo>
                  <a:lnTo>
                    <a:pt x="2581" y="384"/>
                  </a:lnTo>
                  <a:lnTo>
                    <a:pt x="2576" y="383"/>
                  </a:lnTo>
                  <a:lnTo>
                    <a:pt x="2571" y="381"/>
                  </a:lnTo>
                  <a:lnTo>
                    <a:pt x="2565" y="376"/>
                  </a:lnTo>
                  <a:lnTo>
                    <a:pt x="2559" y="371"/>
                  </a:lnTo>
                  <a:lnTo>
                    <a:pt x="2553" y="365"/>
                  </a:lnTo>
                  <a:lnTo>
                    <a:pt x="2548" y="358"/>
                  </a:lnTo>
                  <a:lnTo>
                    <a:pt x="2527" y="330"/>
                  </a:lnTo>
                  <a:lnTo>
                    <a:pt x="2513" y="308"/>
                  </a:lnTo>
                  <a:lnTo>
                    <a:pt x="2508" y="298"/>
                  </a:lnTo>
                  <a:lnTo>
                    <a:pt x="2504" y="286"/>
                  </a:lnTo>
                  <a:lnTo>
                    <a:pt x="2504" y="276"/>
                  </a:lnTo>
                  <a:lnTo>
                    <a:pt x="2504" y="265"/>
                  </a:lnTo>
                  <a:lnTo>
                    <a:pt x="2508" y="255"/>
                  </a:lnTo>
                  <a:lnTo>
                    <a:pt x="2511" y="246"/>
                  </a:lnTo>
                  <a:lnTo>
                    <a:pt x="2516" y="236"/>
                  </a:lnTo>
                  <a:lnTo>
                    <a:pt x="2520" y="227"/>
                  </a:lnTo>
                  <a:lnTo>
                    <a:pt x="2532" y="211"/>
                  </a:lnTo>
                  <a:lnTo>
                    <a:pt x="2540" y="198"/>
                  </a:lnTo>
                  <a:lnTo>
                    <a:pt x="2544" y="192"/>
                  </a:lnTo>
                  <a:lnTo>
                    <a:pt x="2545" y="187"/>
                  </a:lnTo>
                  <a:lnTo>
                    <a:pt x="2545" y="183"/>
                  </a:lnTo>
                  <a:lnTo>
                    <a:pt x="2543" y="179"/>
                  </a:lnTo>
                  <a:lnTo>
                    <a:pt x="2537" y="175"/>
                  </a:lnTo>
                  <a:lnTo>
                    <a:pt x="2532" y="171"/>
                  </a:lnTo>
                  <a:lnTo>
                    <a:pt x="2526" y="170"/>
                  </a:lnTo>
                  <a:lnTo>
                    <a:pt x="2523" y="168"/>
                  </a:lnTo>
                  <a:lnTo>
                    <a:pt x="2516" y="168"/>
                  </a:lnTo>
                  <a:lnTo>
                    <a:pt x="2511" y="166"/>
                  </a:lnTo>
                  <a:lnTo>
                    <a:pt x="2509" y="166"/>
                  </a:lnTo>
                  <a:lnTo>
                    <a:pt x="2508" y="165"/>
                  </a:lnTo>
                  <a:lnTo>
                    <a:pt x="2507" y="163"/>
                  </a:lnTo>
                  <a:lnTo>
                    <a:pt x="2505" y="159"/>
                  </a:lnTo>
                  <a:lnTo>
                    <a:pt x="2504" y="149"/>
                  </a:lnTo>
                  <a:lnTo>
                    <a:pt x="2504" y="129"/>
                  </a:lnTo>
                  <a:lnTo>
                    <a:pt x="2504" y="127"/>
                  </a:lnTo>
                  <a:lnTo>
                    <a:pt x="2503" y="123"/>
                  </a:lnTo>
                  <a:lnTo>
                    <a:pt x="2502" y="122"/>
                  </a:lnTo>
                  <a:lnTo>
                    <a:pt x="2500" y="120"/>
                  </a:lnTo>
                  <a:lnTo>
                    <a:pt x="2494" y="119"/>
                  </a:lnTo>
                  <a:lnTo>
                    <a:pt x="2487" y="119"/>
                  </a:lnTo>
                  <a:lnTo>
                    <a:pt x="2473" y="122"/>
                  </a:lnTo>
                  <a:lnTo>
                    <a:pt x="2461" y="125"/>
                  </a:lnTo>
                  <a:lnTo>
                    <a:pt x="2451" y="127"/>
                  </a:lnTo>
                  <a:lnTo>
                    <a:pt x="2442" y="130"/>
                  </a:lnTo>
                  <a:lnTo>
                    <a:pt x="2437" y="135"/>
                  </a:lnTo>
                  <a:lnTo>
                    <a:pt x="2432" y="140"/>
                  </a:lnTo>
                  <a:lnTo>
                    <a:pt x="2430" y="144"/>
                  </a:lnTo>
                  <a:lnTo>
                    <a:pt x="2427" y="150"/>
                  </a:lnTo>
                  <a:lnTo>
                    <a:pt x="2426" y="155"/>
                  </a:lnTo>
                  <a:lnTo>
                    <a:pt x="2426" y="161"/>
                  </a:lnTo>
                  <a:lnTo>
                    <a:pt x="2425" y="172"/>
                  </a:lnTo>
                  <a:lnTo>
                    <a:pt x="2423" y="183"/>
                  </a:lnTo>
                  <a:lnTo>
                    <a:pt x="2420" y="189"/>
                  </a:lnTo>
                  <a:lnTo>
                    <a:pt x="2418" y="192"/>
                  </a:lnTo>
                  <a:lnTo>
                    <a:pt x="2413" y="197"/>
                  </a:lnTo>
                  <a:lnTo>
                    <a:pt x="2408" y="199"/>
                  </a:lnTo>
                  <a:lnTo>
                    <a:pt x="2399" y="199"/>
                  </a:lnTo>
                  <a:lnTo>
                    <a:pt x="2385" y="194"/>
                  </a:lnTo>
                  <a:lnTo>
                    <a:pt x="2367" y="189"/>
                  </a:lnTo>
                  <a:lnTo>
                    <a:pt x="2346" y="180"/>
                  </a:lnTo>
                  <a:lnTo>
                    <a:pt x="2307" y="165"/>
                  </a:lnTo>
                  <a:lnTo>
                    <a:pt x="2284" y="156"/>
                  </a:lnTo>
                  <a:lnTo>
                    <a:pt x="2273" y="144"/>
                  </a:lnTo>
                  <a:lnTo>
                    <a:pt x="2255" y="130"/>
                  </a:lnTo>
                  <a:lnTo>
                    <a:pt x="2245" y="123"/>
                  </a:lnTo>
                  <a:lnTo>
                    <a:pt x="2236" y="118"/>
                  </a:lnTo>
                  <a:lnTo>
                    <a:pt x="2228" y="114"/>
                  </a:lnTo>
                  <a:lnTo>
                    <a:pt x="2221" y="113"/>
                  </a:lnTo>
                  <a:lnTo>
                    <a:pt x="2214" y="115"/>
                  </a:lnTo>
                  <a:lnTo>
                    <a:pt x="2205" y="120"/>
                  </a:lnTo>
                  <a:lnTo>
                    <a:pt x="2196" y="127"/>
                  </a:lnTo>
                  <a:lnTo>
                    <a:pt x="2186" y="134"/>
                  </a:lnTo>
                  <a:lnTo>
                    <a:pt x="2178" y="140"/>
                  </a:lnTo>
                  <a:lnTo>
                    <a:pt x="2171" y="143"/>
                  </a:lnTo>
                  <a:lnTo>
                    <a:pt x="2168" y="143"/>
                  </a:lnTo>
                  <a:lnTo>
                    <a:pt x="2165" y="143"/>
                  </a:lnTo>
                  <a:lnTo>
                    <a:pt x="2164" y="141"/>
                  </a:lnTo>
                  <a:lnTo>
                    <a:pt x="2164" y="136"/>
                  </a:lnTo>
                  <a:lnTo>
                    <a:pt x="2164" y="126"/>
                  </a:lnTo>
                  <a:lnTo>
                    <a:pt x="2163" y="114"/>
                  </a:lnTo>
                  <a:lnTo>
                    <a:pt x="2162" y="109"/>
                  </a:lnTo>
                  <a:lnTo>
                    <a:pt x="2160" y="105"/>
                  </a:lnTo>
                  <a:lnTo>
                    <a:pt x="2156" y="101"/>
                  </a:lnTo>
                  <a:lnTo>
                    <a:pt x="2150" y="98"/>
                  </a:lnTo>
                  <a:lnTo>
                    <a:pt x="2143" y="94"/>
                  </a:lnTo>
                  <a:lnTo>
                    <a:pt x="2139" y="88"/>
                  </a:lnTo>
                  <a:lnTo>
                    <a:pt x="2134" y="83"/>
                  </a:lnTo>
                  <a:lnTo>
                    <a:pt x="2132" y="77"/>
                  </a:lnTo>
                  <a:lnTo>
                    <a:pt x="2128" y="71"/>
                  </a:lnTo>
                  <a:lnTo>
                    <a:pt x="2126" y="66"/>
                  </a:lnTo>
                  <a:lnTo>
                    <a:pt x="2121" y="62"/>
                  </a:lnTo>
                  <a:lnTo>
                    <a:pt x="2115" y="58"/>
                  </a:lnTo>
                  <a:lnTo>
                    <a:pt x="2103" y="55"/>
                  </a:lnTo>
                  <a:lnTo>
                    <a:pt x="2089" y="54"/>
                  </a:lnTo>
                  <a:lnTo>
                    <a:pt x="2072" y="52"/>
                  </a:lnTo>
                  <a:lnTo>
                    <a:pt x="2057" y="52"/>
                  </a:lnTo>
                  <a:lnTo>
                    <a:pt x="2042" y="51"/>
                  </a:lnTo>
                  <a:lnTo>
                    <a:pt x="2029" y="49"/>
                  </a:lnTo>
                  <a:lnTo>
                    <a:pt x="2023" y="48"/>
                  </a:lnTo>
                  <a:lnTo>
                    <a:pt x="2018" y="44"/>
                  </a:lnTo>
                  <a:lnTo>
                    <a:pt x="2013" y="42"/>
                  </a:lnTo>
                  <a:lnTo>
                    <a:pt x="2009" y="37"/>
                  </a:lnTo>
                  <a:lnTo>
                    <a:pt x="2004" y="27"/>
                  </a:lnTo>
                  <a:lnTo>
                    <a:pt x="1999" y="19"/>
                  </a:lnTo>
                  <a:lnTo>
                    <a:pt x="1995" y="15"/>
                  </a:lnTo>
                  <a:lnTo>
                    <a:pt x="1991" y="13"/>
                  </a:lnTo>
                  <a:lnTo>
                    <a:pt x="1985" y="12"/>
                  </a:lnTo>
                  <a:lnTo>
                    <a:pt x="1978" y="13"/>
                  </a:lnTo>
                  <a:lnTo>
                    <a:pt x="1971" y="15"/>
                  </a:lnTo>
                  <a:lnTo>
                    <a:pt x="1963" y="22"/>
                  </a:lnTo>
                  <a:lnTo>
                    <a:pt x="1955" y="30"/>
                  </a:lnTo>
                  <a:lnTo>
                    <a:pt x="1948" y="38"/>
                  </a:lnTo>
                  <a:lnTo>
                    <a:pt x="1940" y="45"/>
                  </a:lnTo>
                  <a:lnTo>
                    <a:pt x="1934" y="50"/>
                  </a:lnTo>
                  <a:lnTo>
                    <a:pt x="1930" y="51"/>
                  </a:lnTo>
                  <a:lnTo>
                    <a:pt x="1928" y="50"/>
                  </a:lnTo>
                  <a:lnTo>
                    <a:pt x="1926" y="49"/>
                  </a:lnTo>
                  <a:lnTo>
                    <a:pt x="1923" y="45"/>
                  </a:lnTo>
                  <a:lnTo>
                    <a:pt x="1920" y="38"/>
                  </a:lnTo>
                  <a:lnTo>
                    <a:pt x="1918" y="33"/>
                  </a:lnTo>
                  <a:lnTo>
                    <a:pt x="1914" y="29"/>
                  </a:lnTo>
                  <a:lnTo>
                    <a:pt x="1911" y="27"/>
                  </a:lnTo>
                  <a:lnTo>
                    <a:pt x="1907" y="26"/>
                  </a:lnTo>
                  <a:lnTo>
                    <a:pt x="1905" y="26"/>
                  </a:lnTo>
                  <a:lnTo>
                    <a:pt x="1901" y="27"/>
                  </a:lnTo>
                  <a:lnTo>
                    <a:pt x="1898" y="28"/>
                  </a:lnTo>
                  <a:lnTo>
                    <a:pt x="1892" y="30"/>
                  </a:lnTo>
                  <a:lnTo>
                    <a:pt x="1885" y="34"/>
                  </a:lnTo>
                  <a:lnTo>
                    <a:pt x="1881" y="35"/>
                  </a:lnTo>
                  <a:lnTo>
                    <a:pt x="1877" y="35"/>
                  </a:lnTo>
                  <a:lnTo>
                    <a:pt x="1873" y="34"/>
                  </a:lnTo>
                  <a:lnTo>
                    <a:pt x="1869" y="33"/>
                  </a:lnTo>
                  <a:lnTo>
                    <a:pt x="1864" y="29"/>
                  </a:lnTo>
                  <a:lnTo>
                    <a:pt x="1860" y="26"/>
                  </a:lnTo>
                  <a:lnTo>
                    <a:pt x="1857" y="23"/>
                  </a:lnTo>
                  <a:lnTo>
                    <a:pt x="1851" y="22"/>
                  </a:lnTo>
                  <a:lnTo>
                    <a:pt x="1836" y="23"/>
                  </a:lnTo>
                  <a:lnTo>
                    <a:pt x="1823" y="27"/>
                  </a:lnTo>
                  <a:lnTo>
                    <a:pt x="1813" y="31"/>
                  </a:lnTo>
                  <a:lnTo>
                    <a:pt x="1803" y="35"/>
                  </a:lnTo>
                  <a:lnTo>
                    <a:pt x="1798" y="36"/>
                  </a:lnTo>
                  <a:lnTo>
                    <a:pt x="1793" y="37"/>
                  </a:lnTo>
                  <a:lnTo>
                    <a:pt x="1787" y="38"/>
                  </a:lnTo>
                  <a:lnTo>
                    <a:pt x="1782" y="38"/>
                  </a:lnTo>
                  <a:lnTo>
                    <a:pt x="1775" y="37"/>
                  </a:lnTo>
                  <a:lnTo>
                    <a:pt x="1770" y="35"/>
                  </a:lnTo>
                  <a:lnTo>
                    <a:pt x="1762" y="33"/>
                  </a:lnTo>
                  <a:lnTo>
                    <a:pt x="1753" y="28"/>
                  </a:lnTo>
                  <a:lnTo>
                    <a:pt x="1744" y="23"/>
                  </a:lnTo>
                  <a:lnTo>
                    <a:pt x="1735" y="20"/>
                  </a:lnTo>
                  <a:lnTo>
                    <a:pt x="1724" y="16"/>
                  </a:lnTo>
                  <a:lnTo>
                    <a:pt x="1714" y="14"/>
                  </a:lnTo>
                  <a:lnTo>
                    <a:pt x="1703" y="13"/>
                  </a:lnTo>
                  <a:lnTo>
                    <a:pt x="1693" y="13"/>
                  </a:lnTo>
                  <a:lnTo>
                    <a:pt x="1681" y="14"/>
                  </a:lnTo>
                  <a:lnTo>
                    <a:pt x="1671" y="16"/>
                  </a:lnTo>
                  <a:lnTo>
                    <a:pt x="1644" y="24"/>
                  </a:lnTo>
                  <a:lnTo>
                    <a:pt x="1617" y="35"/>
                  </a:lnTo>
                  <a:lnTo>
                    <a:pt x="1603" y="38"/>
                  </a:lnTo>
                  <a:lnTo>
                    <a:pt x="1590" y="41"/>
                  </a:lnTo>
                  <a:lnTo>
                    <a:pt x="1583" y="41"/>
                  </a:lnTo>
                  <a:lnTo>
                    <a:pt x="1576" y="41"/>
                  </a:lnTo>
                  <a:lnTo>
                    <a:pt x="1569" y="40"/>
                  </a:lnTo>
                  <a:lnTo>
                    <a:pt x="1562" y="38"/>
                  </a:lnTo>
                  <a:lnTo>
                    <a:pt x="1464" y="0"/>
                  </a:lnTo>
                  <a:lnTo>
                    <a:pt x="1462" y="9"/>
                  </a:lnTo>
                  <a:lnTo>
                    <a:pt x="1458" y="17"/>
                  </a:lnTo>
                  <a:lnTo>
                    <a:pt x="1452" y="26"/>
                  </a:lnTo>
                  <a:lnTo>
                    <a:pt x="1445" y="34"/>
                  </a:lnTo>
                  <a:lnTo>
                    <a:pt x="1434" y="43"/>
                  </a:lnTo>
                  <a:lnTo>
                    <a:pt x="1429" y="51"/>
                  </a:lnTo>
                  <a:lnTo>
                    <a:pt x="1424" y="59"/>
                  </a:lnTo>
                  <a:lnTo>
                    <a:pt x="1423" y="67"/>
                  </a:lnTo>
                  <a:lnTo>
                    <a:pt x="1422" y="76"/>
                  </a:lnTo>
                  <a:lnTo>
                    <a:pt x="1423" y="84"/>
                  </a:lnTo>
                  <a:lnTo>
                    <a:pt x="1424" y="92"/>
                  </a:lnTo>
                  <a:lnTo>
                    <a:pt x="1426" y="100"/>
                  </a:lnTo>
                  <a:lnTo>
                    <a:pt x="1427" y="108"/>
                  </a:lnTo>
                  <a:lnTo>
                    <a:pt x="1429" y="116"/>
                  </a:lnTo>
                  <a:lnTo>
                    <a:pt x="1427" y="125"/>
                  </a:lnTo>
                  <a:lnTo>
                    <a:pt x="1426" y="133"/>
                  </a:lnTo>
                  <a:lnTo>
                    <a:pt x="1423" y="141"/>
                  </a:lnTo>
                  <a:lnTo>
                    <a:pt x="1416" y="150"/>
                  </a:lnTo>
                  <a:lnTo>
                    <a:pt x="1408" y="159"/>
                  </a:lnTo>
                  <a:lnTo>
                    <a:pt x="1395" y="169"/>
                  </a:lnTo>
                  <a:lnTo>
                    <a:pt x="1383" y="178"/>
                  </a:lnTo>
                  <a:lnTo>
                    <a:pt x="1374" y="186"/>
                  </a:lnTo>
                  <a:lnTo>
                    <a:pt x="1368" y="194"/>
                  </a:lnTo>
                  <a:lnTo>
                    <a:pt x="1363" y="201"/>
                  </a:lnTo>
                  <a:lnTo>
                    <a:pt x="1355" y="218"/>
                  </a:lnTo>
                  <a:lnTo>
                    <a:pt x="1342" y="239"/>
                  </a:lnTo>
                  <a:lnTo>
                    <a:pt x="1337" y="246"/>
                  </a:lnTo>
                  <a:lnTo>
                    <a:pt x="1331" y="250"/>
                  </a:lnTo>
                  <a:lnTo>
                    <a:pt x="1325" y="255"/>
                  </a:lnTo>
                  <a:lnTo>
                    <a:pt x="1318" y="258"/>
                  </a:lnTo>
                  <a:lnTo>
                    <a:pt x="1310" y="262"/>
                  </a:lnTo>
                  <a:lnTo>
                    <a:pt x="1303" y="264"/>
                  </a:lnTo>
                  <a:lnTo>
                    <a:pt x="1295" y="265"/>
                  </a:lnTo>
                  <a:lnTo>
                    <a:pt x="1287" y="266"/>
                  </a:lnTo>
                  <a:lnTo>
                    <a:pt x="1278" y="266"/>
                  </a:lnTo>
                  <a:lnTo>
                    <a:pt x="1270" y="265"/>
                  </a:lnTo>
                  <a:lnTo>
                    <a:pt x="1263" y="264"/>
                  </a:lnTo>
                  <a:lnTo>
                    <a:pt x="1255" y="262"/>
                  </a:lnTo>
                  <a:lnTo>
                    <a:pt x="1248" y="258"/>
                  </a:lnTo>
                  <a:lnTo>
                    <a:pt x="1241" y="255"/>
                  </a:lnTo>
                  <a:lnTo>
                    <a:pt x="1235" y="250"/>
                  </a:lnTo>
                  <a:lnTo>
                    <a:pt x="1230" y="246"/>
                  </a:lnTo>
                  <a:lnTo>
                    <a:pt x="1226" y="241"/>
                  </a:lnTo>
                  <a:lnTo>
                    <a:pt x="1223" y="235"/>
                  </a:lnTo>
                  <a:lnTo>
                    <a:pt x="1219" y="229"/>
                  </a:lnTo>
                  <a:lnTo>
                    <a:pt x="1217" y="222"/>
                  </a:lnTo>
                  <a:lnTo>
                    <a:pt x="1211" y="206"/>
                  </a:lnTo>
                  <a:lnTo>
                    <a:pt x="1205" y="191"/>
                  </a:lnTo>
                  <a:lnTo>
                    <a:pt x="1199" y="176"/>
                  </a:lnTo>
                  <a:lnTo>
                    <a:pt x="1193" y="164"/>
                  </a:lnTo>
                  <a:lnTo>
                    <a:pt x="1190" y="159"/>
                  </a:lnTo>
                  <a:lnTo>
                    <a:pt x="1186" y="157"/>
                  </a:lnTo>
                  <a:lnTo>
                    <a:pt x="1183" y="156"/>
                  </a:lnTo>
                  <a:lnTo>
                    <a:pt x="1180" y="156"/>
                  </a:lnTo>
                  <a:lnTo>
                    <a:pt x="1153" y="168"/>
                  </a:lnTo>
                  <a:lnTo>
                    <a:pt x="1126" y="177"/>
                  </a:lnTo>
                  <a:lnTo>
                    <a:pt x="1098" y="186"/>
                  </a:lnTo>
                  <a:lnTo>
                    <a:pt x="1070" y="194"/>
                  </a:lnTo>
                  <a:lnTo>
                    <a:pt x="1043" y="204"/>
                  </a:lnTo>
                  <a:lnTo>
                    <a:pt x="1015" y="214"/>
                  </a:lnTo>
                  <a:lnTo>
                    <a:pt x="989" y="227"/>
                  </a:lnTo>
                  <a:lnTo>
                    <a:pt x="962" y="241"/>
                  </a:lnTo>
                  <a:lnTo>
                    <a:pt x="957" y="248"/>
                  </a:lnTo>
                  <a:lnTo>
                    <a:pt x="953" y="255"/>
                  </a:lnTo>
                  <a:lnTo>
                    <a:pt x="948" y="261"/>
                  </a:lnTo>
                  <a:lnTo>
                    <a:pt x="942" y="266"/>
                  </a:lnTo>
                  <a:lnTo>
                    <a:pt x="929" y="276"/>
                  </a:lnTo>
                  <a:lnTo>
                    <a:pt x="916" y="284"/>
                  </a:lnTo>
                  <a:lnTo>
                    <a:pt x="901" y="290"/>
                  </a:lnTo>
                  <a:lnTo>
                    <a:pt x="886" y="294"/>
                  </a:lnTo>
                  <a:lnTo>
                    <a:pt x="871" y="297"/>
                  </a:lnTo>
                  <a:lnTo>
                    <a:pt x="855" y="298"/>
                  </a:lnTo>
                  <a:lnTo>
                    <a:pt x="838" y="298"/>
                  </a:lnTo>
                  <a:lnTo>
                    <a:pt x="823" y="296"/>
                  </a:lnTo>
                  <a:lnTo>
                    <a:pt x="807" y="292"/>
                  </a:lnTo>
                  <a:lnTo>
                    <a:pt x="792" y="286"/>
                  </a:lnTo>
                  <a:lnTo>
                    <a:pt x="778" y="279"/>
                  </a:lnTo>
                  <a:lnTo>
                    <a:pt x="765" y="271"/>
                  </a:lnTo>
                  <a:lnTo>
                    <a:pt x="752" y="262"/>
                  </a:lnTo>
                  <a:lnTo>
                    <a:pt x="742" y="250"/>
                  </a:lnTo>
                  <a:lnTo>
                    <a:pt x="737" y="246"/>
                  </a:lnTo>
                  <a:lnTo>
                    <a:pt x="731" y="240"/>
                  </a:lnTo>
                  <a:lnTo>
                    <a:pt x="726" y="236"/>
                  </a:lnTo>
                  <a:lnTo>
                    <a:pt x="720" y="233"/>
                  </a:lnTo>
                  <a:lnTo>
                    <a:pt x="713" y="230"/>
                  </a:lnTo>
                  <a:lnTo>
                    <a:pt x="707" y="228"/>
                  </a:lnTo>
                  <a:lnTo>
                    <a:pt x="700" y="226"/>
                  </a:lnTo>
                  <a:lnTo>
                    <a:pt x="693" y="225"/>
                  </a:lnTo>
                  <a:lnTo>
                    <a:pt x="678" y="225"/>
                  </a:lnTo>
                  <a:lnTo>
                    <a:pt x="663" y="225"/>
                  </a:lnTo>
                  <a:lnTo>
                    <a:pt x="646" y="227"/>
                  </a:lnTo>
                  <a:lnTo>
                    <a:pt x="631" y="229"/>
                  </a:lnTo>
                  <a:lnTo>
                    <a:pt x="599" y="236"/>
                  </a:lnTo>
                  <a:lnTo>
                    <a:pt x="567" y="242"/>
                  </a:lnTo>
                  <a:lnTo>
                    <a:pt x="552" y="244"/>
                  </a:lnTo>
                  <a:lnTo>
                    <a:pt x="538" y="246"/>
                  </a:lnTo>
                  <a:lnTo>
                    <a:pt x="525" y="246"/>
                  </a:lnTo>
                  <a:lnTo>
                    <a:pt x="514" y="243"/>
                  </a:lnTo>
                  <a:lnTo>
                    <a:pt x="504" y="242"/>
                  </a:lnTo>
                  <a:lnTo>
                    <a:pt x="496" y="241"/>
                  </a:lnTo>
                  <a:lnTo>
                    <a:pt x="488" y="242"/>
                  </a:lnTo>
                  <a:lnTo>
                    <a:pt x="480" y="243"/>
                  </a:lnTo>
                  <a:lnTo>
                    <a:pt x="465" y="247"/>
                  </a:lnTo>
                  <a:lnTo>
                    <a:pt x="451" y="253"/>
                  </a:lnTo>
                  <a:lnTo>
                    <a:pt x="437" y="256"/>
                  </a:lnTo>
                  <a:lnTo>
                    <a:pt x="423" y="260"/>
                  </a:lnTo>
                  <a:lnTo>
                    <a:pt x="416" y="258"/>
                  </a:lnTo>
                  <a:lnTo>
                    <a:pt x="409" y="257"/>
                  </a:lnTo>
                  <a:lnTo>
                    <a:pt x="401" y="255"/>
                  </a:lnTo>
                  <a:lnTo>
                    <a:pt x="394" y="251"/>
                  </a:lnTo>
                  <a:lnTo>
                    <a:pt x="386" y="248"/>
                  </a:lnTo>
                  <a:lnTo>
                    <a:pt x="379" y="246"/>
                  </a:lnTo>
                  <a:lnTo>
                    <a:pt x="373" y="246"/>
                  </a:lnTo>
                  <a:lnTo>
                    <a:pt x="366" y="246"/>
                  </a:lnTo>
                  <a:lnTo>
                    <a:pt x="354" y="249"/>
                  </a:lnTo>
                  <a:lnTo>
                    <a:pt x="344" y="253"/>
                  </a:lnTo>
                  <a:lnTo>
                    <a:pt x="338" y="254"/>
                  </a:lnTo>
                  <a:lnTo>
                    <a:pt x="334" y="254"/>
                  </a:lnTo>
                  <a:lnTo>
                    <a:pt x="330" y="254"/>
                  </a:lnTo>
                  <a:lnTo>
                    <a:pt x="325" y="251"/>
                  </a:lnTo>
                  <a:lnTo>
                    <a:pt x="322" y="248"/>
                  </a:lnTo>
                  <a:lnTo>
                    <a:pt x="318" y="242"/>
                  </a:lnTo>
                  <a:lnTo>
                    <a:pt x="315" y="235"/>
                  </a:lnTo>
                  <a:lnTo>
                    <a:pt x="312" y="225"/>
                  </a:lnTo>
                  <a:lnTo>
                    <a:pt x="309" y="226"/>
                  </a:lnTo>
                  <a:lnTo>
                    <a:pt x="306" y="229"/>
                  </a:lnTo>
                  <a:lnTo>
                    <a:pt x="305" y="235"/>
                  </a:lnTo>
                  <a:lnTo>
                    <a:pt x="303" y="243"/>
                  </a:lnTo>
                  <a:lnTo>
                    <a:pt x="300" y="262"/>
                  </a:lnTo>
                  <a:lnTo>
                    <a:pt x="297" y="285"/>
                  </a:lnTo>
                  <a:lnTo>
                    <a:pt x="296" y="308"/>
                  </a:lnTo>
                  <a:lnTo>
                    <a:pt x="294" y="332"/>
                  </a:lnTo>
                  <a:lnTo>
                    <a:pt x="290" y="350"/>
                  </a:lnTo>
                  <a:lnTo>
                    <a:pt x="287" y="362"/>
                  </a:lnTo>
                  <a:lnTo>
                    <a:pt x="280" y="375"/>
                  </a:lnTo>
                  <a:lnTo>
                    <a:pt x="274" y="385"/>
                  </a:lnTo>
                  <a:lnTo>
                    <a:pt x="267" y="393"/>
                  </a:lnTo>
                  <a:lnTo>
                    <a:pt x="260" y="398"/>
                  </a:lnTo>
                  <a:lnTo>
                    <a:pt x="252" y="401"/>
                  </a:lnTo>
                  <a:lnTo>
                    <a:pt x="245" y="403"/>
                  </a:lnTo>
                  <a:lnTo>
                    <a:pt x="237" y="403"/>
                  </a:lnTo>
                  <a:lnTo>
                    <a:pt x="229" y="401"/>
                  </a:lnTo>
                  <a:lnTo>
                    <a:pt x="212" y="397"/>
                  </a:lnTo>
                  <a:lnTo>
                    <a:pt x="192" y="392"/>
                  </a:lnTo>
                  <a:lnTo>
                    <a:pt x="182" y="390"/>
                  </a:lnTo>
                  <a:lnTo>
                    <a:pt x="170" y="389"/>
                  </a:lnTo>
                  <a:lnTo>
                    <a:pt x="157" y="389"/>
                  </a:lnTo>
                  <a:lnTo>
                    <a:pt x="145" y="390"/>
                  </a:lnTo>
                  <a:lnTo>
                    <a:pt x="137" y="392"/>
                  </a:lnTo>
                  <a:lnTo>
                    <a:pt x="128" y="394"/>
                  </a:lnTo>
                  <a:lnTo>
                    <a:pt x="120" y="397"/>
                  </a:lnTo>
                  <a:lnTo>
                    <a:pt x="113" y="400"/>
                  </a:lnTo>
                  <a:lnTo>
                    <a:pt x="99" y="408"/>
                  </a:lnTo>
                  <a:lnTo>
                    <a:pt x="86" y="419"/>
                  </a:lnTo>
                  <a:lnTo>
                    <a:pt x="75" y="431"/>
                  </a:lnTo>
                  <a:lnTo>
                    <a:pt x="64" y="443"/>
                  </a:lnTo>
                  <a:lnTo>
                    <a:pt x="54" y="457"/>
                  </a:lnTo>
                  <a:lnTo>
                    <a:pt x="46" y="472"/>
                  </a:lnTo>
                  <a:lnTo>
                    <a:pt x="38" y="488"/>
                  </a:lnTo>
                  <a:lnTo>
                    <a:pt x="31" y="504"/>
                  </a:lnTo>
                  <a:lnTo>
                    <a:pt x="25" y="520"/>
                  </a:lnTo>
                  <a:lnTo>
                    <a:pt x="19" y="536"/>
                  </a:lnTo>
                  <a:lnTo>
                    <a:pt x="9" y="568"/>
                  </a:lnTo>
                  <a:lnTo>
                    <a:pt x="0" y="597"/>
                  </a:lnTo>
                  <a:lnTo>
                    <a:pt x="0" y="597"/>
                  </a:lnTo>
                  <a:lnTo>
                    <a:pt x="9" y="603"/>
                  </a:lnTo>
                  <a:lnTo>
                    <a:pt x="19" y="609"/>
                  </a:lnTo>
                  <a:lnTo>
                    <a:pt x="25" y="612"/>
                  </a:lnTo>
                  <a:lnTo>
                    <a:pt x="31" y="614"/>
                  </a:lnTo>
                  <a:lnTo>
                    <a:pt x="38" y="616"/>
                  </a:lnTo>
                  <a:lnTo>
                    <a:pt x="43" y="616"/>
                  </a:lnTo>
                  <a:lnTo>
                    <a:pt x="50" y="616"/>
                  </a:lnTo>
                  <a:lnTo>
                    <a:pt x="56" y="616"/>
                  </a:lnTo>
                  <a:lnTo>
                    <a:pt x="63" y="614"/>
                  </a:lnTo>
                  <a:lnTo>
                    <a:pt x="69" y="612"/>
                  </a:lnTo>
                  <a:lnTo>
                    <a:pt x="75" y="610"/>
                  </a:lnTo>
                  <a:lnTo>
                    <a:pt x="80" y="606"/>
                  </a:lnTo>
                  <a:lnTo>
                    <a:pt x="84" y="603"/>
                  </a:lnTo>
                  <a:lnTo>
                    <a:pt x="89" y="598"/>
                  </a:lnTo>
                  <a:lnTo>
                    <a:pt x="92" y="593"/>
                  </a:lnTo>
                  <a:lnTo>
                    <a:pt x="96" y="588"/>
                  </a:lnTo>
                  <a:lnTo>
                    <a:pt x="98" y="582"/>
                  </a:lnTo>
                  <a:lnTo>
                    <a:pt x="99" y="575"/>
                  </a:lnTo>
                  <a:lnTo>
                    <a:pt x="100" y="566"/>
                  </a:lnTo>
                  <a:lnTo>
                    <a:pt x="103" y="559"/>
                  </a:lnTo>
                  <a:lnTo>
                    <a:pt x="105" y="552"/>
                  </a:lnTo>
                  <a:lnTo>
                    <a:pt x="109" y="546"/>
                  </a:lnTo>
                  <a:lnTo>
                    <a:pt x="117" y="535"/>
                  </a:lnTo>
                  <a:lnTo>
                    <a:pt x="125" y="527"/>
                  </a:lnTo>
                  <a:lnTo>
                    <a:pt x="133" y="519"/>
                  </a:lnTo>
                  <a:lnTo>
                    <a:pt x="142" y="510"/>
                  </a:lnTo>
                  <a:lnTo>
                    <a:pt x="146" y="505"/>
                  </a:lnTo>
                  <a:lnTo>
                    <a:pt x="149" y="499"/>
                  </a:lnTo>
                  <a:lnTo>
                    <a:pt x="153" y="492"/>
                  </a:lnTo>
                  <a:lnTo>
                    <a:pt x="156" y="485"/>
                  </a:lnTo>
                  <a:lnTo>
                    <a:pt x="160" y="469"/>
                  </a:lnTo>
                  <a:lnTo>
                    <a:pt x="164" y="448"/>
                  </a:lnTo>
                  <a:lnTo>
                    <a:pt x="169" y="439"/>
                  </a:lnTo>
                  <a:lnTo>
                    <a:pt x="175" y="432"/>
                  </a:lnTo>
                  <a:lnTo>
                    <a:pt x="177" y="429"/>
                  </a:lnTo>
                  <a:lnTo>
                    <a:pt x="182" y="428"/>
                  </a:lnTo>
                  <a:lnTo>
                    <a:pt x="187" y="427"/>
                  </a:lnTo>
                  <a:lnTo>
                    <a:pt x="191" y="428"/>
                  </a:lnTo>
                  <a:lnTo>
                    <a:pt x="192" y="429"/>
                  </a:lnTo>
                  <a:lnTo>
                    <a:pt x="192" y="431"/>
                  </a:lnTo>
                  <a:lnTo>
                    <a:pt x="192" y="433"/>
                  </a:lnTo>
                  <a:lnTo>
                    <a:pt x="192" y="436"/>
                  </a:lnTo>
                  <a:lnTo>
                    <a:pt x="190" y="445"/>
                  </a:lnTo>
                  <a:lnTo>
                    <a:pt x="188" y="454"/>
                  </a:lnTo>
                  <a:lnTo>
                    <a:pt x="182" y="474"/>
                  </a:lnTo>
                  <a:lnTo>
                    <a:pt x="180" y="488"/>
                  </a:lnTo>
                  <a:lnTo>
                    <a:pt x="192" y="489"/>
                  </a:lnTo>
                  <a:lnTo>
                    <a:pt x="205" y="486"/>
                  </a:lnTo>
                  <a:lnTo>
                    <a:pt x="220" y="483"/>
                  </a:lnTo>
                  <a:lnTo>
                    <a:pt x="237" y="478"/>
                  </a:lnTo>
                  <a:lnTo>
                    <a:pt x="252" y="475"/>
                  </a:lnTo>
                  <a:lnTo>
                    <a:pt x="268" y="470"/>
                  </a:lnTo>
                  <a:lnTo>
                    <a:pt x="283" y="468"/>
                  </a:lnTo>
                  <a:lnTo>
                    <a:pt x="297" y="467"/>
                  </a:lnTo>
                  <a:lnTo>
                    <a:pt x="300" y="467"/>
                  </a:lnTo>
                  <a:lnTo>
                    <a:pt x="300" y="468"/>
                  </a:lnTo>
                  <a:lnTo>
                    <a:pt x="300" y="468"/>
                  </a:lnTo>
                  <a:lnTo>
                    <a:pt x="300" y="470"/>
                  </a:lnTo>
                  <a:lnTo>
                    <a:pt x="296" y="474"/>
                  </a:lnTo>
                  <a:lnTo>
                    <a:pt x="291" y="478"/>
                  </a:lnTo>
                  <a:lnTo>
                    <a:pt x="276" y="491"/>
                  </a:lnTo>
                  <a:lnTo>
                    <a:pt x="256" y="506"/>
                  </a:lnTo>
                  <a:lnTo>
                    <a:pt x="218" y="534"/>
                  </a:lnTo>
                  <a:lnTo>
                    <a:pt x="198" y="548"/>
                  </a:lnTo>
                  <a:lnTo>
                    <a:pt x="182" y="566"/>
                  </a:lnTo>
                  <a:lnTo>
                    <a:pt x="169" y="583"/>
                  </a:lnTo>
                  <a:lnTo>
                    <a:pt x="164" y="590"/>
                  </a:lnTo>
                  <a:lnTo>
                    <a:pt x="160" y="598"/>
                  </a:lnTo>
                  <a:lnTo>
                    <a:pt x="156" y="605"/>
                  </a:lnTo>
                  <a:lnTo>
                    <a:pt x="154" y="612"/>
                  </a:lnTo>
                  <a:lnTo>
                    <a:pt x="153" y="618"/>
                  </a:lnTo>
                  <a:lnTo>
                    <a:pt x="152" y="625"/>
                  </a:lnTo>
                  <a:lnTo>
                    <a:pt x="152" y="631"/>
                  </a:lnTo>
                  <a:lnTo>
                    <a:pt x="152" y="638"/>
                  </a:lnTo>
                  <a:lnTo>
                    <a:pt x="154" y="649"/>
                  </a:lnTo>
                  <a:lnTo>
                    <a:pt x="160" y="661"/>
                  </a:lnTo>
                  <a:lnTo>
                    <a:pt x="166" y="673"/>
                  </a:lnTo>
                  <a:lnTo>
                    <a:pt x="174" y="684"/>
                  </a:lnTo>
                  <a:lnTo>
                    <a:pt x="183" y="696"/>
                  </a:lnTo>
                  <a:lnTo>
                    <a:pt x="194" y="709"/>
                  </a:lnTo>
                  <a:lnTo>
                    <a:pt x="204" y="722"/>
                  </a:lnTo>
                  <a:lnTo>
                    <a:pt x="215" y="737"/>
                  </a:lnTo>
                  <a:lnTo>
                    <a:pt x="225" y="752"/>
                  </a:lnTo>
                  <a:lnTo>
                    <a:pt x="235" y="768"/>
                  </a:lnTo>
                  <a:lnTo>
                    <a:pt x="238" y="774"/>
                  </a:lnTo>
                  <a:lnTo>
                    <a:pt x="239" y="779"/>
                  </a:lnTo>
                  <a:lnTo>
                    <a:pt x="238" y="783"/>
                  </a:lnTo>
                  <a:lnTo>
                    <a:pt x="237" y="787"/>
                  </a:lnTo>
                  <a:lnTo>
                    <a:pt x="231" y="795"/>
                  </a:lnTo>
                  <a:lnTo>
                    <a:pt x="223" y="801"/>
                  </a:lnTo>
                  <a:lnTo>
                    <a:pt x="215" y="806"/>
                  </a:lnTo>
                  <a:lnTo>
                    <a:pt x="209" y="811"/>
                  </a:lnTo>
                  <a:lnTo>
                    <a:pt x="208" y="813"/>
                  </a:lnTo>
                  <a:lnTo>
                    <a:pt x="206" y="815"/>
                  </a:lnTo>
                  <a:lnTo>
                    <a:pt x="208" y="817"/>
                  </a:lnTo>
                  <a:lnTo>
                    <a:pt x="210" y="818"/>
                  </a:lnTo>
                  <a:lnTo>
                    <a:pt x="229" y="830"/>
                  </a:lnTo>
                  <a:lnTo>
                    <a:pt x="245" y="841"/>
                  </a:lnTo>
                  <a:lnTo>
                    <a:pt x="261" y="854"/>
                  </a:lnTo>
                  <a:lnTo>
                    <a:pt x="277" y="868"/>
                  </a:lnTo>
                  <a:lnTo>
                    <a:pt x="308" y="894"/>
                  </a:lnTo>
                  <a:lnTo>
                    <a:pt x="340" y="919"/>
                  </a:lnTo>
                  <a:lnTo>
                    <a:pt x="369" y="940"/>
                  </a:lnTo>
                  <a:lnTo>
                    <a:pt x="403" y="960"/>
                  </a:lnTo>
                  <a:lnTo>
                    <a:pt x="438" y="980"/>
                  </a:lnTo>
                  <a:lnTo>
                    <a:pt x="475" y="998"/>
                  </a:lnTo>
                  <a:lnTo>
                    <a:pt x="513" y="1015"/>
                  </a:lnTo>
                  <a:lnTo>
                    <a:pt x="551" y="1030"/>
                  </a:lnTo>
                  <a:lnTo>
                    <a:pt x="570" y="1036"/>
                  </a:lnTo>
                  <a:lnTo>
                    <a:pt x="588" y="1042"/>
                  </a:lnTo>
                  <a:lnTo>
                    <a:pt x="606" y="1046"/>
                  </a:lnTo>
                  <a:lnTo>
                    <a:pt x="623" y="1050"/>
                  </a:lnTo>
                  <a:lnTo>
                    <a:pt x="657" y="1059"/>
                  </a:lnTo>
                  <a:lnTo>
                    <a:pt x="694" y="1068"/>
                  </a:lnTo>
                  <a:lnTo>
                    <a:pt x="714" y="1073"/>
                  </a:lnTo>
                  <a:lnTo>
                    <a:pt x="733" y="1074"/>
                  </a:lnTo>
                  <a:lnTo>
                    <a:pt x="741" y="1074"/>
                  </a:lnTo>
                  <a:lnTo>
                    <a:pt x="750" y="1074"/>
                  </a:lnTo>
                  <a:lnTo>
                    <a:pt x="758" y="1072"/>
                  </a:lnTo>
                  <a:lnTo>
                    <a:pt x="765" y="1069"/>
                  </a:lnTo>
                  <a:lnTo>
                    <a:pt x="784" y="1061"/>
                  </a:lnTo>
                  <a:lnTo>
                    <a:pt x="800" y="1051"/>
                  </a:lnTo>
                  <a:lnTo>
                    <a:pt x="815" y="1040"/>
                  </a:lnTo>
                  <a:lnTo>
                    <a:pt x="829" y="1030"/>
                  </a:lnTo>
                  <a:lnTo>
                    <a:pt x="844" y="1019"/>
                  </a:lnTo>
                  <a:lnTo>
                    <a:pt x="861" y="1010"/>
                  </a:lnTo>
                  <a:lnTo>
                    <a:pt x="870" y="1005"/>
                  </a:lnTo>
                  <a:lnTo>
                    <a:pt x="879" y="1002"/>
                  </a:lnTo>
                  <a:lnTo>
                    <a:pt x="890" y="998"/>
                  </a:lnTo>
                  <a:lnTo>
                    <a:pt x="900" y="995"/>
                  </a:lnTo>
                  <a:lnTo>
                    <a:pt x="926" y="989"/>
                  </a:lnTo>
                  <a:lnTo>
                    <a:pt x="962" y="981"/>
                  </a:lnTo>
                  <a:lnTo>
                    <a:pt x="971" y="979"/>
                  </a:lnTo>
                  <a:lnTo>
                    <a:pt x="979" y="976"/>
                  </a:lnTo>
                  <a:lnTo>
                    <a:pt x="986" y="973"/>
                  </a:lnTo>
                  <a:lnTo>
                    <a:pt x="993" y="969"/>
                  </a:lnTo>
                  <a:lnTo>
                    <a:pt x="999" y="965"/>
                  </a:lnTo>
                  <a:lnTo>
                    <a:pt x="1004" y="960"/>
                  </a:lnTo>
                  <a:lnTo>
                    <a:pt x="1007" y="955"/>
                  </a:lnTo>
                  <a:lnTo>
                    <a:pt x="1008" y="948"/>
                  </a:lnTo>
                  <a:lnTo>
                    <a:pt x="1010" y="938"/>
                  </a:lnTo>
                  <a:lnTo>
                    <a:pt x="1011" y="922"/>
                  </a:lnTo>
                  <a:lnTo>
                    <a:pt x="1014" y="903"/>
                  </a:lnTo>
                  <a:lnTo>
                    <a:pt x="1019" y="884"/>
                  </a:lnTo>
                  <a:lnTo>
                    <a:pt x="1022" y="876"/>
                  </a:lnTo>
                  <a:lnTo>
                    <a:pt x="1025" y="869"/>
                  </a:lnTo>
                  <a:lnTo>
                    <a:pt x="1028" y="863"/>
                  </a:lnTo>
                  <a:lnTo>
                    <a:pt x="1033" y="859"/>
                  </a:lnTo>
                  <a:lnTo>
                    <a:pt x="1035" y="858"/>
                  </a:lnTo>
                  <a:lnTo>
                    <a:pt x="1038" y="857"/>
                  </a:lnTo>
                  <a:lnTo>
                    <a:pt x="1040" y="857"/>
                  </a:lnTo>
                  <a:lnTo>
                    <a:pt x="1042" y="858"/>
                  </a:lnTo>
                  <a:lnTo>
                    <a:pt x="1047" y="861"/>
                  </a:lnTo>
                  <a:lnTo>
                    <a:pt x="1053" y="867"/>
                  </a:lnTo>
                  <a:lnTo>
                    <a:pt x="1060" y="875"/>
                  </a:lnTo>
                  <a:lnTo>
                    <a:pt x="1067" y="882"/>
                  </a:lnTo>
                  <a:lnTo>
                    <a:pt x="1074" y="888"/>
                  </a:lnTo>
                  <a:lnTo>
                    <a:pt x="1081" y="893"/>
                  </a:lnTo>
                  <a:lnTo>
                    <a:pt x="1089" y="897"/>
                  </a:lnTo>
                  <a:lnTo>
                    <a:pt x="1097" y="901"/>
                  </a:lnTo>
                  <a:lnTo>
                    <a:pt x="1106" y="903"/>
                  </a:lnTo>
                  <a:lnTo>
                    <a:pt x="1114" y="905"/>
                  </a:lnTo>
                  <a:lnTo>
                    <a:pt x="1133" y="908"/>
                  </a:lnTo>
                  <a:lnTo>
                    <a:pt x="1152" y="909"/>
                  </a:lnTo>
                  <a:lnTo>
                    <a:pt x="1171" y="909"/>
                  </a:lnTo>
                  <a:lnTo>
                    <a:pt x="1190" y="909"/>
                  </a:lnTo>
                  <a:lnTo>
                    <a:pt x="1190" y="914"/>
                  </a:lnTo>
                  <a:lnTo>
                    <a:pt x="1188" y="918"/>
                  </a:lnTo>
                  <a:lnTo>
                    <a:pt x="1184" y="922"/>
                  </a:lnTo>
                  <a:lnTo>
                    <a:pt x="1182" y="926"/>
                  </a:lnTo>
                  <a:lnTo>
                    <a:pt x="1174" y="936"/>
                  </a:lnTo>
                  <a:lnTo>
                    <a:pt x="1169" y="945"/>
                  </a:lnTo>
                  <a:lnTo>
                    <a:pt x="1164" y="958"/>
                  </a:lnTo>
                  <a:lnTo>
                    <a:pt x="1163" y="969"/>
                  </a:lnTo>
                  <a:lnTo>
                    <a:pt x="1162" y="982"/>
                  </a:lnTo>
                  <a:lnTo>
                    <a:pt x="1160" y="995"/>
                  </a:lnTo>
                  <a:lnTo>
                    <a:pt x="1160" y="1000"/>
                  </a:lnTo>
                  <a:lnTo>
                    <a:pt x="1157" y="1002"/>
                  </a:lnTo>
                  <a:lnTo>
                    <a:pt x="1156" y="1004"/>
                  </a:lnTo>
                  <a:lnTo>
                    <a:pt x="1154" y="1005"/>
                  </a:lnTo>
                  <a:lnTo>
                    <a:pt x="1149" y="1008"/>
                  </a:lnTo>
                  <a:lnTo>
                    <a:pt x="1143" y="1008"/>
                  </a:lnTo>
                  <a:lnTo>
                    <a:pt x="1138" y="1007"/>
                  </a:lnTo>
                  <a:lnTo>
                    <a:pt x="1132" y="1005"/>
                  </a:lnTo>
                  <a:lnTo>
                    <a:pt x="1125" y="1005"/>
                  </a:lnTo>
                  <a:lnTo>
                    <a:pt x="1118" y="1007"/>
                  </a:lnTo>
                  <a:lnTo>
                    <a:pt x="1113" y="1009"/>
                  </a:lnTo>
                  <a:lnTo>
                    <a:pt x="1109" y="1012"/>
                  </a:lnTo>
                  <a:lnTo>
                    <a:pt x="1105" y="1016"/>
                  </a:lnTo>
                  <a:lnTo>
                    <a:pt x="1102" y="1021"/>
                  </a:lnTo>
                  <a:lnTo>
                    <a:pt x="1096" y="1031"/>
                  </a:lnTo>
                  <a:lnTo>
                    <a:pt x="1091" y="1043"/>
                  </a:lnTo>
                  <a:lnTo>
                    <a:pt x="1086" y="1056"/>
                  </a:lnTo>
                  <a:lnTo>
                    <a:pt x="1083" y="1067"/>
                  </a:lnTo>
                  <a:lnTo>
                    <a:pt x="1077" y="1079"/>
                  </a:lnTo>
                  <a:lnTo>
                    <a:pt x="1070" y="1087"/>
                  </a:lnTo>
                  <a:lnTo>
                    <a:pt x="1057" y="1102"/>
                  </a:lnTo>
                  <a:lnTo>
                    <a:pt x="1046" y="1121"/>
                  </a:lnTo>
                  <a:lnTo>
                    <a:pt x="1034" y="1139"/>
                  </a:lnTo>
                  <a:lnTo>
                    <a:pt x="1022" y="1158"/>
                  </a:lnTo>
                  <a:lnTo>
                    <a:pt x="1015" y="1167"/>
                  </a:lnTo>
                  <a:lnTo>
                    <a:pt x="1008" y="1175"/>
                  </a:lnTo>
                  <a:lnTo>
                    <a:pt x="1001" y="1182"/>
                  </a:lnTo>
                  <a:lnTo>
                    <a:pt x="993" y="1188"/>
                  </a:lnTo>
                  <a:lnTo>
                    <a:pt x="985" y="1193"/>
                  </a:lnTo>
                  <a:lnTo>
                    <a:pt x="976" y="1196"/>
                  </a:lnTo>
                  <a:lnTo>
                    <a:pt x="966" y="1197"/>
                  </a:lnTo>
                  <a:lnTo>
                    <a:pt x="956" y="1196"/>
                  </a:lnTo>
                  <a:lnTo>
                    <a:pt x="937" y="1195"/>
                  </a:lnTo>
                  <a:lnTo>
                    <a:pt x="923" y="1196"/>
                  </a:lnTo>
                  <a:lnTo>
                    <a:pt x="918" y="1197"/>
                  </a:lnTo>
                  <a:lnTo>
                    <a:pt x="912" y="1199"/>
                  </a:lnTo>
                  <a:lnTo>
                    <a:pt x="907" y="1201"/>
                  </a:lnTo>
                  <a:lnTo>
                    <a:pt x="904" y="1204"/>
                  </a:lnTo>
                  <a:lnTo>
                    <a:pt x="885" y="1220"/>
                  </a:lnTo>
                  <a:lnTo>
                    <a:pt x="861" y="1242"/>
                  </a:lnTo>
                  <a:lnTo>
                    <a:pt x="850" y="1250"/>
                  </a:lnTo>
                  <a:lnTo>
                    <a:pt x="842" y="1257"/>
                  </a:lnTo>
                  <a:lnTo>
                    <a:pt x="834" y="1261"/>
                  </a:lnTo>
                  <a:lnTo>
                    <a:pt x="826" y="1264"/>
                  </a:lnTo>
                  <a:lnTo>
                    <a:pt x="817" y="1265"/>
                  </a:lnTo>
                  <a:lnTo>
                    <a:pt x="808" y="1264"/>
                  </a:lnTo>
                  <a:lnTo>
                    <a:pt x="799" y="1259"/>
                  </a:lnTo>
                  <a:lnTo>
                    <a:pt x="787" y="1253"/>
                  </a:lnTo>
                  <a:lnTo>
                    <a:pt x="781" y="1251"/>
                  </a:lnTo>
                  <a:lnTo>
                    <a:pt x="777" y="1251"/>
                  </a:lnTo>
                  <a:lnTo>
                    <a:pt x="772" y="1252"/>
                  </a:lnTo>
                  <a:lnTo>
                    <a:pt x="769" y="1256"/>
                  </a:lnTo>
                  <a:lnTo>
                    <a:pt x="760" y="1265"/>
                  </a:lnTo>
                  <a:lnTo>
                    <a:pt x="752" y="1275"/>
                  </a:lnTo>
                  <a:lnTo>
                    <a:pt x="748" y="1281"/>
                  </a:lnTo>
                  <a:lnTo>
                    <a:pt x="744" y="1287"/>
                  </a:lnTo>
                  <a:lnTo>
                    <a:pt x="738" y="1292"/>
                  </a:lnTo>
                  <a:lnTo>
                    <a:pt x="734" y="1296"/>
                  </a:lnTo>
                  <a:lnTo>
                    <a:pt x="728" y="1299"/>
                  </a:lnTo>
                  <a:lnTo>
                    <a:pt x="721" y="1300"/>
                  </a:lnTo>
                  <a:lnTo>
                    <a:pt x="713" y="1300"/>
                  </a:lnTo>
                  <a:lnTo>
                    <a:pt x="705" y="1298"/>
                  </a:lnTo>
                  <a:lnTo>
                    <a:pt x="696" y="1294"/>
                  </a:lnTo>
                  <a:lnTo>
                    <a:pt x="688" y="1293"/>
                  </a:lnTo>
                  <a:lnTo>
                    <a:pt x="680" y="1292"/>
                  </a:lnTo>
                  <a:lnTo>
                    <a:pt x="672" y="1293"/>
                  </a:lnTo>
                  <a:lnTo>
                    <a:pt x="664" y="1294"/>
                  </a:lnTo>
                  <a:lnTo>
                    <a:pt x="657" y="1296"/>
                  </a:lnTo>
                  <a:lnTo>
                    <a:pt x="649" y="1299"/>
                  </a:lnTo>
                  <a:lnTo>
                    <a:pt x="642" y="1302"/>
                  </a:lnTo>
                  <a:lnTo>
                    <a:pt x="625" y="1309"/>
                  </a:lnTo>
                  <a:lnTo>
                    <a:pt x="609" y="1317"/>
                  </a:lnTo>
                  <a:lnTo>
                    <a:pt x="592" y="1325"/>
                  </a:lnTo>
                  <a:lnTo>
                    <a:pt x="573" y="1331"/>
                  </a:lnTo>
                  <a:lnTo>
                    <a:pt x="566" y="1335"/>
                  </a:lnTo>
                  <a:lnTo>
                    <a:pt x="556" y="1339"/>
                  </a:lnTo>
                  <a:lnTo>
                    <a:pt x="545" y="1343"/>
                  </a:lnTo>
                  <a:lnTo>
                    <a:pt x="535" y="1346"/>
                  </a:lnTo>
                  <a:lnTo>
                    <a:pt x="523" y="1348"/>
                  </a:lnTo>
                  <a:lnTo>
                    <a:pt x="513" y="1348"/>
                  </a:lnTo>
                  <a:lnTo>
                    <a:pt x="508" y="1345"/>
                  </a:lnTo>
                  <a:lnTo>
                    <a:pt x="504" y="1344"/>
                  </a:lnTo>
                  <a:lnTo>
                    <a:pt x="500" y="1341"/>
                  </a:lnTo>
                  <a:lnTo>
                    <a:pt x="497" y="1337"/>
                  </a:lnTo>
                  <a:lnTo>
                    <a:pt x="494" y="1334"/>
                  </a:lnTo>
                  <a:lnTo>
                    <a:pt x="493" y="1329"/>
                  </a:lnTo>
                  <a:lnTo>
                    <a:pt x="492" y="1324"/>
                  </a:lnTo>
                  <a:lnTo>
                    <a:pt x="492" y="1321"/>
                  </a:lnTo>
                  <a:lnTo>
                    <a:pt x="494" y="1312"/>
                  </a:lnTo>
                  <a:lnTo>
                    <a:pt x="496" y="1302"/>
                  </a:lnTo>
                  <a:lnTo>
                    <a:pt x="501" y="1293"/>
                  </a:lnTo>
                  <a:lnTo>
                    <a:pt x="504" y="1284"/>
                  </a:lnTo>
                  <a:lnTo>
                    <a:pt x="507" y="1274"/>
                  </a:lnTo>
                  <a:lnTo>
                    <a:pt x="508" y="1265"/>
                  </a:lnTo>
                  <a:lnTo>
                    <a:pt x="500" y="1273"/>
                  </a:lnTo>
                  <a:lnTo>
                    <a:pt x="487" y="1282"/>
                  </a:lnTo>
                  <a:lnTo>
                    <a:pt x="475" y="1284"/>
                  </a:lnTo>
                  <a:lnTo>
                    <a:pt x="459" y="1284"/>
                  </a:lnTo>
                  <a:lnTo>
                    <a:pt x="451" y="1282"/>
                  </a:lnTo>
                  <a:lnTo>
                    <a:pt x="444" y="1281"/>
                  </a:lnTo>
                  <a:lnTo>
                    <a:pt x="438" y="1279"/>
                  </a:lnTo>
                  <a:lnTo>
                    <a:pt x="433" y="1277"/>
                  </a:lnTo>
                  <a:lnTo>
                    <a:pt x="432" y="1270"/>
                  </a:lnTo>
                  <a:lnTo>
                    <a:pt x="433" y="1257"/>
                  </a:lnTo>
                  <a:lnTo>
                    <a:pt x="435" y="1243"/>
                  </a:lnTo>
                  <a:lnTo>
                    <a:pt x="435" y="1234"/>
                  </a:lnTo>
                  <a:lnTo>
                    <a:pt x="432" y="1236"/>
                  </a:lnTo>
                  <a:lnTo>
                    <a:pt x="428" y="1241"/>
                  </a:lnTo>
                  <a:lnTo>
                    <a:pt x="422" y="1248"/>
                  </a:lnTo>
                  <a:lnTo>
                    <a:pt x="416" y="1256"/>
                  </a:lnTo>
                  <a:lnTo>
                    <a:pt x="404" y="1273"/>
                  </a:lnTo>
                  <a:lnTo>
                    <a:pt x="396" y="1284"/>
                  </a:lnTo>
                  <a:lnTo>
                    <a:pt x="393" y="1291"/>
                  </a:lnTo>
                  <a:lnTo>
                    <a:pt x="390" y="1299"/>
                  </a:lnTo>
                  <a:lnTo>
                    <a:pt x="390" y="1308"/>
                  </a:lnTo>
                  <a:lnTo>
                    <a:pt x="391" y="1317"/>
                  </a:lnTo>
                  <a:lnTo>
                    <a:pt x="394" y="1327"/>
                  </a:lnTo>
                  <a:lnTo>
                    <a:pt x="397" y="1336"/>
                  </a:lnTo>
                  <a:lnTo>
                    <a:pt x="402" y="1346"/>
                  </a:lnTo>
                  <a:lnTo>
                    <a:pt x="408" y="1356"/>
                  </a:lnTo>
                  <a:lnTo>
                    <a:pt x="432" y="1394"/>
                  </a:lnTo>
                  <a:lnTo>
                    <a:pt x="452" y="1426"/>
                  </a:lnTo>
                  <a:lnTo>
                    <a:pt x="460" y="1438"/>
                  </a:lnTo>
                  <a:lnTo>
                    <a:pt x="469" y="1451"/>
                  </a:lnTo>
                  <a:lnTo>
                    <a:pt x="478" y="1464"/>
                  </a:lnTo>
                  <a:lnTo>
                    <a:pt x="487" y="1476"/>
                  </a:lnTo>
                  <a:lnTo>
                    <a:pt x="508" y="1499"/>
                  </a:lnTo>
                  <a:lnTo>
                    <a:pt x="529" y="1520"/>
                  </a:lnTo>
                  <a:lnTo>
                    <a:pt x="551" y="1542"/>
                  </a:lnTo>
                  <a:lnTo>
                    <a:pt x="573" y="1563"/>
                  </a:lnTo>
                  <a:lnTo>
                    <a:pt x="594" y="1585"/>
                  </a:lnTo>
                  <a:lnTo>
                    <a:pt x="615" y="1607"/>
                  </a:lnTo>
                  <a:lnTo>
                    <a:pt x="830" y="1821"/>
                  </a:lnTo>
                  <a:lnTo>
                    <a:pt x="1152" y="2112"/>
                  </a:lnTo>
                  <a:lnTo>
                    <a:pt x="1166" y="2125"/>
                  </a:lnTo>
                  <a:lnTo>
                    <a:pt x="1181" y="2137"/>
                  </a:lnTo>
                  <a:lnTo>
                    <a:pt x="1195" y="2147"/>
                  </a:lnTo>
                  <a:lnTo>
                    <a:pt x="1209" y="2156"/>
                  </a:lnTo>
                  <a:lnTo>
                    <a:pt x="1223" y="2166"/>
                  </a:lnTo>
                  <a:lnTo>
                    <a:pt x="1237" y="2173"/>
                  </a:lnTo>
                  <a:lnTo>
                    <a:pt x="1249" y="2179"/>
                  </a:lnTo>
                  <a:lnTo>
                    <a:pt x="1263" y="2184"/>
                  </a:lnTo>
                  <a:lnTo>
                    <a:pt x="1276" y="2189"/>
                  </a:lnTo>
                  <a:lnTo>
                    <a:pt x="1290" y="2192"/>
                  </a:lnTo>
                  <a:lnTo>
                    <a:pt x="1303" y="2195"/>
                  </a:lnTo>
                  <a:lnTo>
                    <a:pt x="1316" y="2197"/>
                  </a:lnTo>
                  <a:lnTo>
                    <a:pt x="1329" y="2198"/>
                  </a:lnTo>
                  <a:lnTo>
                    <a:pt x="1341" y="2198"/>
                  </a:lnTo>
                  <a:lnTo>
                    <a:pt x="1354" y="2198"/>
                  </a:lnTo>
                  <a:lnTo>
                    <a:pt x="1367" y="2197"/>
                  </a:lnTo>
                  <a:lnTo>
                    <a:pt x="1370" y="2187"/>
                  </a:lnTo>
                  <a:lnTo>
                    <a:pt x="1375" y="2176"/>
                  </a:lnTo>
                  <a:lnTo>
                    <a:pt x="1377" y="2170"/>
                  </a:lnTo>
                  <a:lnTo>
                    <a:pt x="1381" y="2166"/>
                  </a:lnTo>
                  <a:lnTo>
                    <a:pt x="1386" y="2162"/>
                  </a:lnTo>
                  <a:lnTo>
                    <a:pt x="1390" y="2160"/>
                  </a:lnTo>
                  <a:lnTo>
                    <a:pt x="1394" y="2160"/>
                  </a:lnTo>
                  <a:lnTo>
                    <a:pt x="1397" y="2159"/>
                  </a:lnTo>
                  <a:lnTo>
                    <a:pt x="1400" y="2160"/>
                  </a:lnTo>
                  <a:lnTo>
                    <a:pt x="1402" y="2160"/>
                  </a:lnTo>
                  <a:lnTo>
                    <a:pt x="1406" y="2163"/>
                  </a:lnTo>
                  <a:lnTo>
                    <a:pt x="1411" y="2167"/>
                  </a:lnTo>
                  <a:lnTo>
                    <a:pt x="1417" y="2177"/>
                  </a:lnTo>
                  <a:lnTo>
                    <a:pt x="1425" y="2186"/>
                  </a:lnTo>
                  <a:close/>
                  <a:moveTo>
                    <a:pt x="1102" y="923"/>
                  </a:moveTo>
                  <a:lnTo>
                    <a:pt x="1097" y="924"/>
                  </a:lnTo>
                  <a:lnTo>
                    <a:pt x="1093" y="924"/>
                  </a:lnTo>
                  <a:lnTo>
                    <a:pt x="1090" y="922"/>
                  </a:lnTo>
                  <a:lnTo>
                    <a:pt x="1086" y="918"/>
                  </a:lnTo>
                  <a:lnTo>
                    <a:pt x="1079" y="909"/>
                  </a:lnTo>
                  <a:lnTo>
                    <a:pt x="1072" y="900"/>
                  </a:lnTo>
                  <a:lnTo>
                    <a:pt x="1068" y="896"/>
                  </a:lnTo>
                  <a:lnTo>
                    <a:pt x="1064" y="893"/>
                  </a:lnTo>
                  <a:lnTo>
                    <a:pt x="1060" y="890"/>
                  </a:lnTo>
                  <a:lnTo>
                    <a:pt x="1054" y="889"/>
                  </a:lnTo>
                  <a:lnTo>
                    <a:pt x="1049" y="889"/>
                  </a:lnTo>
                  <a:lnTo>
                    <a:pt x="1046" y="890"/>
                  </a:lnTo>
                  <a:lnTo>
                    <a:pt x="1043" y="893"/>
                  </a:lnTo>
                  <a:lnTo>
                    <a:pt x="1042" y="895"/>
                  </a:lnTo>
                  <a:lnTo>
                    <a:pt x="1041" y="902"/>
                  </a:lnTo>
                  <a:lnTo>
                    <a:pt x="1041" y="910"/>
                  </a:lnTo>
                  <a:lnTo>
                    <a:pt x="1042" y="923"/>
                  </a:lnTo>
                  <a:lnTo>
                    <a:pt x="1042" y="934"/>
                  </a:lnTo>
                  <a:lnTo>
                    <a:pt x="1042" y="943"/>
                  </a:lnTo>
                  <a:lnTo>
                    <a:pt x="1042" y="950"/>
                  </a:lnTo>
                  <a:lnTo>
                    <a:pt x="1043" y="953"/>
                  </a:lnTo>
                  <a:lnTo>
                    <a:pt x="1044" y="957"/>
                  </a:lnTo>
                  <a:lnTo>
                    <a:pt x="1048" y="959"/>
                  </a:lnTo>
                  <a:lnTo>
                    <a:pt x="1051" y="961"/>
                  </a:lnTo>
                  <a:lnTo>
                    <a:pt x="1058" y="962"/>
                  </a:lnTo>
                  <a:lnTo>
                    <a:pt x="1064" y="964"/>
                  </a:lnTo>
                  <a:lnTo>
                    <a:pt x="1071" y="964"/>
                  </a:lnTo>
                  <a:lnTo>
                    <a:pt x="1077" y="962"/>
                  </a:lnTo>
                  <a:lnTo>
                    <a:pt x="1089" y="959"/>
                  </a:lnTo>
                  <a:lnTo>
                    <a:pt x="1102" y="953"/>
                  </a:lnTo>
                  <a:lnTo>
                    <a:pt x="1102" y="923"/>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sz="1200" dirty="0"/>
            </a:p>
          </p:txBody>
        </p:sp>
        <p:sp>
          <p:nvSpPr>
            <p:cNvPr id="26" name="Freeform 40"/>
            <p:cNvSpPr>
              <a:spLocks/>
            </p:cNvSpPr>
            <p:nvPr/>
          </p:nvSpPr>
          <p:spPr bwMode="auto">
            <a:xfrm>
              <a:off x="5271370" y="2847174"/>
              <a:ext cx="787276" cy="616420"/>
            </a:xfrm>
            <a:custGeom>
              <a:avLst/>
              <a:gdLst>
                <a:gd name="T0" fmla="*/ 326 w 2354"/>
                <a:gd name="T1" fmla="*/ 400 h 1843"/>
                <a:gd name="T2" fmla="*/ 443 w 2354"/>
                <a:gd name="T3" fmla="*/ 441 h 1843"/>
                <a:gd name="T4" fmla="*/ 587 w 2354"/>
                <a:gd name="T5" fmla="*/ 566 h 1843"/>
                <a:gd name="T6" fmla="*/ 716 w 2354"/>
                <a:gd name="T7" fmla="*/ 521 h 1843"/>
                <a:gd name="T8" fmla="*/ 775 w 2354"/>
                <a:gd name="T9" fmla="*/ 473 h 1843"/>
                <a:gd name="T10" fmla="*/ 952 w 2354"/>
                <a:gd name="T11" fmla="*/ 486 h 1843"/>
                <a:gd name="T12" fmla="*/ 1198 w 2354"/>
                <a:gd name="T13" fmla="*/ 393 h 1843"/>
                <a:gd name="T14" fmla="*/ 1250 w 2354"/>
                <a:gd name="T15" fmla="*/ 306 h 1843"/>
                <a:gd name="T16" fmla="*/ 1531 w 2354"/>
                <a:gd name="T17" fmla="*/ 453 h 1843"/>
                <a:gd name="T18" fmla="*/ 1635 w 2354"/>
                <a:gd name="T19" fmla="*/ 447 h 1843"/>
                <a:gd name="T20" fmla="*/ 1750 w 2354"/>
                <a:gd name="T21" fmla="*/ 389 h 1843"/>
                <a:gd name="T22" fmla="*/ 1891 w 2354"/>
                <a:gd name="T23" fmla="*/ 353 h 1843"/>
                <a:gd name="T24" fmla="*/ 1953 w 2354"/>
                <a:gd name="T25" fmla="*/ 192 h 1843"/>
                <a:gd name="T26" fmla="*/ 2029 w 2354"/>
                <a:gd name="T27" fmla="*/ 54 h 1843"/>
                <a:gd name="T28" fmla="*/ 2118 w 2354"/>
                <a:gd name="T29" fmla="*/ 28 h 1843"/>
                <a:gd name="T30" fmla="*/ 2250 w 2354"/>
                <a:gd name="T31" fmla="*/ 50 h 1843"/>
                <a:gd name="T32" fmla="*/ 2292 w 2354"/>
                <a:gd name="T33" fmla="*/ 154 h 1843"/>
                <a:gd name="T34" fmla="*/ 2332 w 2354"/>
                <a:gd name="T35" fmla="*/ 258 h 1843"/>
                <a:gd name="T36" fmla="*/ 2326 w 2354"/>
                <a:gd name="T37" fmla="*/ 418 h 1843"/>
                <a:gd name="T38" fmla="*/ 2268 w 2354"/>
                <a:gd name="T39" fmla="*/ 454 h 1843"/>
                <a:gd name="T40" fmla="*/ 2205 w 2354"/>
                <a:gd name="T41" fmla="*/ 599 h 1843"/>
                <a:gd name="T42" fmla="*/ 2102 w 2354"/>
                <a:gd name="T43" fmla="*/ 750 h 1843"/>
                <a:gd name="T44" fmla="*/ 1999 w 2354"/>
                <a:gd name="T45" fmla="*/ 721 h 1843"/>
                <a:gd name="T46" fmla="*/ 1974 w 2354"/>
                <a:gd name="T47" fmla="*/ 818 h 1843"/>
                <a:gd name="T48" fmla="*/ 1836 w 2354"/>
                <a:gd name="T49" fmla="*/ 800 h 1843"/>
                <a:gd name="T50" fmla="*/ 1766 w 2354"/>
                <a:gd name="T51" fmla="*/ 902 h 1843"/>
                <a:gd name="T52" fmla="*/ 1568 w 2354"/>
                <a:gd name="T53" fmla="*/ 1012 h 1843"/>
                <a:gd name="T54" fmla="*/ 1458 w 2354"/>
                <a:gd name="T55" fmla="*/ 1031 h 1843"/>
                <a:gd name="T56" fmla="*/ 1324 w 2354"/>
                <a:gd name="T57" fmla="*/ 1030 h 1843"/>
                <a:gd name="T58" fmla="*/ 1280 w 2354"/>
                <a:gd name="T59" fmla="*/ 1125 h 1843"/>
                <a:gd name="T60" fmla="*/ 1404 w 2354"/>
                <a:gd name="T61" fmla="*/ 1256 h 1843"/>
                <a:gd name="T62" fmla="*/ 1530 w 2354"/>
                <a:gd name="T63" fmla="*/ 1300 h 1843"/>
                <a:gd name="T64" fmla="*/ 1587 w 2354"/>
                <a:gd name="T65" fmla="*/ 1341 h 1843"/>
                <a:gd name="T66" fmla="*/ 1672 w 2354"/>
                <a:gd name="T67" fmla="*/ 1445 h 1843"/>
                <a:gd name="T68" fmla="*/ 1773 w 2354"/>
                <a:gd name="T69" fmla="*/ 1559 h 1843"/>
                <a:gd name="T70" fmla="*/ 1817 w 2354"/>
                <a:gd name="T71" fmla="*/ 1665 h 1843"/>
                <a:gd name="T72" fmla="*/ 1630 w 2354"/>
                <a:gd name="T73" fmla="*/ 1687 h 1843"/>
                <a:gd name="T74" fmla="*/ 1488 w 2354"/>
                <a:gd name="T75" fmla="*/ 1592 h 1843"/>
                <a:gd name="T76" fmla="*/ 1364 w 2354"/>
                <a:gd name="T77" fmla="*/ 1559 h 1843"/>
                <a:gd name="T78" fmla="*/ 1374 w 2354"/>
                <a:gd name="T79" fmla="*/ 1689 h 1843"/>
                <a:gd name="T80" fmla="*/ 1352 w 2354"/>
                <a:gd name="T81" fmla="*/ 1794 h 1843"/>
                <a:gd name="T82" fmla="*/ 1255 w 2354"/>
                <a:gd name="T83" fmla="*/ 1831 h 1843"/>
                <a:gd name="T84" fmla="*/ 1191 w 2354"/>
                <a:gd name="T85" fmla="*/ 1788 h 1843"/>
                <a:gd name="T86" fmla="*/ 957 w 2354"/>
                <a:gd name="T87" fmla="*/ 1794 h 1843"/>
                <a:gd name="T88" fmla="*/ 866 w 2354"/>
                <a:gd name="T89" fmla="*/ 1768 h 1843"/>
                <a:gd name="T90" fmla="*/ 899 w 2354"/>
                <a:gd name="T91" fmla="*/ 1653 h 1843"/>
                <a:gd name="T92" fmla="*/ 775 w 2354"/>
                <a:gd name="T93" fmla="*/ 1590 h 1843"/>
                <a:gd name="T94" fmla="*/ 562 w 2354"/>
                <a:gd name="T95" fmla="*/ 1639 h 1843"/>
                <a:gd name="T96" fmla="*/ 346 w 2354"/>
                <a:gd name="T97" fmla="*/ 1548 h 1843"/>
                <a:gd name="T98" fmla="*/ 446 w 2354"/>
                <a:gd name="T99" fmla="*/ 1467 h 1843"/>
                <a:gd name="T100" fmla="*/ 524 w 2354"/>
                <a:gd name="T101" fmla="*/ 1357 h 1843"/>
                <a:gd name="T102" fmla="*/ 491 w 2354"/>
                <a:gd name="T103" fmla="*/ 1290 h 1843"/>
                <a:gd name="T104" fmla="*/ 395 w 2354"/>
                <a:gd name="T105" fmla="*/ 1240 h 1843"/>
                <a:gd name="T106" fmla="*/ 327 w 2354"/>
                <a:gd name="T107" fmla="*/ 1059 h 1843"/>
                <a:gd name="T108" fmla="*/ 331 w 2354"/>
                <a:gd name="T109" fmla="*/ 939 h 1843"/>
                <a:gd name="T110" fmla="*/ 241 w 2354"/>
                <a:gd name="T111" fmla="*/ 946 h 1843"/>
                <a:gd name="T112" fmla="*/ 132 w 2354"/>
                <a:gd name="T113" fmla="*/ 798 h 1843"/>
                <a:gd name="T114" fmla="*/ 71 w 2354"/>
                <a:gd name="T115" fmla="*/ 696 h 1843"/>
                <a:gd name="T116" fmla="*/ 39 w 2354"/>
                <a:gd name="T117" fmla="*/ 551 h 1843"/>
                <a:gd name="T118" fmla="*/ 60 w 2354"/>
                <a:gd name="T119" fmla="*/ 438 h 1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54" h="1843">
                  <a:moveTo>
                    <a:pt x="74" y="427"/>
                  </a:moveTo>
                  <a:lnTo>
                    <a:pt x="93" y="432"/>
                  </a:lnTo>
                  <a:lnTo>
                    <a:pt x="112" y="437"/>
                  </a:lnTo>
                  <a:lnTo>
                    <a:pt x="132" y="439"/>
                  </a:lnTo>
                  <a:lnTo>
                    <a:pt x="150" y="441"/>
                  </a:lnTo>
                  <a:lnTo>
                    <a:pt x="170" y="443"/>
                  </a:lnTo>
                  <a:lnTo>
                    <a:pt x="189" y="444"/>
                  </a:lnTo>
                  <a:lnTo>
                    <a:pt x="207" y="443"/>
                  </a:lnTo>
                  <a:lnTo>
                    <a:pt x="225" y="440"/>
                  </a:lnTo>
                  <a:lnTo>
                    <a:pt x="244" y="437"/>
                  </a:lnTo>
                  <a:lnTo>
                    <a:pt x="261" y="432"/>
                  </a:lnTo>
                  <a:lnTo>
                    <a:pt x="277" y="426"/>
                  </a:lnTo>
                  <a:lnTo>
                    <a:pt x="295" y="418"/>
                  </a:lnTo>
                  <a:lnTo>
                    <a:pt x="311" y="410"/>
                  </a:lnTo>
                  <a:lnTo>
                    <a:pt x="326" y="400"/>
                  </a:lnTo>
                  <a:lnTo>
                    <a:pt x="341" y="388"/>
                  </a:lnTo>
                  <a:lnTo>
                    <a:pt x="355" y="374"/>
                  </a:lnTo>
                  <a:lnTo>
                    <a:pt x="359" y="372"/>
                  </a:lnTo>
                  <a:lnTo>
                    <a:pt x="363" y="372"/>
                  </a:lnTo>
                  <a:lnTo>
                    <a:pt x="367" y="372"/>
                  </a:lnTo>
                  <a:lnTo>
                    <a:pt x="370" y="374"/>
                  </a:lnTo>
                  <a:lnTo>
                    <a:pt x="380" y="381"/>
                  </a:lnTo>
                  <a:lnTo>
                    <a:pt x="388" y="391"/>
                  </a:lnTo>
                  <a:lnTo>
                    <a:pt x="403" y="415"/>
                  </a:lnTo>
                  <a:lnTo>
                    <a:pt x="416" y="432"/>
                  </a:lnTo>
                  <a:lnTo>
                    <a:pt x="419" y="437"/>
                  </a:lnTo>
                  <a:lnTo>
                    <a:pt x="424" y="440"/>
                  </a:lnTo>
                  <a:lnTo>
                    <a:pt x="429" y="441"/>
                  </a:lnTo>
                  <a:lnTo>
                    <a:pt x="433" y="443"/>
                  </a:lnTo>
                  <a:lnTo>
                    <a:pt x="443" y="441"/>
                  </a:lnTo>
                  <a:lnTo>
                    <a:pt x="452" y="438"/>
                  </a:lnTo>
                  <a:lnTo>
                    <a:pt x="461" y="434"/>
                  </a:lnTo>
                  <a:lnTo>
                    <a:pt x="471" y="431"/>
                  </a:lnTo>
                  <a:lnTo>
                    <a:pt x="475" y="431"/>
                  </a:lnTo>
                  <a:lnTo>
                    <a:pt x="480" y="430"/>
                  </a:lnTo>
                  <a:lnTo>
                    <a:pt x="484" y="431"/>
                  </a:lnTo>
                  <a:lnTo>
                    <a:pt x="489" y="433"/>
                  </a:lnTo>
                  <a:lnTo>
                    <a:pt x="497" y="440"/>
                  </a:lnTo>
                  <a:lnTo>
                    <a:pt x="509" y="453"/>
                  </a:lnTo>
                  <a:lnTo>
                    <a:pt x="521" y="469"/>
                  </a:lnTo>
                  <a:lnTo>
                    <a:pt x="535" y="488"/>
                  </a:lnTo>
                  <a:lnTo>
                    <a:pt x="560" y="526"/>
                  </a:lnTo>
                  <a:lnTo>
                    <a:pt x="576" y="553"/>
                  </a:lnTo>
                  <a:lnTo>
                    <a:pt x="581" y="561"/>
                  </a:lnTo>
                  <a:lnTo>
                    <a:pt x="587" y="566"/>
                  </a:lnTo>
                  <a:lnTo>
                    <a:pt x="592" y="569"/>
                  </a:lnTo>
                  <a:lnTo>
                    <a:pt x="597" y="571"/>
                  </a:lnTo>
                  <a:lnTo>
                    <a:pt x="603" y="569"/>
                  </a:lnTo>
                  <a:lnTo>
                    <a:pt x="609" y="567"/>
                  </a:lnTo>
                  <a:lnTo>
                    <a:pt x="616" y="564"/>
                  </a:lnTo>
                  <a:lnTo>
                    <a:pt x="622" y="559"/>
                  </a:lnTo>
                  <a:lnTo>
                    <a:pt x="635" y="548"/>
                  </a:lnTo>
                  <a:lnTo>
                    <a:pt x="647" y="538"/>
                  </a:lnTo>
                  <a:lnTo>
                    <a:pt x="654" y="533"/>
                  </a:lnTo>
                  <a:lnTo>
                    <a:pt x="661" y="529"/>
                  </a:lnTo>
                  <a:lnTo>
                    <a:pt x="670" y="525"/>
                  </a:lnTo>
                  <a:lnTo>
                    <a:pt x="677" y="523"/>
                  </a:lnTo>
                  <a:lnTo>
                    <a:pt x="701" y="522"/>
                  </a:lnTo>
                  <a:lnTo>
                    <a:pt x="715" y="522"/>
                  </a:lnTo>
                  <a:lnTo>
                    <a:pt x="716" y="521"/>
                  </a:lnTo>
                  <a:lnTo>
                    <a:pt x="718" y="519"/>
                  </a:lnTo>
                  <a:lnTo>
                    <a:pt x="720" y="516"/>
                  </a:lnTo>
                  <a:lnTo>
                    <a:pt x="720" y="514"/>
                  </a:lnTo>
                  <a:lnTo>
                    <a:pt x="721" y="503"/>
                  </a:lnTo>
                  <a:lnTo>
                    <a:pt x="721" y="488"/>
                  </a:lnTo>
                  <a:lnTo>
                    <a:pt x="722" y="475"/>
                  </a:lnTo>
                  <a:lnTo>
                    <a:pt x="723" y="466"/>
                  </a:lnTo>
                  <a:lnTo>
                    <a:pt x="727" y="459"/>
                  </a:lnTo>
                  <a:lnTo>
                    <a:pt x="730" y="454"/>
                  </a:lnTo>
                  <a:lnTo>
                    <a:pt x="735" y="452"/>
                  </a:lnTo>
                  <a:lnTo>
                    <a:pt x="739" y="452"/>
                  </a:lnTo>
                  <a:lnTo>
                    <a:pt x="745" y="453"/>
                  </a:lnTo>
                  <a:lnTo>
                    <a:pt x="751" y="455"/>
                  </a:lnTo>
                  <a:lnTo>
                    <a:pt x="763" y="462"/>
                  </a:lnTo>
                  <a:lnTo>
                    <a:pt x="775" y="473"/>
                  </a:lnTo>
                  <a:lnTo>
                    <a:pt x="786" y="482"/>
                  </a:lnTo>
                  <a:lnTo>
                    <a:pt x="794" y="490"/>
                  </a:lnTo>
                  <a:lnTo>
                    <a:pt x="802" y="496"/>
                  </a:lnTo>
                  <a:lnTo>
                    <a:pt x="810" y="502"/>
                  </a:lnTo>
                  <a:lnTo>
                    <a:pt x="817" y="505"/>
                  </a:lnTo>
                  <a:lnTo>
                    <a:pt x="826" y="508"/>
                  </a:lnTo>
                  <a:lnTo>
                    <a:pt x="835" y="510"/>
                  </a:lnTo>
                  <a:lnTo>
                    <a:pt x="843" y="511"/>
                  </a:lnTo>
                  <a:lnTo>
                    <a:pt x="851" y="511"/>
                  </a:lnTo>
                  <a:lnTo>
                    <a:pt x="860" y="511"/>
                  </a:lnTo>
                  <a:lnTo>
                    <a:pt x="879" y="509"/>
                  </a:lnTo>
                  <a:lnTo>
                    <a:pt x="897" y="505"/>
                  </a:lnTo>
                  <a:lnTo>
                    <a:pt x="915" y="501"/>
                  </a:lnTo>
                  <a:lnTo>
                    <a:pt x="934" y="496"/>
                  </a:lnTo>
                  <a:lnTo>
                    <a:pt x="952" y="486"/>
                  </a:lnTo>
                  <a:lnTo>
                    <a:pt x="975" y="473"/>
                  </a:lnTo>
                  <a:lnTo>
                    <a:pt x="998" y="458"/>
                  </a:lnTo>
                  <a:lnTo>
                    <a:pt x="1022" y="443"/>
                  </a:lnTo>
                  <a:lnTo>
                    <a:pt x="1048" y="429"/>
                  </a:lnTo>
                  <a:lnTo>
                    <a:pt x="1071" y="416"/>
                  </a:lnTo>
                  <a:lnTo>
                    <a:pt x="1082" y="411"/>
                  </a:lnTo>
                  <a:lnTo>
                    <a:pt x="1092" y="408"/>
                  </a:lnTo>
                  <a:lnTo>
                    <a:pt x="1101" y="404"/>
                  </a:lnTo>
                  <a:lnTo>
                    <a:pt x="1111" y="403"/>
                  </a:lnTo>
                  <a:lnTo>
                    <a:pt x="1140" y="403"/>
                  </a:lnTo>
                  <a:lnTo>
                    <a:pt x="1174" y="402"/>
                  </a:lnTo>
                  <a:lnTo>
                    <a:pt x="1182" y="401"/>
                  </a:lnTo>
                  <a:lnTo>
                    <a:pt x="1188" y="400"/>
                  </a:lnTo>
                  <a:lnTo>
                    <a:pt x="1193" y="396"/>
                  </a:lnTo>
                  <a:lnTo>
                    <a:pt x="1198" y="393"/>
                  </a:lnTo>
                  <a:lnTo>
                    <a:pt x="1200" y="388"/>
                  </a:lnTo>
                  <a:lnTo>
                    <a:pt x="1202" y="382"/>
                  </a:lnTo>
                  <a:lnTo>
                    <a:pt x="1200" y="375"/>
                  </a:lnTo>
                  <a:lnTo>
                    <a:pt x="1198" y="366"/>
                  </a:lnTo>
                  <a:lnTo>
                    <a:pt x="1196" y="359"/>
                  </a:lnTo>
                  <a:lnTo>
                    <a:pt x="1193" y="353"/>
                  </a:lnTo>
                  <a:lnTo>
                    <a:pt x="1193" y="347"/>
                  </a:lnTo>
                  <a:lnTo>
                    <a:pt x="1195" y="341"/>
                  </a:lnTo>
                  <a:lnTo>
                    <a:pt x="1197" y="336"/>
                  </a:lnTo>
                  <a:lnTo>
                    <a:pt x="1200" y="331"/>
                  </a:lnTo>
                  <a:lnTo>
                    <a:pt x="1204" y="327"/>
                  </a:lnTo>
                  <a:lnTo>
                    <a:pt x="1209" y="323"/>
                  </a:lnTo>
                  <a:lnTo>
                    <a:pt x="1220" y="317"/>
                  </a:lnTo>
                  <a:lnTo>
                    <a:pt x="1234" y="311"/>
                  </a:lnTo>
                  <a:lnTo>
                    <a:pt x="1250" y="306"/>
                  </a:lnTo>
                  <a:lnTo>
                    <a:pt x="1268" y="303"/>
                  </a:lnTo>
                  <a:lnTo>
                    <a:pt x="1286" y="302"/>
                  </a:lnTo>
                  <a:lnTo>
                    <a:pt x="1305" y="299"/>
                  </a:lnTo>
                  <a:lnTo>
                    <a:pt x="1324" y="298"/>
                  </a:lnTo>
                  <a:lnTo>
                    <a:pt x="1341" y="298"/>
                  </a:lnTo>
                  <a:lnTo>
                    <a:pt x="1373" y="298"/>
                  </a:lnTo>
                  <a:lnTo>
                    <a:pt x="1394" y="298"/>
                  </a:lnTo>
                  <a:lnTo>
                    <a:pt x="1397" y="301"/>
                  </a:lnTo>
                  <a:lnTo>
                    <a:pt x="1404" y="304"/>
                  </a:lnTo>
                  <a:lnTo>
                    <a:pt x="1411" y="311"/>
                  </a:lnTo>
                  <a:lnTo>
                    <a:pt x="1419" y="319"/>
                  </a:lnTo>
                  <a:lnTo>
                    <a:pt x="1440" y="341"/>
                  </a:lnTo>
                  <a:lnTo>
                    <a:pt x="1462" y="367"/>
                  </a:lnTo>
                  <a:lnTo>
                    <a:pt x="1504" y="419"/>
                  </a:lnTo>
                  <a:lnTo>
                    <a:pt x="1531" y="453"/>
                  </a:lnTo>
                  <a:lnTo>
                    <a:pt x="1544" y="471"/>
                  </a:lnTo>
                  <a:lnTo>
                    <a:pt x="1562" y="495"/>
                  </a:lnTo>
                  <a:lnTo>
                    <a:pt x="1568" y="500"/>
                  </a:lnTo>
                  <a:lnTo>
                    <a:pt x="1573" y="504"/>
                  </a:lnTo>
                  <a:lnTo>
                    <a:pt x="1579" y="508"/>
                  </a:lnTo>
                  <a:lnTo>
                    <a:pt x="1583" y="510"/>
                  </a:lnTo>
                  <a:lnTo>
                    <a:pt x="1588" y="511"/>
                  </a:lnTo>
                  <a:lnTo>
                    <a:pt x="1593" y="511"/>
                  </a:lnTo>
                  <a:lnTo>
                    <a:pt x="1596" y="508"/>
                  </a:lnTo>
                  <a:lnTo>
                    <a:pt x="1600" y="503"/>
                  </a:lnTo>
                  <a:lnTo>
                    <a:pt x="1607" y="491"/>
                  </a:lnTo>
                  <a:lnTo>
                    <a:pt x="1614" y="477"/>
                  </a:lnTo>
                  <a:lnTo>
                    <a:pt x="1622" y="465"/>
                  </a:lnTo>
                  <a:lnTo>
                    <a:pt x="1630" y="453"/>
                  </a:lnTo>
                  <a:lnTo>
                    <a:pt x="1635" y="447"/>
                  </a:lnTo>
                  <a:lnTo>
                    <a:pt x="1640" y="443"/>
                  </a:lnTo>
                  <a:lnTo>
                    <a:pt x="1645" y="438"/>
                  </a:lnTo>
                  <a:lnTo>
                    <a:pt x="1651" y="433"/>
                  </a:lnTo>
                  <a:lnTo>
                    <a:pt x="1658" y="430"/>
                  </a:lnTo>
                  <a:lnTo>
                    <a:pt x="1665" y="427"/>
                  </a:lnTo>
                  <a:lnTo>
                    <a:pt x="1672" y="426"/>
                  </a:lnTo>
                  <a:lnTo>
                    <a:pt x="1680" y="425"/>
                  </a:lnTo>
                  <a:lnTo>
                    <a:pt x="1693" y="424"/>
                  </a:lnTo>
                  <a:lnTo>
                    <a:pt x="1702" y="420"/>
                  </a:lnTo>
                  <a:lnTo>
                    <a:pt x="1710" y="416"/>
                  </a:lnTo>
                  <a:lnTo>
                    <a:pt x="1718" y="410"/>
                  </a:lnTo>
                  <a:lnTo>
                    <a:pt x="1725" y="404"/>
                  </a:lnTo>
                  <a:lnTo>
                    <a:pt x="1732" y="398"/>
                  </a:lnTo>
                  <a:lnTo>
                    <a:pt x="1740" y="394"/>
                  </a:lnTo>
                  <a:lnTo>
                    <a:pt x="1750" y="389"/>
                  </a:lnTo>
                  <a:lnTo>
                    <a:pt x="1761" y="387"/>
                  </a:lnTo>
                  <a:lnTo>
                    <a:pt x="1773" y="386"/>
                  </a:lnTo>
                  <a:lnTo>
                    <a:pt x="1787" y="387"/>
                  </a:lnTo>
                  <a:lnTo>
                    <a:pt x="1801" y="388"/>
                  </a:lnTo>
                  <a:lnTo>
                    <a:pt x="1829" y="391"/>
                  </a:lnTo>
                  <a:lnTo>
                    <a:pt x="1853" y="394"/>
                  </a:lnTo>
                  <a:lnTo>
                    <a:pt x="1863" y="393"/>
                  </a:lnTo>
                  <a:lnTo>
                    <a:pt x="1871" y="391"/>
                  </a:lnTo>
                  <a:lnTo>
                    <a:pt x="1877" y="389"/>
                  </a:lnTo>
                  <a:lnTo>
                    <a:pt x="1881" y="386"/>
                  </a:lnTo>
                  <a:lnTo>
                    <a:pt x="1885" y="382"/>
                  </a:lnTo>
                  <a:lnTo>
                    <a:pt x="1887" y="377"/>
                  </a:lnTo>
                  <a:lnTo>
                    <a:pt x="1888" y="372"/>
                  </a:lnTo>
                  <a:lnTo>
                    <a:pt x="1889" y="366"/>
                  </a:lnTo>
                  <a:lnTo>
                    <a:pt x="1891" y="353"/>
                  </a:lnTo>
                  <a:lnTo>
                    <a:pt x="1892" y="339"/>
                  </a:lnTo>
                  <a:lnTo>
                    <a:pt x="1893" y="332"/>
                  </a:lnTo>
                  <a:lnTo>
                    <a:pt x="1894" y="325"/>
                  </a:lnTo>
                  <a:lnTo>
                    <a:pt x="1898" y="318"/>
                  </a:lnTo>
                  <a:lnTo>
                    <a:pt x="1902" y="311"/>
                  </a:lnTo>
                  <a:lnTo>
                    <a:pt x="1915" y="296"/>
                  </a:lnTo>
                  <a:lnTo>
                    <a:pt x="1929" y="278"/>
                  </a:lnTo>
                  <a:lnTo>
                    <a:pt x="1935" y="269"/>
                  </a:lnTo>
                  <a:lnTo>
                    <a:pt x="1941" y="259"/>
                  </a:lnTo>
                  <a:lnTo>
                    <a:pt x="1945" y="249"/>
                  </a:lnTo>
                  <a:lnTo>
                    <a:pt x="1950" y="240"/>
                  </a:lnTo>
                  <a:lnTo>
                    <a:pt x="1952" y="228"/>
                  </a:lnTo>
                  <a:lnTo>
                    <a:pt x="1953" y="217"/>
                  </a:lnTo>
                  <a:lnTo>
                    <a:pt x="1953" y="205"/>
                  </a:lnTo>
                  <a:lnTo>
                    <a:pt x="1953" y="192"/>
                  </a:lnTo>
                  <a:lnTo>
                    <a:pt x="1955" y="184"/>
                  </a:lnTo>
                  <a:lnTo>
                    <a:pt x="1957" y="174"/>
                  </a:lnTo>
                  <a:lnTo>
                    <a:pt x="1962" y="163"/>
                  </a:lnTo>
                  <a:lnTo>
                    <a:pt x="1967" y="153"/>
                  </a:lnTo>
                  <a:lnTo>
                    <a:pt x="1980" y="133"/>
                  </a:lnTo>
                  <a:lnTo>
                    <a:pt x="1991" y="118"/>
                  </a:lnTo>
                  <a:lnTo>
                    <a:pt x="1997" y="111"/>
                  </a:lnTo>
                  <a:lnTo>
                    <a:pt x="2000" y="103"/>
                  </a:lnTo>
                  <a:lnTo>
                    <a:pt x="2002" y="96"/>
                  </a:lnTo>
                  <a:lnTo>
                    <a:pt x="2005" y="88"/>
                  </a:lnTo>
                  <a:lnTo>
                    <a:pt x="2007" y="81"/>
                  </a:lnTo>
                  <a:lnTo>
                    <a:pt x="2011" y="73"/>
                  </a:lnTo>
                  <a:lnTo>
                    <a:pt x="2015" y="66"/>
                  </a:lnTo>
                  <a:lnTo>
                    <a:pt x="2023" y="59"/>
                  </a:lnTo>
                  <a:lnTo>
                    <a:pt x="2029" y="54"/>
                  </a:lnTo>
                  <a:lnTo>
                    <a:pt x="2034" y="53"/>
                  </a:lnTo>
                  <a:lnTo>
                    <a:pt x="2040" y="52"/>
                  </a:lnTo>
                  <a:lnTo>
                    <a:pt x="2045" y="53"/>
                  </a:lnTo>
                  <a:lnTo>
                    <a:pt x="2056" y="56"/>
                  </a:lnTo>
                  <a:lnTo>
                    <a:pt x="2065" y="62"/>
                  </a:lnTo>
                  <a:lnTo>
                    <a:pt x="2071" y="64"/>
                  </a:lnTo>
                  <a:lnTo>
                    <a:pt x="2076" y="67"/>
                  </a:lnTo>
                  <a:lnTo>
                    <a:pt x="2080" y="68"/>
                  </a:lnTo>
                  <a:lnTo>
                    <a:pt x="2085" y="69"/>
                  </a:lnTo>
                  <a:lnTo>
                    <a:pt x="2090" y="68"/>
                  </a:lnTo>
                  <a:lnTo>
                    <a:pt x="2093" y="66"/>
                  </a:lnTo>
                  <a:lnTo>
                    <a:pt x="2098" y="61"/>
                  </a:lnTo>
                  <a:lnTo>
                    <a:pt x="2101" y="55"/>
                  </a:lnTo>
                  <a:lnTo>
                    <a:pt x="2109" y="40"/>
                  </a:lnTo>
                  <a:lnTo>
                    <a:pt x="2118" y="28"/>
                  </a:lnTo>
                  <a:lnTo>
                    <a:pt x="2122" y="22"/>
                  </a:lnTo>
                  <a:lnTo>
                    <a:pt x="2127" y="18"/>
                  </a:lnTo>
                  <a:lnTo>
                    <a:pt x="2132" y="13"/>
                  </a:lnTo>
                  <a:lnTo>
                    <a:pt x="2137" y="10"/>
                  </a:lnTo>
                  <a:lnTo>
                    <a:pt x="2143" y="6"/>
                  </a:lnTo>
                  <a:lnTo>
                    <a:pt x="2149" y="4"/>
                  </a:lnTo>
                  <a:lnTo>
                    <a:pt x="2156" y="3"/>
                  </a:lnTo>
                  <a:lnTo>
                    <a:pt x="2163" y="2"/>
                  </a:lnTo>
                  <a:lnTo>
                    <a:pt x="2170" y="0"/>
                  </a:lnTo>
                  <a:lnTo>
                    <a:pt x="2178" y="0"/>
                  </a:lnTo>
                  <a:lnTo>
                    <a:pt x="2187" y="2"/>
                  </a:lnTo>
                  <a:lnTo>
                    <a:pt x="2197" y="4"/>
                  </a:lnTo>
                  <a:lnTo>
                    <a:pt x="2236" y="14"/>
                  </a:lnTo>
                  <a:lnTo>
                    <a:pt x="2243" y="34"/>
                  </a:lnTo>
                  <a:lnTo>
                    <a:pt x="2250" y="50"/>
                  </a:lnTo>
                  <a:lnTo>
                    <a:pt x="2253" y="60"/>
                  </a:lnTo>
                  <a:lnTo>
                    <a:pt x="2254" y="68"/>
                  </a:lnTo>
                  <a:lnTo>
                    <a:pt x="2254" y="78"/>
                  </a:lnTo>
                  <a:lnTo>
                    <a:pt x="2253" y="89"/>
                  </a:lnTo>
                  <a:lnTo>
                    <a:pt x="2251" y="98"/>
                  </a:lnTo>
                  <a:lnTo>
                    <a:pt x="2251" y="105"/>
                  </a:lnTo>
                  <a:lnTo>
                    <a:pt x="2253" y="112"/>
                  </a:lnTo>
                  <a:lnTo>
                    <a:pt x="2255" y="119"/>
                  </a:lnTo>
                  <a:lnTo>
                    <a:pt x="2258" y="125"/>
                  </a:lnTo>
                  <a:lnTo>
                    <a:pt x="2263" y="132"/>
                  </a:lnTo>
                  <a:lnTo>
                    <a:pt x="2268" y="137"/>
                  </a:lnTo>
                  <a:lnTo>
                    <a:pt x="2275" y="142"/>
                  </a:lnTo>
                  <a:lnTo>
                    <a:pt x="2279" y="147"/>
                  </a:lnTo>
                  <a:lnTo>
                    <a:pt x="2285" y="150"/>
                  </a:lnTo>
                  <a:lnTo>
                    <a:pt x="2292" y="154"/>
                  </a:lnTo>
                  <a:lnTo>
                    <a:pt x="2299" y="156"/>
                  </a:lnTo>
                  <a:lnTo>
                    <a:pt x="2313" y="162"/>
                  </a:lnTo>
                  <a:lnTo>
                    <a:pt x="2326" y="168"/>
                  </a:lnTo>
                  <a:lnTo>
                    <a:pt x="2333" y="171"/>
                  </a:lnTo>
                  <a:lnTo>
                    <a:pt x="2339" y="175"/>
                  </a:lnTo>
                  <a:lnTo>
                    <a:pt x="2343" y="180"/>
                  </a:lnTo>
                  <a:lnTo>
                    <a:pt x="2348" y="184"/>
                  </a:lnTo>
                  <a:lnTo>
                    <a:pt x="2350" y="190"/>
                  </a:lnTo>
                  <a:lnTo>
                    <a:pt x="2353" y="197"/>
                  </a:lnTo>
                  <a:lnTo>
                    <a:pt x="2354" y="205"/>
                  </a:lnTo>
                  <a:lnTo>
                    <a:pt x="2353" y="214"/>
                  </a:lnTo>
                  <a:lnTo>
                    <a:pt x="2349" y="226"/>
                  </a:lnTo>
                  <a:lnTo>
                    <a:pt x="2345" y="237"/>
                  </a:lnTo>
                  <a:lnTo>
                    <a:pt x="2339" y="247"/>
                  </a:lnTo>
                  <a:lnTo>
                    <a:pt x="2332" y="258"/>
                  </a:lnTo>
                  <a:lnTo>
                    <a:pt x="2326" y="267"/>
                  </a:lnTo>
                  <a:lnTo>
                    <a:pt x="2320" y="275"/>
                  </a:lnTo>
                  <a:lnTo>
                    <a:pt x="2317" y="282"/>
                  </a:lnTo>
                  <a:lnTo>
                    <a:pt x="2315" y="289"/>
                  </a:lnTo>
                  <a:lnTo>
                    <a:pt x="2315" y="302"/>
                  </a:lnTo>
                  <a:lnTo>
                    <a:pt x="2317" y="315"/>
                  </a:lnTo>
                  <a:lnTo>
                    <a:pt x="2319" y="329"/>
                  </a:lnTo>
                  <a:lnTo>
                    <a:pt x="2321" y="344"/>
                  </a:lnTo>
                  <a:lnTo>
                    <a:pt x="2324" y="358"/>
                  </a:lnTo>
                  <a:lnTo>
                    <a:pt x="2326" y="373"/>
                  </a:lnTo>
                  <a:lnTo>
                    <a:pt x="2328" y="387"/>
                  </a:lnTo>
                  <a:lnTo>
                    <a:pt x="2329" y="401"/>
                  </a:lnTo>
                  <a:lnTo>
                    <a:pt x="2328" y="409"/>
                  </a:lnTo>
                  <a:lnTo>
                    <a:pt x="2327" y="415"/>
                  </a:lnTo>
                  <a:lnTo>
                    <a:pt x="2326" y="418"/>
                  </a:lnTo>
                  <a:lnTo>
                    <a:pt x="2324" y="422"/>
                  </a:lnTo>
                  <a:lnTo>
                    <a:pt x="2320" y="424"/>
                  </a:lnTo>
                  <a:lnTo>
                    <a:pt x="2317" y="426"/>
                  </a:lnTo>
                  <a:lnTo>
                    <a:pt x="2313" y="427"/>
                  </a:lnTo>
                  <a:lnTo>
                    <a:pt x="2310" y="427"/>
                  </a:lnTo>
                  <a:lnTo>
                    <a:pt x="2300" y="429"/>
                  </a:lnTo>
                  <a:lnTo>
                    <a:pt x="2292" y="430"/>
                  </a:lnTo>
                  <a:lnTo>
                    <a:pt x="2288" y="431"/>
                  </a:lnTo>
                  <a:lnTo>
                    <a:pt x="2283" y="432"/>
                  </a:lnTo>
                  <a:lnTo>
                    <a:pt x="2279" y="434"/>
                  </a:lnTo>
                  <a:lnTo>
                    <a:pt x="2275" y="438"/>
                  </a:lnTo>
                  <a:lnTo>
                    <a:pt x="2272" y="441"/>
                  </a:lnTo>
                  <a:lnTo>
                    <a:pt x="2270" y="445"/>
                  </a:lnTo>
                  <a:lnTo>
                    <a:pt x="2269" y="450"/>
                  </a:lnTo>
                  <a:lnTo>
                    <a:pt x="2268" y="454"/>
                  </a:lnTo>
                  <a:lnTo>
                    <a:pt x="2268" y="464"/>
                  </a:lnTo>
                  <a:lnTo>
                    <a:pt x="2268" y="473"/>
                  </a:lnTo>
                  <a:lnTo>
                    <a:pt x="2271" y="494"/>
                  </a:lnTo>
                  <a:lnTo>
                    <a:pt x="2274" y="512"/>
                  </a:lnTo>
                  <a:lnTo>
                    <a:pt x="2272" y="521"/>
                  </a:lnTo>
                  <a:lnTo>
                    <a:pt x="2272" y="529"/>
                  </a:lnTo>
                  <a:lnTo>
                    <a:pt x="2270" y="535"/>
                  </a:lnTo>
                  <a:lnTo>
                    <a:pt x="2269" y="540"/>
                  </a:lnTo>
                  <a:lnTo>
                    <a:pt x="2267" y="546"/>
                  </a:lnTo>
                  <a:lnTo>
                    <a:pt x="2263" y="551"/>
                  </a:lnTo>
                  <a:lnTo>
                    <a:pt x="2260" y="555"/>
                  </a:lnTo>
                  <a:lnTo>
                    <a:pt x="2256" y="559"/>
                  </a:lnTo>
                  <a:lnTo>
                    <a:pt x="2236" y="574"/>
                  </a:lnTo>
                  <a:lnTo>
                    <a:pt x="2214" y="590"/>
                  </a:lnTo>
                  <a:lnTo>
                    <a:pt x="2205" y="599"/>
                  </a:lnTo>
                  <a:lnTo>
                    <a:pt x="2196" y="610"/>
                  </a:lnTo>
                  <a:lnTo>
                    <a:pt x="2186" y="623"/>
                  </a:lnTo>
                  <a:lnTo>
                    <a:pt x="2178" y="636"/>
                  </a:lnTo>
                  <a:lnTo>
                    <a:pt x="2166" y="659"/>
                  </a:lnTo>
                  <a:lnTo>
                    <a:pt x="2162" y="667"/>
                  </a:lnTo>
                  <a:lnTo>
                    <a:pt x="2156" y="674"/>
                  </a:lnTo>
                  <a:lnTo>
                    <a:pt x="2151" y="681"/>
                  </a:lnTo>
                  <a:lnTo>
                    <a:pt x="2147" y="689"/>
                  </a:lnTo>
                  <a:lnTo>
                    <a:pt x="2142" y="697"/>
                  </a:lnTo>
                  <a:lnTo>
                    <a:pt x="2133" y="715"/>
                  </a:lnTo>
                  <a:lnTo>
                    <a:pt x="2123" y="730"/>
                  </a:lnTo>
                  <a:lnTo>
                    <a:pt x="2119" y="737"/>
                  </a:lnTo>
                  <a:lnTo>
                    <a:pt x="2113" y="743"/>
                  </a:lnTo>
                  <a:lnTo>
                    <a:pt x="2108" y="747"/>
                  </a:lnTo>
                  <a:lnTo>
                    <a:pt x="2102" y="750"/>
                  </a:lnTo>
                  <a:lnTo>
                    <a:pt x="2095" y="751"/>
                  </a:lnTo>
                  <a:lnTo>
                    <a:pt x="2089" y="750"/>
                  </a:lnTo>
                  <a:lnTo>
                    <a:pt x="2080" y="746"/>
                  </a:lnTo>
                  <a:lnTo>
                    <a:pt x="2072" y="740"/>
                  </a:lnTo>
                  <a:lnTo>
                    <a:pt x="2062" y="732"/>
                  </a:lnTo>
                  <a:lnTo>
                    <a:pt x="2052" y="725"/>
                  </a:lnTo>
                  <a:lnTo>
                    <a:pt x="2043" y="721"/>
                  </a:lnTo>
                  <a:lnTo>
                    <a:pt x="2035" y="716"/>
                  </a:lnTo>
                  <a:lnTo>
                    <a:pt x="2027" y="713"/>
                  </a:lnTo>
                  <a:lnTo>
                    <a:pt x="2019" y="710"/>
                  </a:lnTo>
                  <a:lnTo>
                    <a:pt x="2013" y="709"/>
                  </a:lnTo>
                  <a:lnTo>
                    <a:pt x="2007" y="710"/>
                  </a:lnTo>
                  <a:lnTo>
                    <a:pt x="2004" y="713"/>
                  </a:lnTo>
                  <a:lnTo>
                    <a:pt x="2000" y="716"/>
                  </a:lnTo>
                  <a:lnTo>
                    <a:pt x="1999" y="721"/>
                  </a:lnTo>
                  <a:lnTo>
                    <a:pt x="2000" y="728"/>
                  </a:lnTo>
                  <a:lnTo>
                    <a:pt x="2002" y="736"/>
                  </a:lnTo>
                  <a:lnTo>
                    <a:pt x="2007" y="745"/>
                  </a:lnTo>
                  <a:lnTo>
                    <a:pt x="2013" y="757"/>
                  </a:lnTo>
                  <a:lnTo>
                    <a:pt x="2022" y="771"/>
                  </a:lnTo>
                  <a:lnTo>
                    <a:pt x="2026" y="777"/>
                  </a:lnTo>
                  <a:lnTo>
                    <a:pt x="2027" y="781"/>
                  </a:lnTo>
                  <a:lnTo>
                    <a:pt x="2027" y="786"/>
                  </a:lnTo>
                  <a:lnTo>
                    <a:pt x="2026" y="789"/>
                  </a:lnTo>
                  <a:lnTo>
                    <a:pt x="2024" y="793"/>
                  </a:lnTo>
                  <a:lnTo>
                    <a:pt x="2021" y="796"/>
                  </a:lnTo>
                  <a:lnTo>
                    <a:pt x="2018" y="799"/>
                  </a:lnTo>
                  <a:lnTo>
                    <a:pt x="2013" y="802"/>
                  </a:lnTo>
                  <a:lnTo>
                    <a:pt x="1992" y="810"/>
                  </a:lnTo>
                  <a:lnTo>
                    <a:pt x="1974" y="818"/>
                  </a:lnTo>
                  <a:lnTo>
                    <a:pt x="1965" y="824"/>
                  </a:lnTo>
                  <a:lnTo>
                    <a:pt x="1957" y="829"/>
                  </a:lnTo>
                  <a:lnTo>
                    <a:pt x="1949" y="832"/>
                  </a:lnTo>
                  <a:lnTo>
                    <a:pt x="1942" y="835"/>
                  </a:lnTo>
                  <a:lnTo>
                    <a:pt x="1934" y="836"/>
                  </a:lnTo>
                  <a:lnTo>
                    <a:pt x="1927" y="837"/>
                  </a:lnTo>
                  <a:lnTo>
                    <a:pt x="1920" y="836"/>
                  </a:lnTo>
                  <a:lnTo>
                    <a:pt x="1913" y="835"/>
                  </a:lnTo>
                  <a:lnTo>
                    <a:pt x="1900" y="831"/>
                  </a:lnTo>
                  <a:lnTo>
                    <a:pt x="1885" y="824"/>
                  </a:lnTo>
                  <a:lnTo>
                    <a:pt x="1871" y="816"/>
                  </a:lnTo>
                  <a:lnTo>
                    <a:pt x="1855" y="807"/>
                  </a:lnTo>
                  <a:lnTo>
                    <a:pt x="1848" y="803"/>
                  </a:lnTo>
                  <a:lnTo>
                    <a:pt x="1842" y="801"/>
                  </a:lnTo>
                  <a:lnTo>
                    <a:pt x="1836" y="800"/>
                  </a:lnTo>
                  <a:lnTo>
                    <a:pt x="1831" y="799"/>
                  </a:lnTo>
                  <a:lnTo>
                    <a:pt x="1827" y="799"/>
                  </a:lnTo>
                  <a:lnTo>
                    <a:pt x="1822" y="800"/>
                  </a:lnTo>
                  <a:lnTo>
                    <a:pt x="1817" y="802"/>
                  </a:lnTo>
                  <a:lnTo>
                    <a:pt x="1814" y="803"/>
                  </a:lnTo>
                  <a:lnTo>
                    <a:pt x="1808" y="810"/>
                  </a:lnTo>
                  <a:lnTo>
                    <a:pt x="1802" y="818"/>
                  </a:lnTo>
                  <a:lnTo>
                    <a:pt x="1798" y="828"/>
                  </a:lnTo>
                  <a:lnTo>
                    <a:pt x="1794" y="838"/>
                  </a:lnTo>
                  <a:lnTo>
                    <a:pt x="1787" y="860"/>
                  </a:lnTo>
                  <a:lnTo>
                    <a:pt x="1780" y="881"/>
                  </a:lnTo>
                  <a:lnTo>
                    <a:pt x="1777" y="889"/>
                  </a:lnTo>
                  <a:lnTo>
                    <a:pt x="1772" y="898"/>
                  </a:lnTo>
                  <a:lnTo>
                    <a:pt x="1768" y="900"/>
                  </a:lnTo>
                  <a:lnTo>
                    <a:pt x="1766" y="902"/>
                  </a:lnTo>
                  <a:lnTo>
                    <a:pt x="1763" y="905"/>
                  </a:lnTo>
                  <a:lnTo>
                    <a:pt x="1759" y="906"/>
                  </a:lnTo>
                  <a:lnTo>
                    <a:pt x="1730" y="910"/>
                  </a:lnTo>
                  <a:lnTo>
                    <a:pt x="1699" y="917"/>
                  </a:lnTo>
                  <a:lnTo>
                    <a:pt x="1683" y="921"/>
                  </a:lnTo>
                  <a:lnTo>
                    <a:pt x="1668" y="924"/>
                  </a:lnTo>
                  <a:lnTo>
                    <a:pt x="1654" y="930"/>
                  </a:lnTo>
                  <a:lnTo>
                    <a:pt x="1639" y="936"/>
                  </a:lnTo>
                  <a:lnTo>
                    <a:pt x="1626" y="942"/>
                  </a:lnTo>
                  <a:lnTo>
                    <a:pt x="1614" y="950"/>
                  </a:lnTo>
                  <a:lnTo>
                    <a:pt x="1602" y="959"/>
                  </a:lnTo>
                  <a:lnTo>
                    <a:pt x="1591" y="970"/>
                  </a:lnTo>
                  <a:lnTo>
                    <a:pt x="1582" y="981"/>
                  </a:lnTo>
                  <a:lnTo>
                    <a:pt x="1574" y="995"/>
                  </a:lnTo>
                  <a:lnTo>
                    <a:pt x="1568" y="1012"/>
                  </a:lnTo>
                  <a:lnTo>
                    <a:pt x="1565" y="1029"/>
                  </a:lnTo>
                  <a:lnTo>
                    <a:pt x="1561" y="1040"/>
                  </a:lnTo>
                  <a:lnTo>
                    <a:pt x="1558" y="1049"/>
                  </a:lnTo>
                  <a:lnTo>
                    <a:pt x="1553" y="1056"/>
                  </a:lnTo>
                  <a:lnTo>
                    <a:pt x="1547" y="1062"/>
                  </a:lnTo>
                  <a:lnTo>
                    <a:pt x="1541" y="1065"/>
                  </a:lnTo>
                  <a:lnTo>
                    <a:pt x="1534" y="1068"/>
                  </a:lnTo>
                  <a:lnTo>
                    <a:pt x="1527" y="1068"/>
                  </a:lnTo>
                  <a:lnTo>
                    <a:pt x="1519" y="1068"/>
                  </a:lnTo>
                  <a:lnTo>
                    <a:pt x="1511" y="1065"/>
                  </a:lnTo>
                  <a:lnTo>
                    <a:pt x="1503" y="1063"/>
                  </a:lnTo>
                  <a:lnTo>
                    <a:pt x="1496" y="1058"/>
                  </a:lnTo>
                  <a:lnTo>
                    <a:pt x="1488" y="1055"/>
                  </a:lnTo>
                  <a:lnTo>
                    <a:pt x="1472" y="1043"/>
                  </a:lnTo>
                  <a:lnTo>
                    <a:pt x="1458" y="1031"/>
                  </a:lnTo>
                  <a:lnTo>
                    <a:pt x="1440" y="1015"/>
                  </a:lnTo>
                  <a:lnTo>
                    <a:pt x="1427" y="1006"/>
                  </a:lnTo>
                  <a:lnTo>
                    <a:pt x="1422" y="1004"/>
                  </a:lnTo>
                  <a:lnTo>
                    <a:pt x="1418" y="1002"/>
                  </a:lnTo>
                  <a:lnTo>
                    <a:pt x="1413" y="1002"/>
                  </a:lnTo>
                  <a:lnTo>
                    <a:pt x="1410" y="1004"/>
                  </a:lnTo>
                  <a:lnTo>
                    <a:pt x="1402" y="1008"/>
                  </a:lnTo>
                  <a:lnTo>
                    <a:pt x="1392" y="1014"/>
                  </a:lnTo>
                  <a:lnTo>
                    <a:pt x="1385" y="1019"/>
                  </a:lnTo>
                  <a:lnTo>
                    <a:pt x="1377" y="1022"/>
                  </a:lnTo>
                  <a:lnTo>
                    <a:pt x="1368" y="1026"/>
                  </a:lnTo>
                  <a:lnTo>
                    <a:pt x="1356" y="1029"/>
                  </a:lnTo>
                  <a:lnTo>
                    <a:pt x="1347" y="1030"/>
                  </a:lnTo>
                  <a:lnTo>
                    <a:pt x="1331" y="1030"/>
                  </a:lnTo>
                  <a:lnTo>
                    <a:pt x="1324" y="1030"/>
                  </a:lnTo>
                  <a:lnTo>
                    <a:pt x="1317" y="1031"/>
                  </a:lnTo>
                  <a:lnTo>
                    <a:pt x="1314" y="1033"/>
                  </a:lnTo>
                  <a:lnTo>
                    <a:pt x="1313" y="1035"/>
                  </a:lnTo>
                  <a:lnTo>
                    <a:pt x="1312" y="1036"/>
                  </a:lnTo>
                  <a:lnTo>
                    <a:pt x="1312" y="1038"/>
                  </a:lnTo>
                  <a:lnTo>
                    <a:pt x="1316" y="1055"/>
                  </a:lnTo>
                  <a:lnTo>
                    <a:pt x="1317" y="1071"/>
                  </a:lnTo>
                  <a:lnTo>
                    <a:pt x="1316" y="1078"/>
                  </a:lnTo>
                  <a:lnTo>
                    <a:pt x="1313" y="1085"/>
                  </a:lnTo>
                  <a:lnTo>
                    <a:pt x="1309" y="1092"/>
                  </a:lnTo>
                  <a:lnTo>
                    <a:pt x="1302" y="1098"/>
                  </a:lnTo>
                  <a:lnTo>
                    <a:pt x="1293" y="1102"/>
                  </a:lnTo>
                  <a:lnTo>
                    <a:pt x="1288" y="1109"/>
                  </a:lnTo>
                  <a:lnTo>
                    <a:pt x="1283" y="1116"/>
                  </a:lnTo>
                  <a:lnTo>
                    <a:pt x="1280" y="1125"/>
                  </a:lnTo>
                  <a:lnTo>
                    <a:pt x="1278" y="1134"/>
                  </a:lnTo>
                  <a:lnTo>
                    <a:pt x="1278" y="1142"/>
                  </a:lnTo>
                  <a:lnTo>
                    <a:pt x="1280" y="1151"/>
                  </a:lnTo>
                  <a:lnTo>
                    <a:pt x="1283" y="1159"/>
                  </a:lnTo>
                  <a:lnTo>
                    <a:pt x="1292" y="1177"/>
                  </a:lnTo>
                  <a:lnTo>
                    <a:pt x="1300" y="1192"/>
                  </a:lnTo>
                  <a:lnTo>
                    <a:pt x="1310" y="1205"/>
                  </a:lnTo>
                  <a:lnTo>
                    <a:pt x="1320" y="1215"/>
                  </a:lnTo>
                  <a:lnTo>
                    <a:pt x="1331" y="1226"/>
                  </a:lnTo>
                  <a:lnTo>
                    <a:pt x="1344" y="1234"/>
                  </a:lnTo>
                  <a:lnTo>
                    <a:pt x="1359" y="1243"/>
                  </a:lnTo>
                  <a:lnTo>
                    <a:pt x="1376" y="1251"/>
                  </a:lnTo>
                  <a:lnTo>
                    <a:pt x="1384" y="1254"/>
                  </a:lnTo>
                  <a:lnTo>
                    <a:pt x="1394" y="1255"/>
                  </a:lnTo>
                  <a:lnTo>
                    <a:pt x="1404" y="1256"/>
                  </a:lnTo>
                  <a:lnTo>
                    <a:pt x="1415" y="1256"/>
                  </a:lnTo>
                  <a:lnTo>
                    <a:pt x="1425" y="1257"/>
                  </a:lnTo>
                  <a:lnTo>
                    <a:pt x="1435" y="1258"/>
                  </a:lnTo>
                  <a:lnTo>
                    <a:pt x="1440" y="1260"/>
                  </a:lnTo>
                  <a:lnTo>
                    <a:pt x="1445" y="1262"/>
                  </a:lnTo>
                  <a:lnTo>
                    <a:pt x="1448" y="1264"/>
                  </a:lnTo>
                  <a:lnTo>
                    <a:pt x="1452" y="1268"/>
                  </a:lnTo>
                  <a:lnTo>
                    <a:pt x="1461" y="1276"/>
                  </a:lnTo>
                  <a:lnTo>
                    <a:pt x="1470" y="1283"/>
                  </a:lnTo>
                  <a:lnTo>
                    <a:pt x="1480" y="1289"/>
                  </a:lnTo>
                  <a:lnTo>
                    <a:pt x="1490" y="1293"/>
                  </a:lnTo>
                  <a:lnTo>
                    <a:pt x="1500" y="1296"/>
                  </a:lnTo>
                  <a:lnTo>
                    <a:pt x="1510" y="1298"/>
                  </a:lnTo>
                  <a:lnTo>
                    <a:pt x="1520" y="1300"/>
                  </a:lnTo>
                  <a:lnTo>
                    <a:pt x="1530" y="1300"/>
                  </a:lnTo>
                  <a:lnTo>
                    <a:pt x="1573" y="1299"/>
                  </a:lnTo>
                  <a:lnTo>
                    <a:pt x="1619" y="1297"/>
                  </a:lnTo>
                  <a:lnTo>
                    <a:pt x="1629" y="1298"/>
                  </a:lnTo>
                  <a:lnTo>
                    <a:pt x="1635" y="1298"/>
                  </a:lnTo>
                  <a:lnTo>
                    <a:pt x="1638" y="1300"/>
                  </a:lnTo>
                  <a:lnTo>
                    <a:pt x="1640" y="1303"/>
                  </a:lnTo>
                  <a:lnTo>
                    <a:pt x="1640" y="1305"/>
                  </a:lnTo>
                  <a:lnTo>
                    <a:pt x="1638" y="1307"/>
                  </a:lnTo>
                  <a:lnTo>
                    <a:pt x="1635" y="1311"/>
                  </a:lnTo>
                  <a:lnTo>
                    <a:pt x="1631" y="1313"/>
                  </a:lnTo>
                  <a:lnTo>
                    <a:pt x="1621" y="1320"/>
                  </a:lnTo>
                  <a:lnTo>
                    <a:pt x="1608" y="1326"/>
                  </a:lnTo>
                  <a:lnTo>
                    <a:pt x="1596" y="1329"/>
                  </a:lnTo>
                  <a:lnTo>
                    <a:pt x="1586" y="1332"/>
                  </a:lnTo>
                  <a:lnTo>
                    <a:pt x="1587" y="1341"/>
                  </a:lnTo>
                  <a:lnTo>
                    <a:pt x="1588" y="1351"/>
                  </a:lnTo>
                  <a:lnTo>
                    <a:pt x="1591" y="1363"/>
                  </a:lnTo>
                  <a:lnTo>
                    <a:pt x="1595" y="1374"/>
                  </a:lnTo>
                  <a:lnTo>
                    <a:pt x="1601" y="1384"/>
                  </a:lnTo>
                  <a:lnTo>
                    <a:pt x="1607" y="1393"/>
                  </a:lnTo>
                  <a:lnTo>
                    <a:pt x="1610" y="1397"/>
                  </a:lnTo>
                  <a:lnTo>
                    <a:pt x="1615" y="1400"/>
                  </a:lnTo>
                  <a:lnTo>
                    <a:pt x="1619" y="1403"/>
                  </a:lnTo>
                  <a:lnTo>
                    <a:pt x="1624" y="1405"/>
                  </a:lnTo>
                  <a:lnTo>
                    <a:pt x="1632" y="1407"/>
                  </a:lnTo>
                  <a:lnTo>
                    <a:pt x="1640" y="1411"/>
                  </a:lnTo>
                  <a:lnTo>
                    <a:pt x="1647" y="1415"/>
                  </a:lnTo>
                  <a:lnTo>
                    <a:pt x="1653" y="1420"/>
                  </a:lnTo>
                  <a:lnTo>
                    <a:pt x="1664" y="1432"/>
                  </a:lnTo>
                  <a:lnTo>
                    <a:pt x="1672" y="1445"/>
                  </a:lnTo>
                  <a:lnTo>
                    <a:pt x="1680" y="1459"/>
                  </a:lnTo>
                  <a:lnTo>
                    <a:pt x="1688" y="1471"/>
                  </a:lnTo>
                  <a:lnTo>
                    <a:pt x="1693" y="1478"/>
                  </a:lnTo>
                  <a:lnTo>
                    <a:pt x="1697" y="1484"/>
                  </a:lnTo>
                  <a:lnTo>
                    <a:pt x="1702" y="1491"/>
                  </a:lnTo>
                  <a:lnTo>
                    <a:pt x="1708" y="1496"/>
                  </a:lnTo>
                  <a:lnTo>
                    <a:pt x="1723" y="1506"/>
                  </a:lnTo>
                  <a:lnTo>
                    <a:pt x="1737" y="1516"/>
                  </a:lnTo>
                  <a:lnTo>
                    <a:pt x="1752" y="1524"/>
                  </a:lnTo>
                  <a:lnTo>
                    <a:pt x="1767" y="1533"/>
                  </a:lnTo>
                  <a:lnTo>
                    <a:pt x="1772" y="1538"/>
                  </a:lnTo>
                  <a:lnTo>
                    <a:pt x="1775" y="1541"/>
                  </a:lnTo>
                  <a:lnTo>
                    <a:pt x="1777" y="1546"/>
                  </a:lnTo>
                  <a:lnTo>
                    <a:pt x="1777" y="1550"/>
                  </a:lnTo>
                  <a:lnTo>
                    <a:pt x="1773" y="1559"/>
                  </a:lnTo>
                  <a:lnTo>
                    <a:pt x="1767" y="1567"/>
                  </a:lnTo>
                  <a:lnTo>
                    <a:pt x="1761" y="1576"/>
                  </a:lnTo>
                  <a:lnTo>
                    <a:pt x="1758" y="1584"/>
                  </a:lnTo>
                  <a:lnTo>
                    <a:pt x="1758" y="1589"/>
                  </a:lnTo>
                  <a:lnTo>
                    <a:pt x="1759" y="1594"/>
                  </a:lnTo>
                  <a:lnTo>
                    <a:pt x="1761" y="1598"/>
                  </a:lnTo>
                  <a:lnTo>
                    <a:pt x="1767" y="1603"/>
                  </a:lnTo>
                  <a:lnTo>
                    <a:pt x="1778" y="1612"/>
                  </a:lnTo>
                  <a:lnTo>
                    <a:pt x="1789" y="1621"/>
                  </a:lnTo>
                  <a:lnTo>
                    <a:pt x="1800" y="1631"/>
                  </a:lnTo>
                  <a:lnTo>
                    <a:pt x="1809" y="1642"/>
                  </a:lnTo>
                  <a:lnTo>
                    <a:pt x="1813" y="1647"/>
                  </a:lnTo>
                  <a:lnTo>
                    <a:pt x="1815" y="1653"/>
                  </a:lnTo>
                  <a:lnTo>
                    <a:pt x="1817" y="1659"/>
                  </a:lnTo>
                  <a:lnTo>
                    <a:pt x="1817" y="1665"/>
                  </a:lnTo>
                  <a:lnTo>
                    <a:pt x="1816" y="1670"/>
                  </a:lnTo>
                  <a:lnTo>
                    <a:pt x="1813" y="1676"/>
                  </a:lnTo>
                  <a:lnTo>
                    <a:pt x="1809" y="1683"/>
                  </a:lnTo>
                  <a:lnTo>
                    <a:pt x="1802" y="1689"/>
                  </a:lnTo>
                  <a:lnTo>
                    <a:pt x="1787" y="1701"/>
                  </a:lnTo>
                  <a:lnTo>
                    <a:pt x="1761" y="1716"/>
                  </a:lnTo>
                  <a:lnTo>
                    <a:pt x="1736" y="1731"/>
                  </a:lnTo>
                  <a:lnTo>
                    <a:pt x="1720" y="1740"/>
                  </a:lnTo>
                  <a:lnTo>
                    <a:pt x="1709" y="1737"/>
                  </a:lnTo>
                  <a:lnTo>
                    <a:pt x="1699" y="1732"/>
                  </a:lnTo>
                  <a:lnTo>
                    <a:pt x="1687" y="1726"/>
                  </a:lnTo>
                  <a:lnTo>
                    <a:pt x="1675" y="1719"/>
                  </a:lnTo>
                  <a:lnTo>
                    <a:pt x="1654" y="1705"/>
                  </a:lnTo>
                  <a:lnTo>
                    <a:pt x="1637" y="1692"/>
                  </a:lnTo>
                  <a:lnTo>
                    <a:pt x="1630" y="1687"/>
                  </a:lnTo>
                  <a:lnTo>
                    <a:pt x="1622" y="1682"/>
                  </a:lnTo>
                  <a:lnTo>
                    <a:pt x="1614" y="1680"/>
                  </a:lnTo>
                  <a:lnTo>
                    <a:pt x="1604" y="1677"/>
                  </a:lnTo>
                  <a:lnTo>
                    <a:pt x="1586" y="1675"/>
                  </a:lnTo>
                  <a:lnTo>
                    <a:pt x="1568" y="1674"/>
                  </a:lnTo>
                  <a:lnTo>
                    <a:pt x="1561" y="1673"/>
                  </a:lnTo>
                  <a:lnTo>
                    <a:pt x="1554" y="1669"/>
                  </a:lnTo>
                  <a:lnTo>
                    <a:pt x="1547" y="1663"/>
                  </a:lnTo>
                  <a:lnTo>
                    <a:pt x="1541" y="1656"/>
                  </a:lnTo>
                  <a:lnTo>
                    <a:pt x="1531" y="1642"/>
                  </a:lnTo>
                  <a:lnTo>
                    <a:pt x="1522" y="1630"/>
                  </a:lnTo>
                  <a:lnTo>
                    <a:pt x="1513" y="1619"/>
                  </a:lnTo>
                  <a:lnTo>
                    <a:pt x="1505" y="1610"/>
                  </a:lnTo>
                  <a:lnTo>
                    <a:pt x="1497" y="1601"/>
                  </a:lnTo>
                  <a:lnTo>
                    <a:pt x="1488" y="1592"/>
                  </a:lnTo>
                  <a:lnTo>
                    <a:pt x="1479" y="1584"/>
                  </a:lnTo>
                  <a:lnTo>
                    <a:pt x="1469" y="1577"/>
                  </a:lnTo>
                  <a:lnTo>
                    <a:pt x="1459" y="1570"/>
                  </a:lnTo>
                  <a:lnTo>
                    <a:pt x="1448" y="1563"/>
                  </a:lnTo>
                  <a:lnTo>
                    <a:pt x="1434" y="1557"/>
                  </a:lnTo>
                  <a:lnTo>
                    <a:pt x="1420" y="1553"/>
                  </a:lnTo>
                  <a:lnTo>
                    <a:pt x="1413" y="1550"/>
                  </a:lnTo>
                  <a:lnTo>
                    <a:pt x="1406" y="1548"/>
                  </a:lnTo>
                  <a:lnTo>
                    <a:pt x="1399" y="1545"/>
                  </a:lnTo>
                  <a:lnTo>
                    <a:pt x="1392" y="1541"/>
                  </a:lnTo>
                  <a:lnTo>
                    <a:pt x="1381" y="1545"/>
                  </a:lnTo>
                  <a:lnTo>
                    <a:pt x="1371" y="1549"/>
                  </a:lnTo>
                  <a:lnTo>
                    <a:pt x="1369" y="1552"/>
                  </a:lnTo>
                  <a:lnTo>
                    <a:pt x="1367" y="1555"/>
                  </a:lnTo>
                  <a:lnTo>
                    <a:pt x="1364" y="1559"/>
                  </a:lnTo>
                  <a:lnTo>
                    <a:pt x="1363" y="1561"/>
                  </a:lnTo>
                  <a:lnTo>
                    <a:pt x="1362" y="1568"/>
                  </a:lnTo>
                  <a:lnTo>
                    <a:pt x="1363" y="1576"/>
                  </a:lnTo>
                  <a:lnTo>
                    <a:pt x="1366" y="1584"/>
                  </a:lnTo>
                  <a:lnTo>
                    <a:pt x="1369" y="1592"/>
                  </a:lnTo>
                  <a:lnTo>
                    <a:pt x="1378" y="1610"/>
                  </a:lnTo>
                  <a:lnTo>
                    <a:pt x="1387" y="1627"/>
                  </a:lnTo>
                  <a:lnTo>
                    <a:pt x="1390" y="1635"/>
                  </a:lnTo>
                  <a:lnTo>
                    <a:pt x="1392" y="1644"/>
                  </a:lnTo>
                  <a:lnTo>
                    <a:pt x="1394" y="1652"/>
                  </a:lnTo>
                  <a:lnTo>
                    <a:pt x="1392" y="1660"/>
                  </a:lnTo>
                  <a:lnTo>
                    <a:pt x="1389" y="1668"/>
                  </a:lnTo>
                  <a:lnTo>
                    <a:pt x="1385" y="1676"/>
                  </a:lnTo>
                  <a:lnTo>
                    <a:pt x="1380" y="1682"/>
                  </a:lnTo>
                  <a:lnTo>
                    <a:pt x="1374" y="1689"/>
                  </a:lnTo>
                  <a:lnTo>
                    <a:pt x="1360" y="1701"/>
                  </a:lnTo>
                  <a:lnTo>
                    <a:pt x="1347" y="1711"/>
                  </a:lnTo>
                  <a:lnTo>
                    <a:pt x="1341" y="1716"/>
                  </a:lnTo>
                  <a:lnTo>
                    <a:pt x="1335" y="1722"/>
                  </a:lnTo>
                  <a:lnTo>
                    <a:pt x="1332" y="1727"/>
                  </a:lnTo>
                  <a:lnTo>
                    <a:pt x="1330" y="1733"/>
                  </a:lnTo>
                  <a:lnTo>
                    <a:pt x="1328" y="1739"/>
                  </a:lnTo>
                  <a:lnTo>
                    <a:pt x="1330" y="1746"/>
                  </a:lnTo>
                  <a:lnTo>
                    <a:pt x="1333" y="1753"/>
                  </a:lnTo>
                  <a:lnTo>
                    <a:pt x="1339" y="1761"/>
                  </a:lnTo>
                  <a:lnTo>
                    <a:pt x="1345" y="1768"/>
                  </a:lnTo>
                  <a:lnTo>
                    <a:pt x="1348" y="1775"/>
                  </a:lnTo>
                  <a:lnTo>
                    <a:pt x="1351" y="1782"/>
                  </a:lnTo>
                  <a:lnTo>
                    <a:pt x="1352" y="1788"/>
                  </a:lnTo>
                  <a:lnTo>
                    <a:pt x="1352" y="1794"/>
                  </a:lnTo>
                  <a:lnTo>
                    <a:pt x="1352" y="1798"/>
                  </a:lnTo>
                  <a:lnTo>
                    <a:pt x="1349" y="1803"/>
                  </a:lnTo>
                  <a:lnTo>
                    <a:pt x="1346" y="1808"/>
                  </a:lnTo>
                  <a:lnTo>
                    <a:pt x="1342" y="1812"/>
                  </a:lnTo>
                  <a:lnTo>
                    <a:pt x="1338" y="1817"/>
                  </a:lnTo>
                  <a:lnTo>
                    <a:pt x="1333" y="1820"/>
                  </a:lnTo>
                  <a:lnTo>
                    <a:pt x="1327" y="1824"/>
                  </a:lnTo>
                  <a:lnTo>
                    <a:pt x="1314" y="1831"/>
                  </a:lnTo>
                  <a:lnTo>
                    <a:pt x="1302" y="1836"/>
                  </a:lnTo>
                  <a:lnTo>
                    <a:pt x="1286" y="1840"/>
                  </a:lnTo>
                  <a:lnTo>
                    <a:pt x="1275" y="1843"/>
                  </a:lnTo>
                  <a:lnTo>
                    <a:pt x="1267" y="1843"/>
                  </a:lnTo>
                  <a:lnTo>
                    <a:pt x="1261" y="1840"/>
                  </a:lnTo>
                  <a:lnTo>
                    <a:pt x="1256" y="1836"/>
                  </a:lnTo>
                  <a:lnTo>
                    <a:pt x="1255" y="1831"/>
                  </a:lnTo>
                  <a:lnTo>
                    <a:pt x="1254" y="1825"/>
                  </a:lnTo>
                  <a:lnTo>
                    <a:pt x="1254" y="1818"/>
                  </a:lnTo>
                  <a:lnTo>
                    <a:pt x="1255" y="1803"/>
                  </a:lnTo>
                  <a:lnTo>
                    <a:pt x="1256" y="1790"/>
                  </a:lnTo>
                  <a:lnTo>
                    <a:pt x="1256" y="1784"/>
                  </a:lnTo>
                  <a:lnTo>
                    <a:pt x="1254" y="1780"/>
                  </a:lnTo>
                  <a:lnTo>
                    <a:pt x="1253" y="1779"/>
                  </a:lnTo>
                  <a:lnTo>
                    <a:pt x="1250" y="1777"/>
                  </a:lnTo>
                  <a:lnTo>
                    <a:pt x="1248" y="1776"/>
                  </a:lnTo>
                  <a:lnTo>
                    <a:pt x="1245" y="1776"/>
                  </a:lnTo>
                  <a:lnTo>
                    <a:pt x="1232" y="1777"/>
                  </a:lnTo>
                  <a:lnTo>
                    <a:pt x="1221" y="1780"/>
                  </a:lnTo>
                  <a:lnTo>
                    <a:pt x="1211" y="1782"/>
                  </a:lnTo>
                  <a:lnTo>
                    <a:pt x="1202" y="1786"/>
                  </a:lnTo>
                  <a:lnTo>
                    <a:pt x="1191" y="1788"/>
                  </a:lnTo>
                  <a:lnTo>
                    <a:pt x="1181" y="1789"/>
                  </a:lnTo>
                  <a:lnTo>
                    <a:pt x="1169" y="1788"/>
                  </a:lnTo>
                  <a:lnTo>
                    <a:pt x="1156" y="1786"/>
                  </a:lnTo>
                  <a:lnTo>
                    <a:pt x="1139" y="1777"/>
                  </a:lnTo>
                  <a:lnTo>
                    <a:pt x="1121" y="1767"/>
                  </a:lnTo>
                  <a:lnTo>
                    <a:pt x="1112" y="1763"/>
                  </a:lnTo>
                  <a:lnTo>
                    <a:pt x="1103" y="1760"/>
                  </a:lnTo>
                  <a:lnTo>
                    <a:pt x="1098" y="1759"/>
                  </a:lnTo>
                  <a:lnTo>
                    <a:pt x="1093" y="1759"/>
                  </a:lnTo>
                  <a:lnTo>
                    <a:pt x="1089" y="1759"/>
                  </a:lnTo>
                  <a:lnTo>
                    <a:pt x="1085" y="1760"/>
                  </a:lnTo>
                  <a:lnTo>
                    <a:pt x="993" y="1786"/>
                  </a:lnTo>
                  <a:lnTo>
                    <a:pt x="978" y="1789"/>
                  </a:lnTo>
                  <a:lnTo>
                    <a:pt x="966" y="1793"/>
                  </a:lnTo>
                  <a:lnTo>
                    <a:pt x="957" y="1794"/>
                  </a:lnTo>
                  <a:lnTo>
                    <a:pt x="950" y="1794"/>
                  </a:lnTo>
                  <a:lnTo>
                    <a:pt x="944" y="1793"/>
                  </a:lnTo>
                  <a:lnTo>
                    <a:pt x="941" y="1791"/>
                  </a:lnTo>
                  <a:lnTo>
                    <a:pt x="938" y="1789"/>
                  </a:lnTo>
                  <a:lnTo>
                    <a:pt x="937" y="1787"/>
                  </a:lnTo>
                  <a:lnTo>
                    <a:pt x="934" y="1781"/>
                  </a:lnTo>
                  <a:lnTo>
                    <a:pt x="929" y="1775"/>
                  </a:lnTo>
                  <a:lnTo>
                    <a:pt x="924" y="1773"/>
                  </a:lnTo>
                  <a:lnTo>
                    <a:pt x="919" y="1770"/>
                  </a:lnTo>
                  <a:lnTo>
                    <a:pt x="911" y="1768"/>
                  </a:lnTo>
                  <a:lnTo>
                    <a:pt x="900" y="1767"/>
                  </a:lnTo>
                  <a:lnTo>
                    <a:pt x="887" y="1769"/>
                  </a:lnTo>
                  <a:lnTo>
                    <a:pt x="876" y="1770"/>
                  </a:lnTo>
                  <a:lnTo>
                    <a:pt x="870" y="1770"/>
                  </a:lnTo>
                  <a:lnTo>
                    <a:pt x="866" y="1768"/>
                  </a:lnTo>
                  <a:lnTo>
                    <a:pt x="864" y="1767"/>
                  </a:lnTo>
                  <a:lnTo>
                    <a:pt x="863" y="1765"/>
                  </a:lnTo>
                  <a:lnTo>
                    <a:pt x="863" y="1761"/>
                  </a:lnTo>
                  <a:lnTo>
                    <a:pt x="862" y="1758"/>
                  </a:lnTo>
                  <a:lnTo>
                    <a:pt x="863" y="1751"/>
                  </a:lnTo>
                  <a:lnTo>
                    <a:pt x="864" y="1744"/>
                  </a:lnTo>
                  <a:lnTo>
                    <a:pt x="865" y="1738"/>
                  </a:lnTo>
                  <a:lnTo>
                    <a:pt x="867" y="1731"/>
                  </a:lnTo>
                  <a:lnTo>
                    <a:pt x="873" y="1718"/>
                  </a:lnTo>
                  <a:lnTo>
                    <a:pt x="880" y="1705"/>
                  </a:lnTo>
                  <a:lnTo>
                    <a:pt x="887" y="1691"/>
                  </a:lnTo>
                  <a:lnTo>
                    <a:pt x="893" y="1677"/>
                  </a:lnTo>
                  <a:lnTo>
                    <a:pt x="895" y="1669"/>
                  </a:lnTo>
                  <a:lnTo>
                    <a:pt x="898" y="1661"/>
                  </a:lnTo>
                  <a:lnTo>
                    <a:pt x="899" y="1653"/>
                  </a:lnTo>
                  <a:lnTo>
                    <a:pt x="899" y="1644"/>
                  </a:lnTo>
                  <a:lnTo>
                    <a:pt x="899" y="1617"/>
                  </a:lnTo>
                  <a:lnTo>
                    <a:pt x="897" y="1596"/>
                  </a:lnTo>
                  <a:lnTo>
                    <a:pt x="894" y="1589"/>
                  </a:lnTo>
                  <a:lnTo>
                    <a:pt x="892" y="1582"/>
                  </a:lnTo>
                  <a:lnTo>
                    <a:pt x="890" y="1577"/>
                  </a:lnTo>
                  <a:lnTo>
                    <a:pt x="885" y="1574"/>
                  </a:lnTo>
                  <a:lnTo>
                    <a:pt x="880" y="1573"/>
                  </a:lnTo>
                  <a:lnTo>
                    <a:pt x="873" y="1571"/>
                  </a:lnTo>
                  <a:lnTo>
                    <a:pt x="866" y="1571"/>
                  </a:lnTo>
                  <a:lnTo>
                    <a:pt x="857" y="1573"/>
                  </a:lnTo>
                  <a:lnTo>
                    <a:pt x="836" y="1577"/>
                  </a:lnTo>
                  <a:lnTo>
                    <a:pt x="808" y="1584"/>
                  </a:lnTo>
                  <a:lnTo>
                    <a:pt x="791" y="1588"/>
                  </a:lnTo>
                  <a:lnTo>
                    <a:pt x="775" y="1590"/>
                  </a:lnTo>
                  <a:lnTo>
                    <a:pt x="760" y="1591"/>
                  </a:lnTo>
                  <a:lnTo>
                    <a:pt x="746" y="1591"/>
                  </a:lnTo>
                  <a:lnTo>
                    <a:pt x="721" y="1591"/>
                  </a:lnTo>
                  <a:lnTo>
                    <a:pt x="696" y="1590"/>
                  </a:lnTo>
                  <a:lnTo>
                    <a:pt x="684" y="1590"/>
                  </a:lnTo>
                  <a:lnTo>
                    <a:pt x="672" y="1590"/>
                  </a:lnTo>
                  <a:lnTo>
                    <a:pt x="659" y="1592"/>
                  </a:lnTo>
                  <a:lnTo>
                    <a:pt x="646" y="1595"/>
                  </a:lnTo>
                  <a:lnTo>
                    <a:pt x="632" y="1599"/>
                  </a:lnTo>
                  <a:lnTo>
                    <a:pt x="618" y="1606"/>
                  </a:lnTo>
                  <a:lnTo>
                    <a:pt x="603" y="1614"/>
                  </a:lnTo>
                  <a:lnTo>
                    <a:pt x="587" y="1625"/>
                  </a:lnTo>
                  <a:lnTo>
                    <a:pt x="579" y="1631"/>
                  </a:lnTo>
                  <a:lnTo>
                    <a:pt x="571" y="1635"/>
                  </a:lnTo>
                  <a:lnTo>
                    <a:pt x="562" y="1639"/>
                  </a:lnTo>
                  <a:lnTo>
                    <a:pt x="554" y="1641"/>
                  </a:lnTo>
                  <a:lnTo>
                    <a:pt x="546" y="1642"/>
                  </a:lnTo>
                  <a:lnTo>
                    <a:pt x="538" y="1642"/>
                  </a:lnTo>
                  <a:lnTo>
                    <a:pt x="530" y="1642"/>
                  </a:lnTo>
                  <a:lnTo>
                    <a:pt x="522" y="1641"/>
                  </a:lnTo>
                  <a:lnTo>
                    <a:pt x="505" y="1637"/>
                  </a:lnTo>
                  <a:lnTo>
                    <a:pt x="490" y="1630"/>
                  </a:lnTo>
                  <a:lnTo>
                    <a:pt x="474" y="1621"/>
                  </a:lnTo>
                  <a:lnTo>
                    <a:pt x="458" y="1611"/>
                  </a:lnTo>
                  <a:lnTo>
                    <a:pt x="426" y="1589"/>
                  </a:lnTo>
                  <a:lnTo>
                    <a:pt x="395" y="1569"/>
                  </a:lnTo>
                  <a:lnTo>
                    <a:pt x="379" y="1560"/>
                  </a:lnTo>
                  <a:lnTo>
                    <a:pt x="362" y="1553"/>
                  </a:lnTo>
                  <a:lnTo>
                    <a:pt x="354" y="1550"/>
                  </a:lnTo>
                  <a:lnTo>
                    <a:pt x="346" y="1548"/>
                  </a:lnTo>
                  <a:lnTo>
                    <a:pt x="338" y="1547"/>
                  </a:lnTo>
                  <a:lnTo>
                    <a:pt x="330" y="1547"/>
                  </a:lnTo>
                  <a:lnTo>
                    <a:pt x="331" y="1541"/>
                  </a:lnTo>
                  <a:lnTo>
                    <a:pt x="332" y="1535"/>
                  </a:lnTo>
                  <a:lnTo>
                    <a:pt x="333" y="1531"/>
                  </a:lnTo>
                  <a:lnTo>
                    <a:pt x="337" y="1525"/>
                  </a:lnTo>
                  <a:lnTo>
                    <a:pt x="344" y="1513"/>
                  </a:lnTo>
                  <a:lnTo>
                    <a:pt x="353" y="1503"/>
                  </a:lnTo>
                  <a:lnTo>
                    <a:pt x="363" y="1493"/>
                  </a:lnTo>
                  <a:lnTo>
                    <a:pt x="375" y="1485"/>
                  </a:lnTo>
                  <a:lnTo>
                    <a:pt x="386" y="1479"/>
                  </a:lnTo>
                  <a:lnTo>
                    <a:pt x="396" y="1476"/>
                  </a:lnTo>
                  <a:lnTo>
                    <a:pt x="412" y="1474"/>
                  </a:lnTo>
                  <a:lnTo>
                    <a:pt x="429" y="1470"/>
                  </a:lnTo>
                  <a:lnTo>
                    <a:pt x="446" y="1467"/>
                  </a:lnTo>
                  <a:lnTo>
                    <a:pt x="462" y="1462"/>
                  </a:lnTo>
                  <a:lnTo>
                    <a:pt x="471" y="1459"/>
                  </a:lnTo>
                  <a:lnTo>
                    <a:pt x="477" y="1455"/>
                  </a:lnTo>
                  <a:lnTo>
                    <a:pt x="484" y="1450"/>
                  </a:lnTo>
                  <a:lnTo>
                    <a:pt x="490" y="1446"/>
                  </a:lnTo>
                  <a:lnTo>
                    <a:pt x="494" y="1439"/>
                  </a:lnTo>
                  <a:lnTo>
                    <a:pt x="497" y="1432"/>
                  </a:lnTo>
                  <a:lnTo>
                    <a:pt x="500" y="1425"/>
                  </a:lnTo>
                  <a:lnTo>
                    <a:pt x="501" y="1415"/>
                  </a:lnTo>
                  <a:lnTo>
                    <a:pt x="502" y="1404"/>
                  </a:lnTo>
                  <a:lnTo>
                    <a:pt x="503" y="1393"/>
                  </a:lnTo>
                  <a:lnTo>
                    <a:pt x="507" y="1384"/>
                  </a:lnTo>
                  <a:lnTo>
                    <a:pt x="511" y="1375"/>
                  </a:lnTo>
                  <a:lnTo>
                    <a:pt x="517" y="1365"/>
                  </a:lnTo>
                  <a:lnTo>
                    <a:pt x="524" y="1357"/>
                  </a:lnTo>
                  <a:lnTo>
                    <a:pt x="531" y="1349"/>
                  </a:lnTo>
                  <a:lnTo>
                    <a:pt x="539" y="1341"/>
                  </a:lnTo>
                  <a:lnTo>
                    <a:pt x="546" y="1334"/>
                  </a:lnTo>
                  <a:lnTo>
                    <a:pt x="551" y="1327"/>
                  </a:lnTo>
                  <a:lnTo>
                    <a:pt x="553" y="1322"/>
                  </a:lnTo>
                  <a:lnTo>
                    <a:pt x="554" y="1318"/>
                  </a:lnTo>
                  <a:lnTo>
                    <a:pt x="554" y="1315"/>
                  </a:lnTo>
                  <a:lnTo>
                    <a:pt x="552" y="1312"/>
                  </a:lnTo>
                  <a:lnTo>
                    <a:pt x="550" y="1310"/>
                  </a:lnTo>
                  <a:lnTo>
                    <a:pt x="545" y="1308"/>
                  </a:lnTo>
                  <a:lnTo>
                    <a:pt x="535" y="1305"/>
                  </a:lnTo>
                  <a:lnTo>
                    <a:pt x="522" y="1303"/>
                  </a:lnTo>
                  <a:lnTo>
                    <a:pt x="509" y="1299"/>
                  </a:lnTo>
                  <a:lnTo>
                    <a:pt x="497" y="1293"/>
                  </a:lnTo>
                  <a:lnTo>
                    <a:pt x="491" y="1290"/>
                  </a:lnTo>
                  <a:lnTo>
                    <a:pt x="484" y="1289"/>
                  </a:lnTo>
                  <a:lnTo>
                    <a:pt x="476" y="1287"/>
                  </a:lnTo>
                  <a:lnTo>
                    <a:pt x="468" y="1289"/>
                  </a:lnTo>
                  <a:lnTo>
                    <a:pt x="451" y="1290"/>
                  </a:lnTo>
                  <a:lnTo>
                    <a:pt x="437" y="1293"/>
                  </a:lnTo>
                  <a:lnTo>
                    <a:pt x="424" y="1296"/>
                  </a:lnTo>
                  <a:lnTo>
                    <a:pt x="416" y="1296"/>
                  </a:lnTo>
                  <a:lnTo>
                    <a:pt x="412" y="1294"/>
                  </a:lnTo>
                  <a:lnTo>
                    <a:pt x="409" y="1293"/>
                  </a:lnTo>
                  <a:lnTo>
                    <a:pt x="408" y="1291"/>
                  </a:lnTo>
                  <a:lnTo>
                    <a:pt x="405" y="1289"/>
                  </a:lnTo>
                  <a:lnTo>
                    <a:pt x="403" y="1273"/>
                  </a:lnTo>
                  <a:lnTo>
                    <a:pt x="401" y="1254"/>
                  </a:lnTo>
                  <a:lnTo>
                    <a:pt x="398" y="1246"/>
                  </a:lnTo>
                  <a:lnTo>
                    <a:pt x="395" y="1240"/>
                  </a:lnTo>
                  <a:lnTo>
                    <a:pt x="391" y="1234"/>
                  </a:lnTo>
                  <a:lnTo>
                    <a:pt x="387" y="1229"/>
                  </a:lnTo>
                  <a:lnTo>
                    <a:pt x="376" y="1220"/>
                  </a:lnTo>
                  <a:lnTo>
                    <a:pt x="366" y="1209"/>
                  </a:lnTo>
                  <a:lnTo>
                    <a:pt x="363" y="1125"/>
                  </a:lnTo>
                  <a:lnTo>
                    <a:pt x="362" y="1113"/>
                  </a:lnTo>
                  <a:lnTo>
                    <a:pt x="361" y="1105"/>
                  </a:lnTo>
                  <a:lnTo>
                    <a:pt x="358" y="1099"/>
                  </a:lnTo>
                  <a:lnTo>
                    <a:pt x="354" y="1094"/>
                  </a:lnTo>
                  <a:lnTo>
                    <a:pt x="349" y="1091"/>
                  </a:lnTo>
                  <a:lnTo>
                    <a:pt x="344" y="1087"/>
                  </a:lnTo>
                  <a:lnTo>
                    <a:pt x="339" y="1083"/>
                  </a:lnTo>
                  <a:lnTo>
                    <a:pt x="333" y="1076"/>
                  </a:lnTo>
                  <a:lnTo>
                    <a:pt x="328" y="1068"/>
                  </a:lnTo>
                  <a:lnTo>
                    <a:pt x="327" y="1059"/>
                  </a:lnTo>
                  <a:lnTo>
                    <a:pt x="327" y="1051"/>
                  </a:lnTo>
                  <a:lnTo>
                    <a:pt x="330" y="1043"/>
                  </a:lnTo>
                  <a:lnTo>
                    <a:pt x="337" y="1026"/>
                  </a:lnTo>
                  <a:lnTo>
                    <a:pt x="345" y="1008"/>
                  </a:lnTo>
                  <a:lnTo>
                    <a:pt x="349" y="999"/>
                  </a:lnTo>
                  <a:lnTo>
                    <a:pt x="353" y="991"/>
                  </a:lnTo>
                  <a:lnTo>
                    <a:pt x="355" y="981"/>
                  </a:lnTo>
                  <a:lnTo>
                    <a:pt x="358" y="973"/>
                  </a:lnTo>
                  <a:lnTo>
                    <a:pt x="358" y="965"/>
                  </a:lnTo>
                  <a:lnTo>
                    <a:pt x="355" y="958"/>
                  </a:lnTo>
                  <a:lnTo>
                    <a:pt x="351" y="950"/>
                  </a:lnTo>
                  <a:lnTo>
                    <a:pt x="344" y="943"/>
                  </a:lnTo>
                  <a:lnTo>
                    <a:pt x="339" y="941"/>
                  </a:lnTo>
                  <a:lnTo>
                    <a:pt x="334" y="938"/>
                  </a:lnTo>
                  <a:lnTo>
                    <a:pt x="331" y="939"/>
                  </a:lnTo>
                  <a:lnTo>
                    <a:pt x="326" y="941"/>
                  </a:lnTo>
                  <a:lnTo>
                    <a:pt x="319" y="946"/>
                  </a:lnTo>
                  <a:lnTo>
                    <a:pt x="312" y="955"/>
                  </a:lnTo>
                  <a:lnTo>
                    <a:pt x="306" y="964"/>
                  </a:lnTo>
                  <a:lnTo>
                    <a:pt x="301" y="972"/>
                  </a:lnTo>
                  <a:lnTo>
                    <a:pt x="297" y="976"/>
                  </a:lnTo>
                  <a:lnTo>
                    <a:pt x="295" y="978"/>
                  </a:lnTo>
                  <a:lnTo>
                    <a:pt x="292" y="980"/>
                  </a:lnTo>
                  <a:lnTo>
                    <a:pt x="289" y="980"/>
                  </a:lnTo>
                  <a:lnTo>
                    <a:pt x="282" y="978"/>
                  </a:lnTo>
                  <a:lnTo>
                    <a:pt x="275" y="976"/>
                  </a:lnTo>
                  <a:lnTo>
                    <a:pt x="269" y="971"/>
                  </a:lnTo>
                  <a:lnTo>
                    <a:pt x="262" y="967"/>
                  </a:lnTo>
                  <a:lnTo>
                    <a:pt x="252" y="957"/>
                  </a:lnTo>
                  <a:lnTo>
                    <a:pt x="241" y="946"/>
                  </a:lnTo>
                  <a:lnTo>
                    <a:pt x="237" y="939"/>
                  </a:lnTo>
                  <a:lnTo>
                    <a:pt x="232" y="931"/>
                  </a:lnTo>
                  <a:lnTo>
                    <a:pt x="227" y="923"/>
                  </a:lnTo>
                  <a:lnTo>
                    <a:pt x="223" y="914"/>
                  </a:lnTo>
                  <a:lnTo>
                    <a:pt x="214" y="894"/>
                  </a:lnTo>
                  <a:lnTo>
                    <a:pt x="206" y="873"/>
                  </a:lnTo>
                  <a:lnTo>
                    <a:pt x="198" y="853"/>
                  </a:lnTo>
                  <a:lnTo>
                    <a:pt x="190" y="836"/>
                  </a:lnTo>
                  <a:lnTo>
                    <a:pt x="185" y="828"/>
                  </a:lnTo>
                  <a:lnTo>
                    <a:pt x="181" y="821"/>
                  </a:lnTo>
                  <a:lnTo>
                    <a:pt x="175" y="816"/>
                  </a:lnTo>
                  <a:lnTo>
                    <a:pt x="170" y="811"/>
                  </a:lnTo>
                  <a:lnTo>
                    <a:pt x="156" y="805"/>
                  </a:lnTo>
                  <a:lnTo>
                    <a:pt x="143" y="801"/>
                  </a:lnTo>
                  <a:lnTo>
                    <a:pt x="132" y="798"/>
                  </a:lnTo>
                  <a:lnTo>
                    <a:pt x="122" y="795"/>
                  </a:lnTo>
                  <a:lnTo>
                    <a:pt x="118" y="793"/>
                  </a:lnTo>
                  <a:lnTo>
                    <a:pt x="113" y="791"/>
                  </a:lnTo>
                  <a:lnTo>
                    <a:pt x="110" y="787"/>
                  </a:lnTo>
                  <a:lnTo>
                    <a:pt x="106" y="784"/>
                  </a:lnTo>
                  <a:lnTo>
                    <a:pt x="103" y="778"/>
                  </a:lnTo>
                  <a:lnTo>
                    <a:pt x="99" y="772"/>
                  </a:lnTo>
                  <a:lnTo>
                    <a:pt x="96" y="764"/>
                  </a:lnTo>
                  <a:lnTo>
                    <a:pt x="93" y="754"/>
                  </a:lnTo>
                  <a:lnTo>
                    <a:pt x="89" y="736"/>
                  </a:lnTo>
                  <a:lnTo>
                    <a:pt x="84" y="720"/>
                  </a:lnTo>
                  <a:lnTo>
                    <a:pt x="82" y="713"/>
                  </a:lnTo>
                  <a:lnTo>
                    <a:pt x="78" y="707"/>
                  </a:lnTo>
                  <a:lnTo>
                    <a:pt x="75" y="701"/>
                  </a:lnTo>
                  <a:lnTo>
                    <a:pt x="71" y="696"/>
                  </a:lnTo>
                  <a:lnTo>
                    <a:pt x="67" y="693"/>
                  </a:lnTo>
                  <a:lnTo>
                    <a:pt x="62" y="688"/>
                  </a:lnTo>
                  <a:lnTo>
                    <a:pt x="56" y="685"/>
                  </a:lnTo>
                  <a:lnTo>
                    <a:pt x="49" y="682"/>
                  </a:lnTo>
                  <a:lnTo>
                    <a:pt x="32" y="678"/>
                  </a:lnTo>
                  <a:lnTo>
                    <a:pt x="10" y="674"/>
                  </a:lnTo>
                  <a:lnTo>
                    <a:pt x="34" y="612"/>
                  </a:lnTo>
                  <a:lnTo>
                    <a:pt x="37" y="604"/>
                  </a:lnTo>
                  <a:lnTo>
                    <a:pt x="40" y="596"/>
                  </a:lnTo>
                  <a:lnTo>
                    <a:pt x="42" y="588"/>
                  </a:lnTo>
                  <a:lnTo>
                    <a:pt x="43" y="581"/>
                  </a:lnTo>
                  <a:lnTo>
                    <a:pt x="43" y="573"/>
                  </a:lnTo>
                  <a:lnTo>
                    <a:pt x="42" y="566"/>
                  </a:lnTo>
                  <a:lnTo>
                    <a:pt x="41" y="559"/>
                  </a:lnTo>
                  <a:lnTo>
                    <a:pt x="39" y="551"/>
                  </a:lnTo>
                  <a:lnTo>
                    <a:pt x="33" y="537"/>
                  </a:lnTo>
                  <a:lnTo>
                    <a:pt x="26" y="523"/>
                  </a:lnTo>
                  <a:lnTo>
                    <a:pt x="18" y="509"/>
                  </a:lnTo>
                  <a:lnTo>
                    <a:pt x="8" y="496"/>
                  </a:lnTo>
                  <a:lnTo>
                    <a:pt x="4" y="488"/>
                  </a:lnTo>
                  <a:lnTo>
                    <a:pt x="1" y="481"/>
                  </a:lnTo>
                  <a:lnTo>
                    <a:pt x="0" y="474"/>
                  </a:lnTo>
                  <a:lnTo>
                    <a:pt x="3" y="469"/>
                  </a:lnTo>
                  <a:lnTo>
                    <a:pt x="6" y="465"/>
                  </a:lnTo>
                  <a:lnTo>
                    <a:pt x="11" y="460"/>
                  </a:lnTo>
                  <a:lnTo>
                    <a:pt x="17" y="457"/>
                  </a:lnTo>
                  <a:lnTo>
                    <a:pt x="24" y="453"/>
                  </a:lnTo>
                  <a:lnTo>
                    <a:pt x="37" y="447"/>
                  </a:lnTo>
                  <a:lnTo>
                    <a:pt x="53" y="441"/>
                  </a:lnTo>
                  <a:lnTo>
                    <a:pt x="60" y="438"/>
                  </a:lnTo>
                  <a:lnTo>
                    <a:pt x="65" y="434"/>
                  </a:lnTo>
                  <a:lnTo>
                    <a:pt x="70" y="431"/>
                  </a:lnTo>
                  <a:lnTo>
                    <a:pt x="74" y="427"/>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sz="1200" dirty="0"/>
            </a:p>
          </p:txBody>
        </p:sp>
        <p:sp>
          <p:nvSpPr>
            <p:cNvPr id="27" name="Freeform 60"/>
            <p:cNvSpPr>
              <a:spLocks/>
            </p:cNvSpPr>
            <p:nvPr/>
          </p:nvSpPr>
          <p:spPr bwMode="auto">
            <a:xfrm>
              <a:off x="4060306" y="4991243"/>
              <a:ext cx="700172" cy="931330"/>
            </a:xfrm>
            <a:custGeom>
              <a:avLst/>
              <a:gdLst>
                <a:gd name="T0" fmla="*/ 1848 w 2093"/>
                <a:gd name="T1" fmla="*/ 1215 h 2779"/>
                <a:gd name="T2" fmla="*/ 1839 w 2093"/>
                <a:gd name="T3" fmla="*/ 1120 h 2779"/>
                <a:gd name="T4" fmla="*/ 1795 w 2093"/>
                <a:gd name="T5" fmla="*/ 943 h 2779"/>
                <a:gd name="T6" fmla="*/ 1745 w 2093"/>
                <a:gd name="T7" fmla="*/ 766 h 2779"/>
                <a:gd name="T8" fmla="*/ 1869 w 2093"/>
                <a:gd name="T9" fmla="*/ 724 h 2779"/>
                <a:gd name="T10" fmla="*/ 2015 w 2093"/>
                <a:gd name="T11" fmla="*/ 490 h 2779"/>
                <a:gd name="T12" fmla="*/ 2065 w 2093"/>
                <a:gd name="T13" fmla="*/ 294 h 2779"/>
                <a:gd name="T14" fmla="*/ 2088 w 2093"/>
                <a:gd name="T15" fmla="*/ 56 h 2779"/>
                <a:gd name="T16" fmla="*/ 1909 w 2093"/>
                <a:gd name="T17" fmla="*/ 40 h 2779"/>
                <a:gd name="T18" fmla="*/ 1717 w 2093"/>
                <a:gd name="T19" fmla="*/ 92 h 2779"/>
                <a:gd name="T20" fmla="*/ 1583 w 2093"/>
                <a:gd name="T21" fmla="*/ 153 h 2779"/>
                <a:gd name="T22" fmla="*/ 1433 w 2093"/>
                <a:gd name="T23" fmla="*/ 211 h 2779"/>
                <a:gd name="T24" fmla="*/ 1305 w 2093"/>
                <a:gd name="T25" fmla="*/ 211 h 2779"/>
                <a:gd name="T26" fmla="*/ 1212 w 2093"/>
                <a:gd name="T27" fmla="*/ 252 h 2779"/>
                <a:gd name="T28" fmla="*/ 1177 w 2093"/>
                <a:gd name="T29" fmla="*/ 367 h 2779"/>
                <a:gd name="T30" fmla="*/ 1065 w 2093"/>
                <a:gd name="T31" fmla="*/ 408 h 2779"/>
                <a:gd name="T32" fmla="*/ 881 w 2093"/>
                <a:gd name="T33" fmla="*/ 328 h 2779"/>
                <a:gd name="T34" fmla="*/ 824 w 2093"/>
                <a:gd name="T35" fmla="*/ 313 h 2779"/>
                <a:gd name="T36" fmla="*/ 724 w 2093"/>
                <a:gd name="T37" fmla="*/ 426 h 2779"/>
                <a:gd name="T38" fmla="*/ 711 w 2093"/>
                <a:gd name="T39" fmla="*/ 531 h 2779"/>
                <a:gd name="T40" fmla="*/ 634 w 2093"/>
                <a:gd name="T41" fmla="*/ 632 h 2779"/>
                <a:gd name="T42" fmla="*/ 769 w 2093"/>
                <a:gd name="T43" fmla="*/ 685 h 2779"/>
                <a:gd name="T44" fmla="*/ 716 w 2093"/>
                <a:gd name="T45" fmla="*/ 784 h 2779"/>
                <a:gd name="T46" fmla="*/ 569 w 2093"/>
                <a:gd name="T47" fmla="*/ 905 h 2779"/>
                <a:gd name="T48" fmla="*/ 451 w 2093"/>
                <a:gd name="T49" fmla="*/ 905 h 2779"/>
                <a:gd name="T50" fmla="*/ 361 w 2093"/>
                <a:gd name="T51" fmla="*/ 923 h 2779"/>
                <a:gd name="T52" fmla="*/ 212 w 2093"/>
                <a:gd name="T53" fmla="*/ 965 h 2779"/>
                <a:gd name="T54" fmla="*/ 35 w 2093"/>
                <a:gd name="T55" fmla="*/ 974 h 2779"/>
                <a:gd name="T56" fmla="*/ 15 w 2093"/>
                <a:gd name="T57" fmla="*/ 1035 h 2779"/>
                <a:gd name="T58" fmla="*/ 141 w 2093"/>
                <a:gd name="T59" fmla="*/ 1076 h 2779"/>
                <a:gd name="T60" fmla="*/ 127 w 2093"/>
                <a:gd name="T61" fmla="*/ 1184 h 2779"/>
                <a:gd name="T62" fmla="*/ 237 w 2093"/>
                <a:gd name="T63" fmla="*/ 1192 h 2779"/>
                <a:gd name="T64" fmla="*/ 219 w 2093"/>
                <a:gd name="T65" fmla="*/ 1308 h 2779"/>
                <a:gd name="T66" fmla="*/ 315 w 2093"/>
                <a:gd name="T67" fmla="*/ 1404 h 2779"/>
                <a:gd name="T68" fmla="*/ 271 w 2093"/>
                <a:gd name="T69" fmla="*/ 1483 h 2779"/>
                <a:gd name="T70" fmla="*/ 316 w 2093"/>
                <a:gd name="T71" fmla="*/ 1560 h 2779"/>
                <a:gd name="T72" fmla="*/ 320 w 2093"/>
                <a:gd name="T73" fmla="*/ 1670 h 2779"/>
                <a:gd name="T74" fmla="*/ 454 w 2093"/>
                <a:gd name="T75" fmla="*/ 1652 h 2779"/>
                <a:gd name="T76" fmla="*/ 491 w 2093"/>
                <a:gd name="T77" fmla="*/ 1728 h 2779"/>
                <a:gd name="T78" fmla="*/ 514 w 2093"/>
                <a:gd name="T79" fmla="*/ 1904 h 2779"/>
                <a:gd name="T80" fmla="*/ 559 w 2093"/>
                <a:gd name="T81" fmla="*/ 2014 h 2779"/>
                <a:gd name="T82" fmla="*/ 593 w 2093"/>
                <a:gd name="T83" fmla="*/ 2087 h 2779"/>
                <a:gd name="T84" fmla="*/ 485 w 2093"/>
                <a:gd name="T85" fmla="*/ 2322 h 2779"/>
                <a:gd name="T86" fmla="*/ 529 w 2093"/>
                <a:gd name="T87" fmla="*/ 2414 h 2779"/>
                <a:gd name="T88" fmla="*/ 520 w 2093"/>
                <a:gd name="T89" fmla="*/ 2500 h 2779"/>
                <a:gd name="T90" fmla="*/ 501 w 2093"/>
                <a:gd name="T91" fmla="*/ 2605 h 2779"/>
                <a:gd name="T92" fmla="*/ 617 w 2093"/>
                <a:gd name="T93" fmla="*/ 2776 h 2779"/>
                <a:gd name="T94" fmla="*/ 730 w 2093"/>
                <a:gd name="T95" fmla="*/ 2742 h 2779"/>
                <a:gd name="T96" fmla="*/ 898 w 2093"/>
                <a:gd name="T97" fmla="*/ 2652 h 2779"/>
                <a:gd name="T98" fmla="*/ 997 w 2093"/>
                <a:gd name="T99" fmla="*/ 2396 h 2779"/>
                <a:gd name="T100" fmla="*/ 1419 w 2093"/>
                <a:gd name="T101" fmla="*/ 2172 h 2779"/>
                <a:gd name="T102" fmla="*/ 1590 w 2093"/>
                <a:gd name="T103" fmla="*/ 2182 h 2779"/>
                <a:gd name="T104" fmla="*/ 1423 w 2093"/>
                <a:gd name="T105" fmla="*/ 2144 h 2779"/>
                <a:gd name="T106" fmla="*/ 1390 w 2093"/>
                <a:gd name="T107" fmla="*/ 2030 h 2779"/>
                <a:gd name="T108" fmla="*/ 1544 w 2093"/>
                <a:gd name="T109" fmla="*/ 1774 h 2779"/>
                <a:gd name="T110" fmla="*/ 1593 w 2093"/>
                <a:gd name="T111" fmla="*/ 1660 h 2779"/>
                <a:gd name="T112" fmla="*/ 1759 w 2093"/>
                <a:gd name="T113" fmla="*/ 1623 h 2779"/>
                <a:gd name="T114" fmla="*/ 1866 w 2093"/>
                <a:gd name="T115" fmla="*/ 1641 h 2779"/>
                <a:gd name="T116" fmla="*/ 1845 w 2093"/>
                <a:gd name="T117" fmla="*/ 1363 h 27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93" h="2779">
                  <a:moveTo>
                    <a:pt x="1817" y="1346"/>
                  </a:moveTo>
                  <a:lnTo>
                    <a:pt x="1777" y="1310"/>
                  </a:lnTo>
                  <a:lnTo>
                    <a:pt x="1803" y="1278"/>
                  </a:lnTo>
                  <a:lnTo>
                    <a:pt x="1837" y="1294"/>
                  </a:lnTo>
                  <a:lnTo>
                    <a:pt x="1841" y="1283"/>
                  </a:lnTo>
                  <a:lnTo>
                    <a:pt x="1846" y="1270"/>
                  </a:lnTo>
                  <a:lnTo>
                    <a:pt x="1849" y="1257"/>
                  </a:lnTo>
                  <a:lnTo>
                    <a:pt x="1852" y="1244"/>
                  </a:lnTo>
                  <a:lnTo>
                    <a:pt x="1852" y="1239"/>
                  </a:lnTo>
                  <a:lnTo>
                    <a:pt x="1852" y="1233"/>
                  </a:lnTo>
                  <a:lnTo>
                    <a:pt x="1852" y="1227"/>
                  </a:lnTo>
                  <a:lnTo>
                    <a:pt x="1851" y="1221"/>
                  </a:lnTo>
                  <a:lnTo>
                    <a:pt x="1848" y="1215"/>
                  </a:lnTo>
                  <a:lnTo>
                    <a:pt x="1846" y="1209"/>
                  </a:lnTo>
                  <a:lnTo>
                    <a:pt x="1842" y="1204"/>
                  </a:lnTo>
                  <a:lnTo>
                    <a:pt x="1838" y="1199"/>
                  </a:lnTo>
                  <a:lnTo>
                    <a:pt x="1835" y="1197"/>
                  </a:lnTo>
                  <a:lnTo>
                    <a:pt x="1834" y="1193"/>
                  </a:lnTo>
                  <a:lnTo>
                    <a:pt x="1833" y="1191"/>
                  </a:lnTo>
                  <a:lnTo>
                    <a:pt x="1833" y="1187"/>
                  </a:lnTo>
                  <a:lnTo>
                    <a:pt x="1834" y="1179"/>
                  </a:lnTo>
                  <a:lnTo>
                    <a:pt x="1835" y="1171"/>
                  </a:lnTo>
                  <a:lnTo>
                    <a:pt x="1839" y="1154"/>
                  </a:lnTo>
                  <a:lnTo>
                    <a:pt x="1841" y="1140"/>
                  </a:lnTo>
                  <a:lnTo>
                    <a:pt x="1841" y="1130"/>
                  </a:lnTo>
                  <a:lnTo>
                    <a:pt x="1839" y="1120"/>
                  </a:lnTo>
                  <a:lnTo>
                    <a:pt x="1837" y="1109"/>
                  </a:lnTo>
                  <a:lnTo>
                    <a:pt x="1833" y="1098"/>
                  </a:lnTo>
                  <a:lnTo>
                    <a:pt x="1826" y="1077"/>
                  </a:lnTo>
                  <a:lnTo>
                    <a:pt x="1821" y="1055"/>
                  </a:lnTo>
                  <a:lnTo>
                    <a:pt x="1819" y="1043"/>
                  </a:lnTo>
                  <a:lnTo>
                    <a:pt x="1816" y="1031"/>
                  </a:lnTo>
                  <a:lnTo>
                    <a:pt x="1811" y="1020"/>
                  </a:lnTo>
                  <a:lnTo>
                    <a:pt x="1806" y="1008"/>
                  </a:lnTo>
                  <a:lnTo>
                    <a:pt x="1802" y="996"/>
                  </a:lnTo>
                  <a:lnTo>
                    <a:pt x="1798" y="985"/>
                  </a:lnTo>
                  <a:lnTo>
                    <a:pt x="1796" y="972"/>
                  </a:lnTo>
                  <a:lnTo>
                    <a:pt x="1795" y="959"/>
                  </a:lnTo>
                  <a:lnTo>
                    <a:pt x="1795" y="943"/>
                  </a:lnTo>
                  <a:lnTo>
                    <a:pt x="1797" y="925"/>
                  </a:lnTo>
                  <a:lnTo>
                    <a:pt x="1802" y="907"/>
                  </a:lnTo>
                  <a:lnTo>
                    <a:pt x="1806" y="888"/>
                  </a:lnTo>
                  <a:lnTo>
                    <a:pt x="1749" y="852"/>
                  </a:lnTo>
                  <a:lnTo>
                    <a:pt x="1749" y="845"/>
                  </a:lnTo>
                  <a:lnTo>
                    <a:pt x="1747" y="838"/>
                  </a:lnTo>
                  <a:lnTo>
                    <a:pt x="1743" y="832"/>
                  </a:lnTo>
                  <a:lnTo>
                    <a:pt x="1741" y="825"/>
                  </a:lnTo>
                  <a:lnTo>
                    <a:pt x="1739" y="813"/>
                  </a:lnTo>
                  <a:lnTo>
                    <a:pt x="1738" y="800"/>
                  </a:lnTo>
                  <a:lnTo>
                    <a:pt x="1738" y="786"/>
                  </a:lnTo>
                  <a:lnTo>
                    <a:pt x="1741" y="774"/>
                  </a:lnTo>
                  <a:lnTo>
                    <a:pt x="1745" y="766"/>
                  </a:lnTo>
                  <a:lnTo>
                    <a:pt x="1750" y="759"/>
                  </a:lnTo>
                  <a:lnTo>
                    <a:pt x="1756" y="752"/>
                  </a:lnTo>
                  <a:lnTo>
                    <a:pt x="1763" y="746"/>
                  </a:lnTo>
                  <a:lnTo>
                    <a:pt x="1768" y="744"/>
                  </a:lnTo>
                  <a:lnTo>
                    <a:pt x="1773" y="742"/>
                  </a:lnTo>
                  <a:lnTo>
                    <a:pt x="1778" y="742"/>
                  </a:lnTo>
                  <a:lnTo>
                    <a:pt x="1783" y="742"/>
                  </a:lnTo>
                  <a:lnTo>
                    <a:pt x="1794" y="746"/>
                  </a:lnTo>
                  <a:lnTo>
                    <a:pt x="1805" y="752"/>
                  </a:lnTo>
                  <a:lnTo>
                    <a:pt x="1827" y="768"/>
                  </a:lnTo>
                  <a:lnTo>
                    <a:pt x="1846" y="780"/>
                  </a:lnTo>
                  <a:lnTo>
                    <a:pt x="1858" y="752"/>
                  </a:lnTo>
                  <a:lnTo>
                    <a:pt x="1869" y="724"/>
                  </a:lnTo>
                  <a:lnTo>
                    <a:pt x="1880" y="700"/>
                  </a:lnTo>
                  <a:lnTo>
                    <a:pt x="1888" y="676"/>
                  </a:lnTo>
                  <a:lnTo>
                    <a:pt x="1896" y="659"/>
                  </a:lnTo>
                  <a:lnTo>
                    <a:pt x="1904" y="643"/>
                  </a:lnTo>
                  <a:lnTo>
                    <a:pt x="1912" y="628"/>
                  </a:lnTo>
                  <a:lnTo>
                    <a:pt x="1923" y="614"/>
                  </a:lnTo>
                  <a:lnTo>
                    <a:pt x="1944" y="586"/>
                  </a:lnTo>
                  <a:lnTo>
                    <a:pt x="1967" y="558"/>
                  </a:lnTo>
                  <a:lnTo>
                    <a:pt x="1979" y="543"/>
                  </a:lnTo>
                  <a:lnTo>
                    <a:pt x="1990" y="530"/>
                  </a:lnTo>
                  <a:lnTo>
                    <a:pt x="2001" y="516"/>
                  </a:lnTo>
                  <a:lnTo>
                    <a:pt x="2010" y="500"/>
                  </a:lnTo>
                  <a:lnTo>
                    <a:pt x="2015" y="490"/>
                  </a:lnTo>
                  <a:lnTo>
                    <a:pt x="2018" y="480"/>
                  </a:lnTo>
                  <a:lnTo>
                    <a:pt x="2021" y="470"/>
                  </a:lnTo>
                  <a:lnTo>
                    <a:pt x="2023" y="460"/>
                  </a:lnTo>
                  <a:lnTo>
                    <a:pt x="2024" y="450"/>
                  </a:lnTo>
                  <a:lnTo>
                    <a:pt x="2026" y="439"/>
                  </a:lnTo>
                  <a:lnTo>
                    <a:pt x="2029" y="430"/>
                  </a:lnTo>
                  <a:lnTo>
                    <a:pt x="2033" y="420"/>
                  </a:lnTo>
                  <a:lnTo>
                    <a:pt x="2040" y="405"/>
                  </a:lnTo>
                  <a:lnTo>
                    <a:pt x="2046" y="389"/>
                  </a:lnTo>
                  <a:lnTo>
                    <a:pt x="2052" y="374"/>
                  </a:lnTo>
                  <a:lnTo>
                    <a:pt x="2055" y="359"/>
                  </a:lnTo>
                  <a:lnTo>
                    <a:pt x="2061" y="326"/>
                  </a:lnTo>
                  <a:lnTo>
                    <a:pt x="2065" y="294"/>
                  </a:lnTo>
                  <a:lnTo>
                    <a:pt x="2067" y="261"/>
                  </a:lnTo>
                  <a:lnTo>
                    <a:pt x="2071" y="228"/>
                  </a:lnTo>
                  <a:lnTo>
                    <a:pt x="2072" y="211"/>
                  </a:lnTo>
                  <a:lnTo>
                    <a:pt x="2074" y="195"/>
                  </a:lnTo>
                  <a:lnTo>
                    <a:pt x="2076" y="178"/>
                  </a:lnTo>
                  <a:lnTo>
                    <a:pt x="2081" y="162"/>
                  </a:lnTo>
                  <a:lnTo>
                    <a:pt x="2085" y="147"/>
                  </a:lnTo>
                  <a:lnTo>
                    <a:pt x="2088" y="131"/>
                  </a:lnTo>
                  <a:lnTo>
                    <a:pt x="2090" y="113"/>
                  </a:lnTo>
                  <a:lnTo>
                    <a:pt x="2092" y="97"/>
                  </a:lnTo>
                  <a:lnTo>
                    <a:pt x="2093" y="81"/>
                  </a:lnTo>
                  <a:lnTo>
                    <a:pt x="2090" y="64"/>
                  </a:lnTo>
                  <a:lnTo>
                    <a:pt x="2088" y="56"/>
                  </a:lnTo>
                  <a:lnTo>
                    <a:pt x="2086" y="49"/>
                  </a:lnTo>
                  <a:lnTo>
                    <a:pt x="2082" y="41"/>
                  </a:lnTo>
                  <a:lnTo>
                    <a:pt x="2079" y="34"/>
                  </a:lnTo>
                  <a:lnTo>
                    <a:pt x="2074" y="28"/>
                  </a:lnTo>
                  <a:lnTo>
                    <a:pt x="2069" y="22"/>
                  </a:lnTo>
                  <a:lnTo>
                    <a:pt x="2064" y="18"/>
                  </a:lnTo>
                  <a:lnTo>
                    <a:pt x="2059" y="13"/>
                  </a:lnTo>
                  <a:lnTo>
                    <a:pt x="2048" y="6"/>
                  </a:lnTo>
                  <a:lnTo>
                    <a:pt x="2038" y="0"/>
                  </a:lnTo>
                  <a:lnTo>
                    <a:pt x="2009" y="10"/>
                  </a:lnTo>
                  <a:lnTo>
                    <a:pt x="1973" y="20"/>
                  </a:lnTo>
                  <a:lnTo>
                    <a:pt x="1938" y="32"/>
                  </a:lnTo>
                  <a:lnTo>
                    <a:pt x="1909" y="40"/>
                  </a:lnTo>
                  <a:lnTo>
                    <a:pt x="1882" y="58"/>
                  </a:lnTo>
                  <a:lnTo>
                    <a:pt x="1858" y="77"/>
                  </a:lnTo>
                  <a:lnTo>
                    <a:pt x="1846" y="85"/>
                  </a:lnTo>
                  <a:lnTo>
                    <a:pt x="1834" y="93"/>
                  </a:lnTo>
                  <a:lnTo>
                    <a:pt x="1821" y="99"/>
                  </a:lnTo>
                  <a:lnTo>
                    <a:pt x="1810" y="105"/>
                  </a:lnTo>
                  <a:lnTo>
                    <a:pt x="1798" y="110"/>
                  </a:lnTo>
                  <a:lnTo>
                    <a:pt x="1785" y="112"/>
                  </a:lnTo>
                  <a:lnTo>
                    <a:pt x="1773" y="113"/>
                  </a:lnTo>
                  <a:lnTo>
                    <a:pt x="1760" y="112"/>
                  </a:lnTo>
                  <a:lnTo>
                    <a:pt x="1746" y="107"/>
                  </a:lnTo>
                  <a:lnTo>
                    <a:pt x="1732" y="102"/>
                  </a:lnTo>
                  <a:lnTo>
                    <a:pt x="1717" y="92"/>
                  </a:lnTo>
                  <a:lnTo>
                    <a:pt x="1700" y="81"/>
                  </a:lnTo>
                  <a:lnTo>
                    <a:pt x="1697" y="78"/>
                  </a:lnTo>
                  <a:lnTo>
                    <a:pt x="1692" y="76"/>
                  </a:lnTo>
                  <a:lnTo>
                    <a:pt x="1688" y="76"/>
                  </a:lnTo>
                  <a:lnTo>
                    <a:pt x="1684" y="75"/>
                  </a:lnTo>
                  <a:lnTo>
                    <a:pt x="1674" y="76"/>
                  </a:lnTo>
                  <a:lnTo>
                    <a:pt x="1664" y="79"/>
                  </a:lnTo>
                  <a:lnTo>
                    <a:pt x="1654" y="85"/>
                  </a:lnTo>
                  <a:lnTo>
                    <a:pt x="1643" y="93"/>
                  </a:lnTo>
                  <a:lnTo>
                    <a:pt x="1632" y="102"/>
                  </a:lnTo>
                  <a:lnTo>
                    <a:pt x="1621" y="111"/>
                  </a:lnTo>
                  <a:lnTo>
                    <a:pt x="1600" y="132"/>
                  </a:lnTo>
                  <a:lnTo>
                    <a:pt x="1583" y="153"/>
                  </a:lnTo>
                  <a:lnTo>
                    <a:pt x="1568" y="171"/>
                  </a:lnTo>
                  <a:lnTo>
                    <a:pt x="1556" y="184"/>
                  </a:lnTo>
                  <a:lnTo>
                    <a:pt x="1551" y="190"/>
                  </a:lnTo>
                  <a:lnTo>
                    <a:pt x="1544" y="193"/>
                  </a:lnTo>
                  <a:lnTo>
                    <a:pt x="1537" y="197"/>
                  </a:lnTo>
                  <a:lnTo>
                    <a:pt x="1529" y="199"/>
                  </a:lnTo>
                  <a:lnTo>
                    <a:pt x="1513" y="202"/>
                  </a:lnTo>
                  <a:lnTo>
                    <a:pt x="1494" y="203"/>
                  </a:lnTo>
                  <a:lnTo>
                    <a:pt x="1476" y="204"/>
                  </a:lnTo>
                  <a:lnTo>
                    <a:pt x="1457" y="205"/>
                  </a:lnTo>
                  <a:lnTo>
                    <a:pt x="1448" y="206"/>
                  </a:lnTo>
                  <a:lnTo>
                    <a:pt x="1440" y="209"/>
                  </a:lnTo>
                  <a:lnTo>
                    <a:pt x="1433" y="211"/>
                  </a:lnTo>
                  <a:lnTo>
                    <a:pt x="1426" y="214"/>
                  </a:lnTo>
                  <a:lnTo>
                    <a:pt x="1413" y="220"/>
                  </a:lnTo>
                  <a:lnTo>
                    <a:pt x="1402" y="226"/>
                  </a:lnTo>
                  <a:lnTo>
                    <a:pt x="1393" y="228"/>
                  </a:lnTo>
                  <a:lnTo>
                    <a:pt x="1384" y="231"/>
                  </a:lnTo>
                  <a:lnTo>
                    <a:pt x="1376" y="231"/>
                  </a:lnTo>
                  <a:lnTo>
                    <a:pt x="1369" y="230"/>
                  </a:lnTo>
                  <a:lnTo>
                    <a:pt x="1362" y="228"/>
                  </a:lnTo>
                  <a:lnTo>
                    <a:pt x="1355" y="226"/>
                  </a:lnTo>
                  <a:lnTo>
                    <a:pt x="1341" y="221"/>
                  </a:lnTo>
                  <a:lnTo>
                    <a:pt x="1324" y="216"/>
                  </a:lnTo>
                  <a:lnTo>
                    <a:pt x="1315" y="213"/>
                  </a:lnTo>
                  <a:lnTo>
                    <a:pt x="1305" y="211"/>
                  </a:lnTo>
                  <a:lnTo>
                    <a:pt x="1293" y="210"/>
                  </a:lnTo>
                  <a:lnTo>
                    <a:pt x="1280" y="210"/>
                  </a:lnTo>
                  <a:lnTo>
                    <a:pt x="1258" y="212"/>
                  </a:lnTo>
                  <a:lnTo>
                    <a:pt x="1241" y="216"/>
                  </a:lnTo>
                  <a:lnTo>
                    <a:pt x="1234" y="218"/>
                  </a:lnTo>
                  <a:lnTo>
                    <a:pt x="1229" y="220"/>
                  </a:lnTo>
                  <a:lnTo>
                    <a:pt x="1224" y="223"/>
                  </a:lnTo>
                  <a:lnTo>
                    <a:pt x="1220" y="226"/>
                  </a:lnTo>
                  <a:lnTo>
                    <a:pt x="1217" y="230"/>
                  </a:lnTo>
                  <a:lnTo>
                    <a:pt x="1215" y="234"/>
                  </a:lnTo>
                  <a:lnTo>
                    <a:pt x="1213" y="238"/>
                  </a:lnTo>
                  <a:lnTo>
                    <a:pt x="1213" y="242"/>
                  </a:lnTo>
                  <a:lnTo>
                    <a:pt x="1212" y="252"/>
                  </a:lnTo>
                  <a:lnTo>
                    <a:pt x="1213" y="261"/>
                  </a:lnTo>
                  <a:lnTo>
                    <a:pt x="1216" y="282"/>
                  </a:lnTo>
                  <a:lnTo>
                    <a:pt x="1219" y="304"/>
                  </a:lnTo>
                  <a:lnTo>
                    <a:pt x="1217" y="310"/>
                  </a:lnTo>
                  <a:lnTo>
                    <a:pt x="1217" y="315"/>
                  </a:lnTo>
                  <a:lnTo>
                    <a:pt x="1215" y="320"/>
                  </a:lnTo>
                  <a:lnTo>
                    <a:pt x="1213" y="325"/>
                  </a:lnTo>
                  <a:lnTo>
                    <a:pt x="1210" y="331"/>
                  </a:lnTo>
                  <a:lnTo>
                    <a:pt x="1207" y="335"/>
                  </a:lnTo>
                  <a:lnTo>
                    <a:pt x="1202" y="340"/>
                  </a:lnTo>
                  <a:lnTo>
                    <a:pt x="1196" y="345"/>
                  </a:lnTo>
                  <a:lnTo>
                    <a:pt x="1187" y="353"/>
                  </a:lnTo>
                  <a:lnTo>
                    <a:pt x="1177" y="367"/>
                  </a:lnTo>
                  <a:lnTo>
                    <a:pt x="1164" y="383"/>
                  </a:lnTo>
                  <a:lnTo>
                    <a:pt x="1152" y="399"/>
                  </a:lnTo>
                  <a:lnTo>
                    <a:pt x="1139" y="416"/>
                  </a:lnTo>
                  <a:lnTo>
                    <a:pt x="1128" y="427"/>
                  </a:lnTo>
                  <a:lnTo>
                    <a:pt x="1122" y="432"/>
                  </a:lnTo>
                  <a:lnTo>
                    <a:pt x="1116" y="436"/>
                  </a:lnTo>
                  <a:lnTo>
                    <a:pt x="1111" y="438"/>
                  </a:lnTo>
                  <a:lnTo>
                    <a:pt x="1107" y="437"/>
                  </a:lnTo>
                  <a:lnTo>
                    <a:pt x="1100" y="434"/>
                  </a:lnTo>
                  <a:lnTo>
                    <a:pt x="1093" y="431"/>
                  </a:lnTo>
                  <a:lnTo>
                    <a:pt x="1086" y="426"/>
                  </a:lnTo>
                  <a:lnTo>
                    <a:pt x="1079" y="420"/>
                  </a:lnTo>
                  <a:lnTo>
                    <a:pt x="1065" y="408"/>
                  </a:lnTo>
                  <a:lnTo>
                    <a:pt x="1050" y="392"/>
                  </a:lnTo>
                  <a:lnTo>
                    <a:pt x="1023" y="362"/>
                  </a:lnTo>
                  <a:lnTo>
                    <a:pt x="1001" y="335"/>
                  </a:lnTo>
                  <a:lnTo>
                    <a:pt x="957" y="317"/>
                  </a:lnTo>
                  <a:lnTo>
                    <a:pt x="948" y="317"/>
                  </a:lnTo>
                  <a:lnTo>
                    <a:pt x="939" y="318"/>
                  </a:lnTo>
                  <a:lnTo>
                    <a:pt x="931" y="319"/>
                  </a:lnTo>
                  <a:lnTo>
                    <a:pt x="923" y="321"/>
                  </a:lnTo>
                  <a:lnTo>
                    <a:pt x="909" y="328"/>
                  </a:lnTo>
                  <a:lnTo>
                    <a:pt x="895" y="334"/>
                  </a:lnTo>
                  <a:lnTo>
                    <a:pt x="889" y="334"/>
                  </a:lnTo>
                  <a:lnTo>
                    <a:pt x="884" y="332"/>
                  </a:lnTo>
                  <a:lnTo>
                    <a:pt x="881" y="328"/>
                  </a:lnTo>
                  <a:lnTo>
                    <a:pt x="877" y="325"/>
                  </a:lnTo>
                  <a:lnTo>
                    <a:pt x="872" y="315"/>
                  </a:lnTo>
                  <a:lnTo>
                    <a:pt x="866" y="305"/>
                  </a:lnTo>
                  <a:lnTo>
                    <a:pt x="861" y="297"/>
                  </a:lnTo>
                  <a:lnTo>
                    <a:pt x="856" y="294"/>
                  </a:lnTo>
                  <a:lnTo>
                    <a:pt x="853" y="292"/>
                  </a:lnTo>
                  <a:lnTo>
                    <a:pt x="851" y="291"/>
                  </a:lnTo>
                  <a:lnTo>
                    <a:pt x="848" y="291"/>
                  </a:lnTo>
                  <a:lnTo>
                    <a:pt x="845" y="292"/>
                  </a:lnTo>
                  <a:lnTo>
                    <a:pt x="840" y="296"/>
                  </a:lnTo>
                  <a:lnTo>
                    <a:pt x="834" y="301"/>
                  </a:lnTo>
                  <a:lnTo>
                    <a:pt x="830" y="306"/>
                  </a:lnTo>
                  <a:lnTo>
                    <a:pt x="824" y="313"/>
                  </a:lnTo>
                  <a:lnTo>
                    <a:pt x="815" y="331"/>
                  </a:lnTo>
                  <a:lnTo>
                    <a:pt x="806" y="348"/>
                  </a:lnTo>
                  <a:lnTo>
                    <a:pt x="801" y="363"/>
                  </a:lnTo>
                  <a:lnTo>
                    <a:pt x="798" y="374"/>
                  </a:lnTo>
                  <a:lnTo>
                    <a:pt x="795" y="381"/>
                  </a:lnTo>
                  <a:lnTo>
                    <a:pt x="791" y="387"/>
                  </a:lnTo>
                  <a:lnTo>
                    <a:pt x="788" y="391"/>
                  </a:lnTo>
                  <a:lnTo>
                    <a:pt x="784" y="396"/>
                  </a:lnTo>
                  <a:lnTo>
                    <a:pt x="776" y="404"/>
                  </a:lnTo>
                  <a:lnTo>
                    <a:pt x="768" y="410"/>
                  </a:lnTo>
                  <a:lnTo>
                    <a:pt x="749" y="417"/>
                  </a:lnTo>
                  <a:lnTo>
                    <a:pt x="732" y="423"/>
                  </a:lnTo>
                  <a:lnTo>
                    <a:pt x="724" y="426"/>
                  </a:lnTo>
                  <a:lnTo>
                    <a:pt x="717" y="430"/>
                  </a:lnTo>
                  <a:lnTo>
                    <a:pt x="711" y="434"/>
                  </a:lnTo>
                  <a:lnTo>
                    <a:pt x="706" y="441"/>
                  </a:lnTo>
                  <a:lnTo>
                    <a:pt x="705" y="445"/>
                  </a:lnTo>
                  <a:lnTo>
                    <a:pt x="704" y="450"/>
                  </a:lnTo>
                  <a:lnTo>
                    <a:pt x="704" y="455"/>
                  </a:lnTo>
                  <a:lnTo>
                    <a:pt x="704" y="461"/>
                  </a:lnTo>
                  <a:lnTo>
                    <a:pt x="705" y="475"/>
                  </a:lnTo>
                  <a:lnTo>
                    <a:pt x="710" y="491"/>
                  </a:lnTo>
                  <a:lnTo>
                    <a:pt x="712" y="503"/>
                  </a:lnTo>
                  <a:lnTo>
                    <a:pt x="713" y="514"/>
                  </a:lnTo>
                  <a:lnTo>
                    <a:pt x="713" y="523"/>
                  </a:lnTo>
                  <a:lnTo>
                    <a:pt x="711" y="531"/>
                  </a:lnTo>
                  <a:lnTo>
                    <a:pt x="709" y="538"/>
                  </a:lnTo>
                  <a:lnTo>
                    <a:pt x="705" y="545"/>
                  </a:lnTo>
                  <a:lnTo>
                    <a:pt x="699" y="551"/>
                  </a:lnTo>
                  <a:lnTo>
                    <a:pt x="695" y="557"/>
                  </a:lnTo>
                  <a:lnTo>
                    <a:pt x="667" y="576"/>
                  </a:lnTo>
                  <a:lnTo>
                    <a:pt x="636" y="596"/>
                  </a:lnTo>
                  <a:lnTo>
                    <a:pt x="632" y="601"/>
                  </a:lnTo>
                  <a:lnTo>
                    <a:pt x="630" y="605"/>
                  </a:lnTo>
                  <a:lnTo>
                    <a:pt x="627" y="610"/>
                  </a:lnTo>
                  <a:lnTo>
                    <a:pt x="628" y="616"/>
                  </a:lnTo>
                  <a:lnTo>
                    <a:pt x="630" y="622"/>
                  </a:lnTo>
                  <a:lnTo>
                    <a:pt x="631" y="626"/>
                  </a:lnTo>
                  <a:lnTo>
                    <a:pt x="634" y="632"/>
                  </a:lnTo>
                  <a:lnTo>
                    <a:pt x="638" y="638"/>
                  </a:lnTo>
                  <a:lnTo>
                    <a:pt x="648" y="649"/>
                  </a:lnTo>
                  <a:lnTo>
                    <a:pt x="659" y="658"/>
                  </a:lnTo>
                  <a:lnTo>
                    <a:pt x="664" y="661"/>
                  </a:lnTo>
                  <a:lnTo>
                    <a:pt x="669" y="664"/>
                  </a:lnTo>
                  <a:lnTo>
                    <a:pt x="675" y="666"/>
                  </a:lnTo>
                  <a:lnTo>
                    <a:pt x="680" y="667"/>
                  </a:lnTo>
                  <a:lnTo>
                    <a:pt x="708" y="668"/>
                  </a:lnTo>
                  <a:lnTo>
                    <a:pt x="741" y="673"/>
                  </a:lnTo>
                  <a:lnTo>
                    <a:pt x="749" y="674"/>
                  </a:lnTo>
                  <a:lnTo>
                    <a:pt x="756" y="678"/>
                  </a:lnTo>
                  <a:lnTo>
                    <a:pt x="763" y="680"/>
                  </a:lnTo>
                  <a:lnTo>
                    <a:pt x="769" y="685"/>
                  </a:lnTo>
                  <a:lnTo>
                    <a:pt x="773" y="689"/>
                  </a:lnTo>
                  <a:lnTo>
                    <a:pt x="776" y="695"/>
                  </a:lnTo>
                  <a:lnTo>
                    <a:pt x="777" y="702"/>
                  </a:lnTo>
                  <a:lnTo>
                    <a:pt x="777" y="709"/>
                  </a:lnTo>
                  <a:lnTo>
                    <a:pt x="774" y="726"/>
                  </a:lnTo>
                  <a:lnTo>
                    <a:pt x="769" y="739"/>
                  </a:lnTo>
                  <a:lnTo>
                    <a:pt x="765" y="751"/>
                  </a:lnTo>
                  <a:lnTo>
                    <a:pt x="759" y="759"/>
                  </a:lnTo>
                  <a:lnTo>
                    <a:pt x="753" y="766"/>
                  </a:lnTo>
                  <a:lnTo>
                    <a:pt x="746" y="772"/>
                  </a:lnTo>
                  <a:lnTo>
                    <a:pt x="739" y="775"/>
                  </a:lnTo>
                  <a:lnTo>
                    <a:pt x="732" y="779"/>
                  </a:lnTo>
                  <a:lnTo>
                    <a:pt x="716" y="784"/>
                  </a:lnTo>
                  <a:lnTo>
                    <a:pt x="699" y="788"/>
                  </a:lnTo>
                  <a:lnTo>
                    <a:pt x="690" y="792"/>
                  </a:lnTo>
                  <a:lnTo>
                    <a:pt x="682" y="796"/>
                  </a:lnTo>
                  <a:lnTo>
                    <a:pt x="674" y="803"/>
                  </a:lnTo>
                  <a:lnTo>
                    <a:pt x="666" y="810"/>
                  </a:lnTo>
                  <a:lnTo>
                    <a:pt x="646" y="837"/>
                  </a:lnTo>
                  <a:lnTo>
                    <a:pt x="632" y="858"/>
                  </a:lnTo>
                  <a:lnTo>
                    <a:pt x="625" y="868"/>
                  </a:lnTo>
                  <a:lnTo>
                    <a:pt x="614" y="878"/>
                  </a:lnTo>
                  <a:lnTo>
                    <a:pt x="602" y="888"/>
                  </a:lnTo>
                  <a:lnTo>
                    <a:pt x="584" y="899"/>
                  </a:lnTo>
                  <a:lnTo>
                    <a:pt x="576" y="902"/>
                  </a:lnTo>
                  <a:lnTo>
                    <a:pt x="569" y="905"/>
                  </a:lnTo>
                  <a:lnTo>
                    <a:pt x="561" y="906"/>
                  </a:lnTo>
                  <a:lnTo>
                    <a:pt x="554" y="906"/>
                  </a:lnTo>
                  <a:lnTo>
                    <a:pt x="539" y="903"/>
                  </a:lnTo>
                  <a:lnTo>
                    <a:pt x="524" y="900"/>
                  </a:lnTo>
                  <a:lnTo>
                    <a:pt x="508" y="895"/>
                  </a:lnTo>
                  <a:lnTo>
                    <a:pt x="493" y="892"/>
                  </a:lnTo>
                  <a:lnTo>
                    <a:pt x="486" y="892"/>
                  </a:lnTo>
                  <a:lnTo>
                    <a:pt x="479" y="891"/>
                  </a:lnTo>
                  <a:lnTo>
                    <a:pt x="472" y="892"/>
                  </a:lnTo>
                  <a:lnTo>
                    <a:pt x="465" y="893"/>
                  </a:lnTo>
                  <a:lnTo>
                    <a:pt x="458" y="896"/>
                  </a:lnTo>
                  <a:lnTo>
                    <a:pt x="454" y="901"/>
                  </a:lnTo>
                  <a:lnTo>
                    <a:pt x="451" y="905"/>
                  </a:lnTo>
                  <a:lnTo>
                    <a:pt x="448" y="909"/>
                  </a:lnTo>
                  <a:lnTo>
                    <a:pt x="444" y="912"/>
                  </a:lnTo>
                  <a:lnTo>
                    <a:pt x="441" y="913"/>
                  </a:lnTo>
                  <a:lnTo>
                    <a:pt x="434" y="913"/>
                  </a:lnTo>
                  <a:lnTo>
                    <a:pt x="425" y="909"/>
                  </a:lnTo>
                  <a:lnTo>
                    <a:pt x="410" y="905"/>
                  </a:lnTo>
                  <a:lnTo>
                    <a:pt x="398" y="901"/>
                  </a:lnTo>
                  <a:lnTo>
                    <a:pt x="389" y="901"/>
                  </a:lnTo>
                  <a:lnTo>
                    <a:pt x="380" y="902"/>
                  </a:lnTo>
                  <a:lnTo>
                    <a:pt x="373" y="906"/>
                  </a:lnTo>
                  <a:lnTo>
                    <a:pt x="369" y="910"/>
                  </a:lnTo>
                  <a:lnTo>
                    <a:pt x="364" y="916"/>
                  </a:lnTo>
                  <a:lnTo>
                    <a:pt x="361" y="923"/>
                  </a:lnTo>
                  <a:lnTo>
                    <a:pt x="355" y="937"/>
                  </a:lnTo>
                  <a:lnTo>
                    <a:pt x="348" y="951"/>
                  </a:lnTo>
                  <a:lnTo>
                    <a:pt x="344" y="957"/>
                  </a:lnTo>
                  <a:lnTo>
                    <a:pt x="339" y="963"/>
                  </a:lnTo>
                  <a:lnTo>
                    <a:pt x="332" y="966"/>
                  </a:lnTo>
                  <a:lnTo>
                    <a:pt x="323" y="967"/>
                  </a:lnTo>
                  <a:lnTo>
                    <a:pt x="306" y="970"/>
                  </a:lnTo>
                  <a:lnTo>
                    <a:pt x="285" y="972"/>
                  </a:lnTo>
                  <a:lnTo>
                    <a:pt x="263" y="972"/>
                  </a:lnTo>
                  <a:lnTo>
                    <a:pt x="241" y="972"/>
                  </a:lnTo>
                  <a:lnTo>
                    <a:pt x="230" y="970"/>
                  </a:lnTo>
                  <a:lnTo>
                    <a:pt x="220" y="967"/>
                  </a:lnTo>
                  <a:lnTo>
                    <a:pt x="212" y="965"/>
                  </a:lnTo>
                  <a:lnTo>
                    <a:pt x="203" y="960"/>
                  </a:lnTo>
                  <a:lnTo>
                    <a:pt x="198" y="956"/>
                  </a:lnTo>
                  <a:lnTo>
                    <a:pt x="192" y="949"/>
                  </a:lnTo>
                  <a:lnTo>
                    <a:pt x="190" y="942"/>
                  </a:lnTo>
                  <a:lnTo>
                    <a:pt x="188" y="932"/>
                  </a:lnTo>
                  <a:lnTo>
                    <a:pt x="178" y="930"/>
                  </a:lnTo>
                  <a:lnTo>
                    <a:pt x="167" y="929"/>
                  </a:lnTo>
                  <a:lnTo>
                    <a:pt x="157" y="929"/>
                  </a:lnTo>
                  <a:lnTo>
                    <a:pt x="145" y="929"/>
                  </a:lnTo>
                  <a:lnTo>
                    <a:pt x="123" y="929"/>
                  </a:lnTo>
                  <a:lnTo>
                    <a:pt x="101" y="927"/>
                  </a:lnTo>
                  <a:lnTo>
                    <a:pt x="48" y="970"/>
                  </a:lnTo>
                  <a:lnTo>
                    <a:pt x="35" y="974"/>
                  </a:lnTo>
                  <a:lnTo>
                    <a:pt x="20" y="978"/>
                  </a:lnTo>
                  <a:lnTo>
                    <a:pt x="13" y="981"/>
                  </a:lnTo>
                  <a:lnTo>
                    <a:pt x="7" y="984"/>
                  </a:lnTo>
                  <a:lnTo>
                    <a:pt x="4" y="986"/>
                  </a:lnTo>
                  <a:lnTo>
                    <a:pt x="2" y="988"/>
                  </a:lnTo>
                  <a:lnTo>
                    <a:pt x="1" y="991"/>
                  </a:lnTo>
                  <a:lnTo>
                    <a:pt x="1" y="993"/>
                  </a:lnTo>
                  <a:lnTo>
                    <a:pt x="0" y="1002"/>
                  </a:lnTo>
                  <a:lnTo>
                    <a:pt x="1" y="1010"/>
                  </a:lnTo>
                  <a:lnTo>
                    <a:pt x="3" y="1017"/>
                  </a:lnTo>
                  <a:lnTo>
                    <a:pt x="7" y="1024"/>
                  </a:lnTo>
                  <a:lnTo>
                    <a:pt x="10" y="1029"/>
                  </a:lnTo>
                  <a:lnTo>
                    <a:pt x="15" y="1035"/>
                  </a:lnTo>
                  <a:lnTo>
                    <a:pt x="20" y="1038"/>
                  </a:lnTo>
                  <a:lnTo>
                    <a:pt x="25" y="1042"/>
                  </a:lnTo>
                  <a:lnTo>
                    <a:pt x="39" y="1048"/>
                  </a:lnTo>
                  <a:lnTo>
                    <a:pt x="54" y="1052"/>
                  </a:lnTo>
                  <a:lnTo>
                    <a:pt x="70" y="1055"/>
                  </a:lnTo>
                  <a:lnTo>
                    <a:pt x="86" y="1057"/>
                  </a:lnTo>
                  <a:lnTo>
                    <a:pt x="101" y="1060"/>
                  </a:lnTo>
                  <a:lnTo>
                    <a:pt x="115" y="1063"/>
                  </a:lnTo>
                  <a:lnTo>
                    <a:pt x="121" y="1065"/>
                  </a:lnTo>
                  <a:lnTo>
                    <a:pt x="127" y="1066"/>
                  </a:lnTo>
                  <a:lnTo>
                    <a:pt x="132" y="1070"/>
                  </a:lnTo>
                  <a:lnTo>
                    <a:pt x="137" y="1072"/>
                  </a:lnTo>
                  <a:lnTo>
                    <a:pt x="141" y="1076"/>
                  </a:lnTo>
                  <a:lnTo>
                    <a:pt x="144" y="1080"/>
                  </a:lnTo>
                  <a:lnTo>
                    <a:pt x="145" y="1085"/>
                  </a:lnTo>
                  <a:lnTo>
                    <a:pt x="146" y="1090"/>
                  </a:lnTo>
                  <a:lnTo>
                    <a:pt x="146" y="1097"/>
                  </a:lnTo>
                  <a:lnTo>
                    <a:pt x="145" y="1104"/>
                  </a:lnTo>
                  <a:lnTo>
                    <a:pt x="143" y="1112"/>
                  </a:lnTo>
                  <a:lnTo>
                    <a:pt x="138" y="1120"/>
                  </a:lnTo>
                  <a:lnTo>
                    <a:pt x="134" y="1134"/>
                  </a:lnTo>
                  <a:lnTo>
                    <a:pt x="128" y="1156"/>
                  </a:lnTo>
                  <a:lnTo>
                    <a:pt x="125" y="1166"/>
                  </a:lnTo>
                  <a:lnTo>
                    <a:pt x="125" y="1177"/>
                  </a:lnTo>
                  <a:lnTo>
                    <a:pt x="125" y="1180"/>
                  </a:lnTo>
                  <a:lnTo>
                    <a:pt x="127" y="1184"/>
                  </a:lnTo>
                  <a:lnTo>
                    <a:pt x="128" y="1186"/>
                  </a:lnTo>
                  <a:lnTo>
                    <a:pt x="129" y="1187"/>
                  </a:lnTo>
                  <a:lnTo>
                    <a:pt x="135" y="1188"/>
                  </a:lnTo>
                  <a:lnTo>
                    <a:pt x="143" y="1188"/>
                  </a:lnTo>
                  <a:lnTo>
                    <a:pt x="151" y="1188"/>
                  </a:lnTo>
                  <a:lnTo>
                    <a:pt x="162" y="1186"/>
                  </a:lnTo>
                  <a:lnTo>
                    <a:pt x="183" y="1184"/>
                  </a:lnTo>
                  <a:lnTo>
                    <a:pt x="203" y="1182"/>
                  </a:lnTo>
                  <a:lnTo>
                    <a:pt x="214" y="1182"/>
                  </a:lnTo>
                  <a:lnTo>
                    <a:pt x="222" y="1183"/>
                  </a:lnTo>
                  <a:lnTo>
                    <a:pt x="229" y="1185"/>
                  </a:lnTo>
                  <a:lnTo>
                    <a:pt x="235" y="1188"/>
                  </a:lnTo>
                  <a:lnTo>
                    <a:pt x="237" y="1192"/>
                  </a:lnTo>
                  <a:lnTo>
                    <a:pt x="238" y="1194"/>
                  </a:lnTo>
                  <a:lnTo>
                    <a:pt x="240" y="1199"/>
                  </a:lnTo>
                  <a:lnTo>
                    <a:pt x="240" y="1202"/>
                  </a:lnTo>
                  <a:lnTo>
                    <a:pt x="238" y="1213"/>
                  </a:lnTo>
                  <a:lnTo>
                    <a:pt x="234" y="1227"/>
                  </a:lnTo>
                  <a:lnTo>
                    <a:pt x="221" y="1252"/>
                  </a:lnTo>
                  <a:lnTo>
                    <a:pt x="209" y="1278"/>
                  </a:lnTo>
                  <a:lnTo>
                    <a:pt x="208" y="1284"/>
                  </a:lnTo>
                  <a:lnTo>
                    <a:pt x="207" y="1290"/>
                  </a:lnTo>
                  <a:lnTo>
                    <a:pt x="208" y="1294"/>
                  </a:lnTo>
                  <a:lnTo>
                    <a:pt x="210" y="1300"/>
                  </a:lnTo>
                  <a:lnTo>
                    <a:pt x="214" y="1305"/>
                  </a:lnTo>
                  <a:lnTo>
                    <a:pt x="219" y="1308"/>
                  </a:lnTo>
                  <a:lnTo>
                    <a:pt x="226" y="1312"/>
                  </a:lnTo>
                  <a:lnTo>
                    <a:pt x="235" y="1315"/>
                  </a:lnTo>
                  <a:lnTo>
                    <a:pt x="244" y="1318"/>
                  </a:lnTo>
                  <a:lnTo>
                    <a:pt x="254" y="1321"/>
                  </a:lnTo>
                  <a:lnTo>
                    <a:pt x="263" y="1326"/>
                  </a:lnTo>
                  <a:lnTo>
                    <a:pt x="272" y="1332"/>
                  </a:lnTo>
                  <a:lnTo>
                    <a:pt x="280" y="1337"/>
                  </a:lnTo>
                  <a:lnTo>
                    <a:pt x="288" y="1343"/>
                  </a:lnTo>
                  <a:lnTo>
                    <a:pt x="294" y="1351"/>
                  </a:lnTo>
                  <a:lnTo>
                    <a:pt x="299" y="1358"/>
                  </a:lnTo>
                  <a:lnTo>
                    <a:pt x="305" y="1374"/>
                  </a:lnTo>
                  <a:lnTo>
                    <a:pt x="311" y="1389"/>
                  </a:lnTo>
                  <a:lnTo>
                    <a:pt x="315" y="1404"/>
                  </a:lnTo>
                  <a:lnTo>
                    <a:pt x="321" y="1419"/>
                  </a:lnTo>
                  <a:lnTo>
                    <a:pt x="323" y="1425"/>
                  </a:lnTo>
                  <a:lnTo>
                    <a:pt x="323" y="1429"/>
                  </a:lnTo>
                  <a:lnTo>
                    <a:pt x="323" y="1434"/>
                  </a:lnTo>
                  <a:lnTo>
                    <a:pt x="321" y="1439"/>
                  </a:lnTo>
                  <a:lnTo>
                    <a:pt x="313" y="1445"/>
                  </a:lnTo>
                  <a:lnTo>
                    <a:pt x="302" y="1450"/>
                  </a:lnTo>
                  <a:lnTo>
                    <a:pt x="292" y="1455"/>
                  </a:lnTo>
                  <a:lnTo>
                    <a:pt x="281" y="1462"/>
                  </a:lnTo>
                  <a:lnTo>
                    <a:pt x="278" y="1467"/>
                  </a:lnTo>
                  <a:lnTo>
                    <a:pt x="274" y="1471"/>
                  </a:lnTo>
                  <a:lnTo>
                    <a:pt x="272" y="1476"/>
                  </a:lnTo>
                  <a:lnTo>
                    <a:pt x="271" y="1483"/>
                  </a:lnTo>
                  <a:lnTo>
                    <a:pt x="272" y="1488"/>
                  </a:lnTo>
                  <a:lnTo>
                    <a:pt x="274" y="1491"/>
                  </a:lnTo>
                  <a:lnTo>
                    <a:pt x="277" y="1495"/>
                  </a:lnTo>
                  <a:lnTo>
                    <a:pt x="280" y="1498"/>
                  </a:lnTo>
                  <a:lnTo>
                    <a:pt x="290" y="1505"/>
                  </a:lnTo>
                  <a:lnTo>
                    <a:pt x="300" y="1512"/>
                  </a:lnTo>
                  <a:lnTo>
                    <a:pt x="305" y="1517"/>
                  </a:lnTo>
                  <a:lnTo>
                    <a:pt x="308" y="1521"/>
                  </a:lnTo>
                  <a:lnTo>
                    <a:pt x="312" y="1527"/>
                  </a:lnTo>
                  <a:lnTo>
                    <a:pt x="315" y="1534"/>
                  </a:lnTo>
                  <a:lnTo>
                    <a:pt x="316" y="1541"/>
                  </a:lnTo>
                  <a:lnTo>
                    <a:pt x="318" y="1550"/>
                  </a:lnTo>
                  <a:lnTo>
                    <a:pt x="316" y="1560"/>
                  </a:lnTo>
                  <a:lnTo>
                    <a:pt x="313" y="1570"/>
                  </a:lnTo>
                  <a:lnTo>
                    <a:pt x="311" y="1578"/>
                  </a:lnTo>
                  <a:lnTo>
                    <a:pt x="308" y="1586"/>
                  </a:lnTo>
                  <a:lnTo>
                    <a:pt x="306" y="1595"/>
                  </a:lnTo>
                  <a:lnTo>
                    <a:pt x="305" y="1603"/>
                  </a:lnTo>
                  <a:lnTo>
                    <a:pt x="304" y="1612"/>
                  </a:lnTo>
                  <a:lnTo>
                    <a:pt x="304" y="1621"/>
                  </a:lnTo>
                  <a:lnTo>
                    <a:pt x="305" y="1630"/>
                  </a:lnTo>
                  <a:lnTo>
                    <a:pt x="306" y="1639"/>
                  </a:lnTo>
                  <a:lnTo>
                    <a:pt x="308" y="1647"/>
                  </a:lnTo>
                  <a:lnTo>
                    <a:pt x="312" y="1655"/>
                  </a:lnTo>
                  <a:lnTo>
                    <a:pt x="315" y="1663"/>
                  </a:lnTo>
                  <a:lnTo>
                    <a:pt x="320" y="1670"/>
                  </a:lnTo>
                  <a:lnTo>
                    <a:pt x="326" y="1677"/>
                  </a:lnTo>
                  <a:lnTo>
                    <a:pt x="332" y="1682"/>
                  </a:lnTo>
                  <a:lnTo>
                    <a:pt x="339" y="1688"/>
                  </a:lnTo>
                  <a:lnTo>
                    <a:pt x="347" y="1691"/>
                  </a:lnTo>
                  <a:lnTo>
                    <a:pt x="354" y="1692"/>
                  </a:lnTo>
                  <a:lnTo>
                    <a:pt x="359" y="1694"/>
                  </a:lnTo>
                  <a:lnTo>
                    <a:pt x="365" y="1694"/>
                  </a:lnTo>
                  <a:lnTo>
                    <a:pt x="372" y="1692"/>
                  </a:lnTo>
                  <a:lnTo>
                    <a:pt x="385" y="1690"/>
                  </a:lnTo>
                  <a:lnTo>
                    <a:pt x="398" y="1684"/>
                  </a:lnTo>
                  <a:lnTo>
                    <a:pt x="422" y="1670"/>
                  </a:lnTo>
                  <a:lnTo>
                    <a:pt x="444" y="1656"/>
                  </a:lnTo>
                  <a:lnTo>
                    <a:pt x="454" y="1652"/>
                  </a:lnTo>
                  <a:lnTo>
                    <a:pt x="463" y="1648"/>
                  </a:lnTo>
                  <a:lnTo>
                    <a:pt x="468" y="1647"/>
                  </a:lnTo>
                  <a:lnTo>
                    <a:pt x="471" y="1647"/>
                  </a:lnTo>
                  <a:lnTo>
                    <a:pt x="475" y="1648"/>
                  </a:lnTo>
                  <a:lnTo>
                    <a:pt x="478" y="1651"/>
                  </a:lnTo>
                  <a:lnTo>
                    <a:pt x="481" y="1654"/>
                  </a:lnTo>
                  <a:lnTo>
                    <a:pt x="483" y="1657"/>
                  </a:lnTo>
                  <a:lnTo>
                    <a:pt x="485" y="1663"/>
                  </a:lnTo>
                  <a:lnTo>
                    <a:pt x="486" y="1669"/>
                  </a:lnTo>
                  <a:lnTo>
                    <a:pt x="489" y="1687"/>
                  </a:lnTo>
                  <a:lnTo>
                    <a:pt x="489" y="1710"/>
                  </a:lnTo>
                  <a:lnTo>
                    <a:pt x="490" y="1720"/>
                  </a:lnTo>
                  <a:lnTo>
                    <a:pt x="491" y="1728"/>
                  </a:lnTo>
                  <a:lnTo>
                    <a:pt x="494" y="1735"/>
                  </a:lnTo>
                  <a:lnTo>
                    <a:pt x="499" y="1744"/>
                  </a:lnTo>
                  <a:lnTo>
                    <a:pt x="508" y="1756"/>
                  </a:lnTo>
                  <a:lnTo>
                    <a:pt x="519" y="1773"/>
                  </a:lnTo>
                  <a:lnTo>
                    <a:pt x="521" y="1779"/>
                  </a:lnTo>
                  <a:lnTo>
                    <a:pt x="522" y="1785"/>
                  </a:lnTo>
                  <a:lnTo>
                    <a:pt x="524" y="1794"/>
                  </a:lnTo>
                  <a:lnTo>
                    <a:pt x="524" y="1803"/>
                  </a:lnTo>
                  <a:lnTo>
                    <a:pt x="524" y="1822"/>
                  </a:lnTo>
                  <a:lnTo>
                    <a:pt x="521" y="1843"/>
                  </a:lnTo>
                  <a:lnTo>
                    <a:pt x="518" y="1863"/>
                  </a:lnTo>
                  <a:lnTo>
                    <a:pt x="515" y="1884"/>
                  </a:lnTo>
                  <a:lnTo>
                    <a:pt x="514" y="1904"/>
                  </a:lnTo>
                  <a:lnTo>
                    <a:pt x="514" y="1920"/>
                  </a:lnTo>
                  <a:lnTo>
                    <a:pt x="513" y="1945"/>
                  </a:lnTo>
                  <a:lnTo>
                    <a:pt x="511" y="1978"/>
                  </a:lnTo>
                  <a:lnTo>
                    <a:pt x="510" y="1994"/>
                  </a:lnTo>
                  <a:lnTo>
                    <a:pt x="511" y="2008"/>
                  </a:lnTo>
                  <a:lnTo>
                    <a:pt x="512" y="2014"/>
                  </a:lnTo>
                  <a:lnTo>
                    <a:pt x="514" y="2017"/>
                  </a:lnTo>
                  <a:lnTo>
                    <a:pt x="518" y="2021"/>
                  </a:lnTo>
                  <a:lnTo>
                    <a:pt x="521" y="2022"/>
                  </a:lnTo>
                  <a:lnTo>
                    <a:pt x="528" y="2022"/>
                  </a:lnTo>
                  <a:lnTo>
                    <a:pt x="538" y="2019"/>
                  </a:lnTo>
                  <a:lnTo>
                    <a:pt x="548" y="2017"/>
                  </a:lnTo>
                  <a:lnTo>
                    <a:pt x="559" y="2014"/>
                  </a:lnTo>
                  <a:lnTo>
                    <a:pt x="568" y="2010"/>
                  </a:lnTo>
                  <a:lnTo>
                    <a:pt x="577" y="2008"/>
                  </a:lnTo>
                  <a:lnTo>
                    <a:pt x="581" y="2008"/>
                  </a:lnTo>
                  <a:lnTo>
                    <a:pt x="584" y="2008"/>
                  </a:lnTo>
                  <a:lnTo>
                    <a:pt x="586" y="2009"/>
                  </a:lnTo>
                  <a:lnTo>
                    <a:pt x="588" y="2010"/>
                  </a:lnTo>
                  <a:lnTo>
                    <a:pt x="591" y="2017"/>
                  </a:lnTo>
                  <a:lnTo>
                    <a:pt x="593" y="2025"/>
                  </a:lnTo>
                  <a:lnTo>
                    <a:pt x="596" y="2032"/>
                  </a:lnTo>
                  <a:lnTo>
                    <a:pt x="597" y="2040"/>
                  </a:lnTo>
                  <a:lnTo>
                    <a:pt x="597" y="2055"/>
                  </a:lnTo>
                  <a:lnTo>
                    <a:pt x="596" y="2071"/>
                  </a:lnTo>
                  <a:lnTo>
                    <a:pt x="593" y="2087"/>
                  </a:lnTo>
                  <a:lnTo>
                    <a:pt x="589" y="2102"/>
                  </a:lnTo>
                  <a:lnTo>
                    <a:pt x="583" y="2117"/>
                  </a:lnTo>
                  <a:lnTo>
                    <a:pt x="576" y="2133"/>
                  </a:lnTo>
                  <a:lnTo>
                    <a:pt x="561" y="2164"/>
                  </a:lnTo>
                  <a:lnTo>
                    <a:pt x="546" y="2194"/>
                  </a:lnTo>
                  <a:lnTo>
                    <a:pt x="539" y="2208"/>
                  </a:lnTo>
                  <a:lnTo>
                    <a:pt x="533" y="2222"/>
                  </a:lnTo>
                  <a:lnTo>
                    <a:pt x="528" y="2236"/>
                  </a:lnTo>
                  <a:lnTo>
                    <a:pt x="525" y="2250"/>
                  </a:lnTo>
                  <a:lnTo>
                    <a:pt x="511" y="2278"/>
                  </a:lnTo>
                  <a:lnTo>
                    <a:pt x="492" y="2307"/>
                  </a:lnTo>
                  <a:lnTo>
                    <a:pt x="488" y="2315"/>
                  </a:lnTo>
                  <a:lnTo>
                    <a:pt x="485" y="2322"/>
                  </a:lnTo>
                  <a:lnTo>
                    <a:pt x="483" y="2330"/>
                  </a:lnTo>
                  <a:lnTo>
                    <a:pt x="482" y="2337"/>
                  </a:lnTo>
                  <a:lnTo>
                    <a:pt x="482" y="2344"/>
                  </a:lnTo>
                  <a:lnTo>
                    <a:pt x="484" y="2352"/>
                  </a:lnTo>
                  <a:lnTo>
                    <a:pt x="488" y="2358"/>
                  </a:lnTo>
                  <a:lnTo>
                    <a:pt x="493" y="2365"/>
                  </a:lnTo>
                  <a:lnTo>
                    <a:pt x="503" y="2374"/>
                  </a:lnTo>
                  <a:lnTo>
                    <a:pt x="512" y="2384"/>
                  </a:lnTo>
                  <a:lnTo>
                    <a:pt x="520" y="2392"/>
                  </a:lnTo>
                  <a:lnTo>
                    <a:pt x="526" y="2400"/>
                  </a:lnTo>
                  <a:lnTo>
                    <a:pt x="528" y="2405"/>
                  </a:lnTo>
                  <a:lnTo>
                    <a:pt x="529" y="2409"/>
                  </a:lnTo>
                  <a:lnTo>
                    <a:pt x="529" y="2414"/>
                  </a:lnTo>
                  <a:lnTo>
                    <a:pt x="529" y="2419"/>
                  </a:lnTo>
                  <a:lnTo>
                    <a:pt x="528" y="2424"/>
                  </a:lnTo>
                  <a:lnTo>
                    <a:pt x="527" y="2430"/>
                  </a:lnTo>
                  <a:lnTo>
                    <a:pt x="524" y="2437"/>
                  </a:lnTo>
                  <a:lnTo>
                    <a:pt x="520" y="2444"/>
                  </a:lnTo>
                  <a:lnTo>
                    <a:pt x="514" y="2453"/>
                  </a:lnTo>
                  <a:lnTo>
                    <a:pt x="511" y="2463"/>
                  </a:lnTo>
                  <a:lnTo>
                    <a:pt x="508" y="2471"/>
                  </a:lnTo>
                  <a:lnTo>
                    <a:pt x="508" y="2478"/>
                  </a:lnTo>
                  <a:lnTo>
                    <a:pt x="510" y="2484"/>
                  </a:lnTo>
                  <a:lnTo>
                    <a:pt x="512" y="2490"/>
                  </a:lnTo>
                  <a:lnTo>
                    <a:pt x="515" y="2494"/>
                  </a:lnTo>
                  <a:lnTo>
                    <a:pt x="520" y="2500"/>
                  </a:lnTo>
                  <a:lnTo>
                    <a:pt x="528" y="2509"/>
                  </a:lnTo>
                  <a:lnTo>
                    <a:pt x="538" y="2520"/>
                  </a:lnTo>
                  <a:lnTo>
                    <a:pt x="541" y="2527"/>
                  </a:lnTo>
                  <a:lnTo>
                    <a:pt x="543" y="2534"/>
                  </a:lnTo>
                  <a:lnTo>
                    <a:pt x="546" y="2542"/>
                  </a:lnTo>
                  <a:lnTo>
                    <a:pt x="546" y="2551"/>
                  </a:lnTo>
                  <a:lnTo>
                    <a:pt x="545" y="2557"/>
                  </a:lnTo>
                  <a:lnTo>
                    <a:pt x="541" y="2563"/>
                  </a:lnTo>
                  <a:lnTo>
                    <a:pt x="535" y="2570"/>
                  </a:lnTo>
                  <a:lnTo>
                    <a:pt x="529" y="2576"/>
                  </a:lnTo>
                  <a:lnTo>
                    <a:pt x="517" y="2587"/>
                  </a:lnTo>
                  <a:lnTo>
                    <a:pt x="507" y="2597"/>
                  </a:lnTo>
                  <a:lnTo>
                    <a:pt x="501" y="2605"/>
                  </a:lnTo>
                  <a:lnTo>
                    <a:pt x="496" y="2616"/>
                  </a:lnTo>
                  <a:lnTo>
                    <a:pt x="490" y="2630"/>
                  </a:lnTo>
                  <a:lnTo>
                    <a:pt x="485" y="2646"/>
                  </a:lnTo>
                  <a:lnTo>
                    <a:pt x="476" y="2675"/>
                  </a:lnTo>
                  <a:lnTo>
                    <a:pt x="470" y="2697"/>
                  </a:lnTo>
                  <a:lnTo>
                    <a:pt x="497" y="2716"/>
                  </a:lnTo>
                  <a:lnTo>
                    <a:pt x="524" y="2735"/>
                  </a:lnTo>
                  <a:lnTo>
                    <a:pt x="538" y="2743"/>
                  </a:lnTo>
                  <a:lnTo>
                    <a:pt x="550" y="2750"/>
                  </a:lnTo>
                  <a:lnTo>
                    <a:pt x="564" y="2756"/>
                  </a:lnTo>
                  <a:lnTo>
                    <a:pt x="577" y="2762"/>
                  </a:lnTo>
                  <a:lnTo>
                    <a:pt x="598" y="2770"/>
                  </a:lnTo>
                  <a:lnTo>
                    <a:pt x="617" y="2776"/>
                  </a:lnTo>
                  <a:lnTo>
                    <a:pt x="626" y="2778"/>
                  </a:lnTo>
                  <a:lnTo>
                    <a:pt x="635" y="2779"/>
                  </a:lnTo>
                  <a:lnTo>
                    <a:pt x="643" y="2779"/>
                  </a:lnTo>
                  <a:lnTo>
                    <a:pt x="653" y="2779"/>
                  </a:lnTo>
                  <a:lnTo>
                    <a:pt x="661" y="2779"/>
                  </a:lnTo>
                  <a:lnTo>
                    <a:pt x="669" y="2777"/>
                  </a:lnTo>
                  <a:lnTo>
                    <a:pt x="677" y="2775"/>
                  </a:lnTo>
                  <a:lnTo>
                    <a:pt x="687" y="2771"/>
                  </a:lnTo>
                  <a:lnTo>
                    <a:pt x="695" y="2767"/>
                  </a:lnTo>
                  <a:lnTo>
                    <a:pt x="704" y="2761"/>
                  </a:lnTo>
                  <a:lnTo>
                    <a:pt x="713" y="2754"/>
                  </a:lnTo>
                  <a:lnTo>
                    <a:pt x="723" y="2747"/>
                  </a:lnTo>
                  <a:lnTo>
                    <a:pt x="730" y="2742"/>
                  </a:lnTo>
                  <a:lnTo>
                    <a:pt x="737" y="2737"/>
                  </a:lnTo>
                  <a:lnTo>
                    <a:pt x="745" y="2735"/>
                  </a:lnTo>
                  <a:lnTo>
                    <a:pt x="754" y="2733"/>
                  </a:lnTo>
                  <a:lnTo>
                    <a:pt x="772" y="2729"/>
                  </a:lnTo>
                  <a:lnTo>
                    <a:pt x="788" y="2726"/>
                  </a:lnTo>
                  <a:lnTo>
                    <a:pt x="799" y="2722"/>
                  </a:lnTo>
                  <a:lnTo>
                    <a:pt x="811" y="2716"/>
                  </a:lnTo>
                  <a:lnTo>
                    <a:pt x="825" y="2708"/>
                  </a:lnTo>
                  <a:lnTo>
                    <a:pt x="839" y="2700"/>
                  </a:lnTo>
                  <a:lnTo>
                    <a:pt x="854" y="2690"/>
                  </a:lnTo>
                  <a:lnTo>
                    <a:pt x="868" y="2678"/>
                  </a:lnTo>
                  <a:lnTo>
                    <a:pt x="883" y="2666"/>
                  </a:lnTo>
                  <a:lnTo>
                    <a:pt x="898" y="2652"/>
                  </a:lnTo>
                  <a:lnTo>
                    <a:pt x="912" y="2640"/>
                  </a:lnTo>
                  <a:lnTo>
                    <a:pt x="925" y="2626"/>
                  </a:lnTo>
                  <a:lnTo>
                    <a:pt x="938" y="2612"/>
                  </a:lnTo>
                  <a:lnTo>
                    <a:pt x="950" y="2598"/>
                  </a:lnTo>
                  <a:lnTo>
                    <a:pt x="959" y="2585"/>
                  </a:lnTo>
                  <a:lnTo>
                    <a:pt x="967" y="2572"/>
                  </a:lnTo>
                  <a:lnTo>
                    <a:pt x="974" y="2561"/>
                  </a:lnTo>
                  <a:lnTo>
                    <a:pt x="978" y="2549"/>
                  </a:lnTo>
                  <a:lnTo>
                    <a:pt x="983" y="2524"/>
                  </a:lnTo>
                  <a:lnTo>
                    <a:pt x="987" y="2495"/>
                  </a:lnTo>
                  <a:lnTo>
                    <a:pt x="990" y="2463"/>
                  </a:lnTo>
                  <a:lnTo>
                    <a:pt x="993" y="2430"/>
                  </a:lnTo>
                  <a:lnTo>
                    <a:pt x="997" y="2396"/>
                  </a:lnTo>
                  <a:lnTo>
                    <a:pt x="1003" y="2366"/>
                  </a:lnTo>
                  <a:lnTo>
                    <a:pt x="1007" y="2353"/>
                  </a:lnTo>
                  <a:lnTo>
                    <a:pt x="1010" y="2341"/>
                  </a:lnTo>
                  <a:lnTo>
                    <a:pt x="1016" y="2330"/>
                  </a:lnTo>
                  <a:lnTo>
                    <a:pt x="1022" y="2321"/>
                  </a:lnTo>
                  <a:lnTo>
                    <a:pt x="1046" y="2305"/>
                  </a:lnTo>
                  <a:lnTo>
                    <a:pt x="1071" y="2285"/>
                  </a:lnTo>
                  <a:lnTo>
                    <a:pt x="1083" y="2275"/>
                  </a:lnTo>
                  <a:lnTo>
                    <a:pt x="1096" y="2267"/>
                  </a:lnTo>
                  <a:lnTo>
                    <a:pt x="1109" y="2260"/>
                  </a:lnTo>
                  <a:lnTo>
                    <a:pt x="1123" y="2256"/>
                  </a:lnTo>
                  <a:lnTo>
                    <a:pt x="1407" y="2175"/>
                  </a:lnTo>
                  <a:lnTo>
                    <a:pt x="1419" y="2172"/>
                  </a:lnTo>
                  <a:lnTo>
                    <a:pt x="1432" y="2171"/>
                  </a:lnTo>
                  <a:lnTo>
                    <a:pt x="1444" y="2170"/>
                  </a:lnTo>
                  <a:lnTo>
                    <a:pt x="1456" y="2170"/>
                  </a:lnTo>
                  <a:lnTo>
                    <a:pt x="1469" y="2170"/>
                  </a:lnTo>
                  <a:lnTo>
                    <a:pt x="1480" y="2172"/>
                  </a:lnTo>
                  <a:lnTo>
                    <a:pt x="1493" y="2173"/>
                  </a:lnTo>
                  <a:lnTo>
                    <a:pt x="1505" y="2177"/>
                  </a:lnTo>
                  <a:lnTo>
                    <a:pt x="1529" y="2182"/>
                  </a:lnTo>
                  <a:lnTo>
                    <a:pt x="1553" y="2189"/>
                  </a:lnTo>
                  <a:lnTo>
                    <a:pt x="1576" y="2196"/>
                  </a:lnTo>
                  <a:lnTo>
                    <a:pt x="1598" y="2202"/>
                  </a:lnTo>
                  <a:lnTo>
                    <a:pt x="1594" y="2192"/>
                  </a:lnTo>
                  <a:lnTo>
                    <a:pt x="1590" y="2182"/>
                  </a:lnTo>
                  <a:lnTo>
                    <a:pt x="1584" y="2175"/>
                  </a:lnTo>
                  <a:lnTo>
                    <a:pt x="1577" y="2170"/>
                  </a:lnTo>
                  <a:lnTo>
                    <a:pt x="1570" y="2166"/>
                  </a:lnTo>
                  <a:lnTo>
                    <a:pt x="1562" y="2163"/>
                  </a:lnTo>
                  <a:lnTo>
                    <a:pt x="1553" y="2161"/>
                  </a:lnTo>
                  <a:lnTo>
                    <a:pt x="1543" y="2160"/>
                  </a:lnTo>
                  <a:lnTo>
                    <a:pt x="1505" y="2161"/>
                  </a:lnTo>
                  <a:lnTo>
                    <a:pt x="1470" y="2160"/>
                  </a:lnTo>
                  <a:lnTo>
                    <a:pt x="1458" y="2159"/>
                  </a:lnTo>
                  <a:lnTo>
                    <a:pt x="1449" y="2156"/>
                  </a:lnTo>
                  <a:lnTo>
                    <a:pt x="1439" y="2152"/>
                  </a:lnTo>
                  <a:lnTo>
                    <a:pt x="1430" y="2149"/>
                  </a:lnTo>
                  <a:lnTo>
                    <a:pt x="1423" y="2144"/>
                  </a:lnTo>
                  <a:lnTo>
                    <a:pt x="1416" y="2138"/>
                  </a:lnTo>
                  <a:lnTo>
                    <a:pt x="1409" y="2132"/>
                  </a:lnTo>
                  <a:lnTo>
                    <a:pt x="1405" y="2126"/>
                  </a:lnTo>
                  <a:lnTo>
                    <a:pt x="1400" y="2121"/>
                  </a:lnTo>
                  <a:lnTo>
                    <a:pt x="1395" y="2114"/>
                  </a:lnTo>
                  <a:lnTo>
                    <a:pt x="1392" y="2106"/>
                  </a:lnTo>
                  <a:lnTo>
                    <a:pt x="1390" y="2099"/>
                  </a:lnTo>
                  <a:lnTo>
                    <a:pt x="1387" y="2090"/>
                  </a:lnTo>
                  <a:lnTo>
                    <a:pt x="1386" y="2082"/>
                  </a:lnTo>
                  <a:lnTo>
                    <a:pt x="1386" y="2074"/>
                  </a:lnTo>
                  <a:lnTo>
                    <a:pt x="1385" y="2065"/>
                  </a:lnTo>
                  <a:lnTo>
                    <a:pt x="1386" y="2047"/>
                  </a:lnTo>
                  <a:lnTo>
                    <a:pt x="1390" y="2030"/>
                  </a:lnTo>
                  <a:lnTo>
                    <a:pt x="1394" y="2012"/>
                  </a:lnTo>
                  <a:lnTo>
                    <a:pt x="1401" y="1995"/>
                  </a:lnTo>
                  <a:lnTo>
                    <a:pt x="1408" y="1978"/>
                  </a:lnTo>
                  <a:lnTo>
                    <a:pt x="1418" y="1962"/>
                  </a:lnTo>
                  <a:lnTo>
                    <a:pt x="1428" y="1947"/>
                  </a:lnTo>
                  <a:lnTo>
                    <a:pt x="1439" y="1933"/>
                  </a:lnTo>
                  <a:lnTo>
                    <a:pt x="1463" y="1904"/>
                  </a:lnTo>
                  <a:lnTo>
                    <a:pt x="1490" y="1869"/>
                  </a:lnTo>
                  <a:lnTo>
                    <a:pt x="1515" y="1833"/>
                  </a:lnTo>
                  <a:lnTo>
                    <a:pt x="1535" y="1802"/>
                  </a:lnTo>
                  <a:lnTo>
                    <a:pt x="1540" y="1792"/>
                  </a:lnTo>
                  <a:lnTo>
                    <a:pt x="1543" y="1783"/>
                  </a:lnTo>
                  <a:lnTo>
                    <a:pt x="1544" y="1774"/>
                  </a:lnTo>
                  <a:lnTo>
                    <a:pt x="1546" y="1765"/>
                  </a:lnTo>
                  <a:lnTo>
                    <a:pt x="1544" y="1746"/>
                  </a:lnTo>
                  <a:lnTo>
                    <a:pt x="1543" y="1728"/>
                  </a:lnTo>
                  <a:lnTo>
                    <a:pt x="1542" y="1720"/>
                  </a:lnTo>
                  <a:lnTo>
                    <a:pt x="1543" y="1711"/>
                  </a:lnTo>
                  <a:lnTo>
                    <a:pt x="1544" y="1703"/>
                  </a:lnTo>
                  <a:lnTo>
                    <a:pt x="1547" y="1694"/>
                  </a:lnTo>
                  <a:lnTo>
                    <a:pt x="1550" y="1685"/>
                  </a:lnTo>
                  <a:lnTo>
                    <a:pt x="1556" y="1677"/>
                  </a:lnTo>
                  <a:lnTo>
                    <a:pt x="1563" y="1669"/>
                  </a:lnTo>
                  <a:lnTo>
                    <a:pt x="1574" y="1661"/>
                  </a:lnTo>
                  <a:lnTo>
                    <a:pt x="1583" y="1661"/>
                  </a:lnTo>
                  <a:lnTo>
                    <a:pt x="1593" y="1660"/>
                  </a:lnTo>
                  <a:lnTo>
                    <a:pt x="1603" y="1656"/>
                  </a:lnTo>
                  <a:lnTo>
                    <a:pt x="1612" y="1653"/>
                  </a:lnTo>
                  <a:lnTo>
                    <a:pt x="1629" y="1642"/>
                  </a:lnTo>
                  <a:lnTo>
                    <a:pt x="1648" y="1631"/>
                  </a:lnTo>
                  <a:lnTo>
                    <a:pt x="1657" y="1625"/>
                  </a:lnTo>
                  <a:lnTo>
                    <a:pt x="1667" y="1620"/>
                  </a:lnTo>
                  <a:lnTo>
                    <a:pt x="1677" y="1616"/>
                  </a:lnTo>
                  <a:lnTo>
                    <a:pt x="1688" y="1612"/>
                  </a:lnTo>
                  <a:lnTo>
                    <a:pt x="1698" y="1611"/>
                  </a:lnTo>
                  <a:lnTo>
                    <a:pt x="1710" y="1611"/>
                  </a:lnTo>
                  <a:lnTo>
                    <a:pt x="1723" y="1612"/>
                  </a:lnTo>
                  <a:lnTo>
                    <a:pt x="1735" y="1617"/>
                  </a:lnTo>
                  <a:lnTo>
                    <a:pt x="1759" y="1623"/>
                  </a:lnTo>
                  <a:lnTo>
                    <a:pt x="1787" y="1627"/>
                  </a:lnTo>
                  <a:lnTo>
                    <a:pt x="1799" y="1631"/>
                  </a:lnTo>
                  <a:lnTo>
                    <a:pt x="1812" y="1633"/>
                  </a:lnTo>
                  <a:lnTo>
                    <a:pt x="1823" y="1637"/>
                  </a:lnTo>
                  <a:lnTo>
                    <a:pt x="1831" y="1641"/>
                  </a:lnTo>
                  <a:lnTo>
                    <a:pt x="1839" y="1647"/>
                  </a:lnTo>
                  <a:lnTo>
                    <a:pt x="1847" y="1651"/>
                  </a:lnTo>
                  <a:lnTo>
                    <a:pt x="1854" y="1652"/>
                  </a:lnTo>
                  <a:lnTo>
                    <a:pt x="1860" y="1651"/>
                  </a:lnTo>
                  <a:lnTo>
                    <a:pt x="1862" y="1649"/>
                  </a:lnTo>
                  <a:lnTo>
                    <a:pt x="1863" y="1647"/>
                  </a:lnTo>
                  <a:lnTo>
                    <a:pt x="1865" y="1645"/>
                  </a:lnTo>
                  <a:lnTo>
                    <a:pt x="1866" y="1641"/>
                  </a:lnTo>
                  <a:lnTo>
                    <a:pt x="1863" y="1633"/>
                  </a:lnTo>
                  <a:lnTo>
                    <a:pt x="1860" y="1621"/>
                  </a:lnTo>
                  <a:lnTo>
                    <a:pt x="1856" y="1614"/>
                  </a:lnTo>
                  <a:lnTo>
                    <a:pt x="1855" y="1607"/>
                  </a:lnTo>
                  <a:lnTo>
                    <a:pt x="1854" y="1598"/>
                  </a:lnTo>
                  <a:lnTo>
                    <a:pt x="1853" y="1589"/>
                  </a:lnTo>
                  <a:lnTo>
                    <a:pt x="1853" y="1567"/>
                  </a:lnTo>
                  <a:lnTo>
                    <a:pt x="1853" y="1542"/>
                  </a:lnTo>
                  <a:lnTo>
                    <a:pt x="1856" y="1495"/>
                  </a:lnTo>
                  <a:lnTo>
                    <a:pt x="1859" y="1457"/>
                  </a:lnTo>
                  <a:lnTo>
                    <a:pt x="1859" y="1358"/>
                  </a:lnTo>
                  <a:lnTo>
                    <a:pt x="1852" y="1360"/>
                  </a:lnTo>
                  <a:lnTo>
                    <a:pt x="1845" y="1363"/>
                  </a:lnTo>
                  <a:lnTo>
                    <a:pt x="1835" y="1368"/>
                  </a:lnTo>
                  <a:lnTo>
                    <a:pt x="1827" y="1372"/>
                  </a:lnTo>
                  <a:lnTo>
                    <a:pt x="1818" y="1377"/>
                  </a:lnTo>
                  <a:lnTo>
                    <a:pt x="1811" y="1379"/>
                  </a:lnTo>
                  <a:lnTo>
                    <a:pt x="1808" y="1381"/>
                  </a:lnTo>
                  <a:lnTo>
                    <a:pt x="1805" y="1381"/>
                  </a:lnTo>
                  <a:lnTo>
                    <a:pt x="1803" y="1381"/>
                  </a:lnTo>
                  <a:lnTo>
                    <a:pt x="1802" y="1378"/>
                  </a:lnTo>
                  <a:lnTo>
                    <a:pt x="1802" y="1375"/>
                  </a:lnTo>
                  <a:lnTo>
                    <a:pt x="1805" y="1367"/>
                  </a:lnTo>
                  <a:lnTo>
                    <a:pt x="1811" y="1356"/>
                  </a:lnTo>
                  <a:lnTo>
                    <a:pt x="1817" y="1346"/>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sz="1200" dirty="0"/>
            </a:p>
          </p:txBody>
        </p:sp>
        <p:sp>
          <p:nvSpPr>
            <p:cNvPr id="28" name="Freeform 97"/>
            <p:cNvSpPr>
              <a:spLocks/>
            </p:cNvSpPr>
            <p:nvPr/>
          </p:nvSpPr>
          <p:spPr bwMode="auto">
            <a:xfrm>
              <a:off x="3628141" y="4577505"/>
              <a:ext cx="107204" cy="160805"/>
            </a:xfrm>
            <a:custGeom>
              <a:avLst/>
              <a:gdLst>
                <a:gd name="T0" fmla="*/ 54 w 322"/>
                <a:gd name="T1" fmla="*/ 17 h 480"/>
                <a:gd name="T2" fmla="*/ 75 w 322"/>
                <a:gd name="T3" fmla="*/ 1 h 480"/>
                <a:gd name="T4" fmla="*/ 83 w 322"/>
                <a:gd name="T5" fmla="*/ 0 h 480"/>
                <a:gd name="T6" fmla="*/ 102 w 322"/>
                <a:gd name="T7" fmla="*/ 18 h 480"/>
                <a:gd name="T8" fmla="*/ 123 w 322"/>
                <a:gd name="T9" fmla="*/ 58 h 480"/>
                <a:gd name="T10" fmla="*/ 140 w 322"/>
                <a:gd name="T11" fmla="*/ 89 h 480"/>
                <a:gd name="T12" fmla="*/ 155 w 322"/>
                <a:gd name="T13" fmla="*/ 105 h 480"/>
                <a:gd name="T14" fmla="*/ 176 w 322"/>
                <a:gd name="T15" fmla="*/ 112 h 480"/>
                <a:gd name="T16" fmla="*/ 199 w 322"/>
                <a:gd name="T17" fmla="*/ 105 h 480"/>
                <a:gd name="T18" fmla="*/ 214 w 322"/>
                <a:gd name="T19" fmla="*/ 88 h 480"/>
                <a:gd name="T20" fmla="*/ 231 w 322"/>
                <a:gd name="T21" fmla="*/ 57 h 480"/>
                <a:gd name="T22" fmla="*/ 248 w 322"/>
                <a:gd name="T23" fmla="*/ 34 h 480"/>
                <a:gd name="T24" fmla="*/ 264 w 322"/>
                <a:gd name="T25" fmla="*/ 47 h 480"/>
                <a:gd name="T26" fmla="*/ 276 w 322"/>
                <a:gd name="T27" fmla="*/ 103 h 480"/>
                <a:gd name="T28" fmla="*/ 274 w 322"/>
                <a:gd name="T29" fmla="*/ 140 h 480"/>
                <a:gd name="T30" fmla="*/ 276 w 322"/>
                <a:gd name="T31" fmla="*/ 167 h 480"/>
                <a:gd name="T32" fmla="*/ 288 w 322"/>
                <a:gd name="T33" fmla="*/ 190 h 480"/>
                <a:gd name="T34" fmla="*/ 311 w 322"/>
                <a:gd name="T35" fmla="*/ 220 h 480"/>
                <a:gd name="T36" fmla="*/ 322 w 322"/>
                <a:gd name="T37" fmla="*/ 246 h 480"/>
                <a:gd name="T38" fmla="*/ 319 w 322"/>
                <a:gd name="T39" fmla="*/ 255 h 480"/>
                <a:gd name="T40" fmla="*/ 298 w 322"/>
                <a:gd name="T41" fmla="*/ 263 h 480"/>
                <a:gd name="T42" fmla="*/ 286 w 322"/>
                <a:gd name="T43" fmla="*/ 267 h 480"/>
                <a:gd name="T44" fmla="*/ 288 w 322"/>
                <a:gd name="T45" fmla="*/ 273 h 480"/>
                <a:gd name="T46" fmla="*/ 296 w 322"/>
                <a:gd name="T47" fmla="*/ 281 h 480"/>
                <a:gd name="T48" fmla="*/ 307 w 322"/>
                <a:gd name="T49" fmla="*/ 309 h 480"/>
                <a:gd name="T50" fmla="*/ 311 w 322"/>
                <a:gd name="T51" fmla="*/ 334 h 480"/>
                <a:gd name="T52" fmla="*/ 256 w 322"/>
                <a:gd name="T53" fmla="*/ 473 h 480"/>
                <a:gd name="T54" fmla="*/ 244 w 322"/>
                <a:gd name="T55" fmla="*/ 474 h 480"/>
                <a:gd name="T56" fmla="*/ 227 w 322"/>
                <a:gd name="T57" fmla="*/ 480 h 480"/>
                <a:gd name="T58" fmla="*/ 215 w 322"/>
                <a:gd name="T59" fmla="*/ 479 h 480"/>
                <a:gd name="T60" fmla="*/ 198 w 322"/>
                <a:gd name="T61" fmla="*/ 470 h 480"/>
                <a:gd name="T62" fmla="*/ 191 w 322"/>
                <a:gd name="T63" fmla="*/ 459 h 480"/>
                <a:gd name="T64" fmla="*/ 182 w 322"/>
                <a:gd name="T65" fmla="*/ 432 h 480"/>
                <a:gd name="T66" fmla="*/ 168 w 322"/>
                <a:gd name="T67" fmla="*/ 409 h 480"/>
                <a:gd name="T68" fmla="*/ 147 w 322"/>
                <a:gd name="T69" fmla="*/ 388 h 480"/>
                <a:gd name="T70" fmla="*/ 136 w 322"/>
                <a:gd name="T71" fmla="*/ 366 h 480"/>
                <a:gd name="T72" fmla="*/ 130 w 322"/>
                <a:gd name="T73" fmla="*/ 332 h 480"/>
                <a:gd name="T74" fmla="*/ 132 w 322"/>
                <a:gd name="T75" fmla="*/ 273 h 480"/>
                <a:gd name="T76" fmla="*/ 125 w 322"/>
                <a:gd name="T77" fmla="*/ 254 h 480"/>
                <a:gd name="T78" fmla="*/ 98 w 322"/>
                <a:gd name="T79" fmla="*/ 231 h 480"/>
                <a:gd name="T80" fmla="*/ 68 w 322"/>
                <a:gd name="T81" fmla="*/ 214 h 480"/>
                <a:gd name="T82" fmla="*/ 100 w 322"/>
                <a:gd name="T83" fmla="*/ 202 h 480"/>
                <a:gd name="T84" fmla="*/ 104 w 322"/>
                <a:gd name="T85" fmla="*/ 196 h 480"/>
                <a:gd name="T86" fmla="*/ 82 w 322"/>
                <a:gd name="T87" fmla="*/ 183 h 480"/>
                <a:gd name="T88" fmla="*/ 61 w 322"/>
                <a:gd name="T89" fmla="*/ 169 h 480"/>
                <a:gd name="T90" fmla="*/ 23 w 322"/>
                <a:gd name="T91" fmla="*/ 106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2" h="480">
                  <a:moveTo>
                    <a:pt x="0" y="50"/>
                  </a:moveTo>
                  <a:lnTo>
                    <a:pt x="42" y="20"/>
                  </a:lnTo>
                  <a:lnTo>
                    <a:pt x="54" y="17"/>
                  </a:lnTo>
                  <a:lnTo>
                    <a:pt x="62" y="11"/>
                  </a:lnTo>
                  <a:lnTo>
                    <a:pt x="69" y="6"/>
                  </a:lnTo>
                  <a:lnTo>
                    <a:pt x="75" y="1"/>
                  </a:lnTo>
                  <a:lnTo>
                    <a:pt x="77" y="0"/>
                  </a:lnTo>
                  <a:lnTo>
                    <a:pt x="79" y="0"/>
                  </a:lnTo>
                  <a:lnTo>
                    <a:pt x="83" y="0"/>
                  </a:lnTo>
                  <a:lnTo>
                    <a:pt x="85" y="1"/>
                  </a:lnTo>
                  <a:lnTo>
                    <a:pt x="93" y="7"/>
                  </a:lnTo>
                  <a:lnTo>
                    <a:pt x="102" y="18"/>
                  </a:lnTo>
                  <a:lnTo>
                    <a:pt x="111" y="29"/>
                  </a:lnTo>
                  <a:lnTo>
                    <a:pt x="118" y="43"/>
                  </a:lnTo>
                  <a:lnTo>
                    <a:pt x="123" y="58"/>
                  </a:lnTo>
                  <a:lnTo>
                    <a:pt x="132" y="75"/>
                  </a:lnTo>
                  <a:lnTo>
                    <a:pt x="135" y="82"/>
                  </a:lnTo>
                  <a:lnTo>
                    <a:pt x="140" y="89"/>
                  </a:lnTo>
                  <a:lnTo>
                    <a:pt x="144" y="95"/>
                  </a:lnTo>
                  <a:lnTo>
                    <a:pt x="149" y="100"/>
                  </a:lnTo>
                  <a:lnTo>
                    <a:pt x="155" y="105"/>
                  </a:lnTo>
                  <a:lnTo>
                    <a:pt x="162" y="108"/>
                  </a:lnTo>
                  <a:lnTo>
                    <a:pt x="169" y="111"/>
                  </a:lnTo>
                  <a:lnTo>
                    <a:pt x="176" y="112"/>
                  </a:lnTo>
                  <a:lnTo>
                    <a:pt x="185" y="111"/>
                  </a:lnTo>
                  <a:lnTo>
                    <a:pt x="192" y="108"/>
                  </a:lnTo>
                  <a:lnTo>
                    <a:pt x="199" y="105"/>
                  </a:lnTo>
                  <a:lnTo>
                    <a:pt x="205" y="100"/>
                  </a:lnTo>
                  <a:lnTo>
                    <a:pt x="210" y="95"/>
                  </a:lnTo>
                  <a:lnTo>
                    <a:pt x="214" y="88"/>
                  </a:lnTo>
                  <a:lnTo>
                    <a:pt x="219" y="79"/>
                  </a:lnTo>
                  <a:lnTo>
                    <a:pt x="222" y="72"/>
                  </a:lnTo>
                  <a:lnTo>
                    <a:pt x="231" y="57"/>
                  </a:lnTo>
                  <a:lnTo>
                    <a:pt x="239" y="43"/>
                  </a:lnTo>
                  <a:lnTo>
                    <a:pt x="243" y="37"/>
                  </a:lnTo>
                  <a:lnTo>
                    <a:pt x="248" y="34"/>
                  </a:lnTo>
                  <a:lnTo>
                    <a:pt x="255" y="32"/>
                  </a:lnTo>
                  <a:lnTo>
                    <a:pt x="262" y="30"/>
                  </a:lnTo>
                  <a:lnTo>
                    <a:pt x="264" y="47"/>
                  </a:lnTo>
                  <a:lnTo>
                    <a:pt x="269" y="67"/>
                  </a:lnTo>
                  <a:lnTo>
                    <a:pt x="274" y="88"/>
                  </a:lnTo>
                  <a:lnTo>
                    <a:pt x="276" y="103"/>
                  </a:lnTo>
                  <a:lnTo>
                    <a:pt x="275" y="115"/>
                  </a:lnTo>
                  <a:lnTo>
                    <a:pt x="275" y="127"/>
                  </a:lnTo>
                  <a:lnTo>
                    <a:pt x="274" y="140"/>
                  </a:lnTo>
                  <a:lnTo>
                    <a:pt x="274" y="153"/>
                  </a:lnTo>
                  <a:lnTo>
                    <a:pt x="275" y="160"/>
                  </a:lnTo>
                  <a:lnTo>
                    <a:pt x="276" y="167"/>
                  </a:lnTo>
                  <a:lnTo>
                    <a:pt x="278" y="174"/>
                  </a:lnTo>
                  <a:lnTo>
                    <a:pt x="281" y="179"/>
                  </a:lnTo>
                  <a:lnTo>
                    <a:pt x="288" y="190"/>
                  </a:lnTo>
                  <a:lnTo>
                    <a:pt x="296" y="200"/>
                  </a:lnTo>
                  <a:lnTo>
                    <a:pt x="304" y="210"/>
                  </a:lnTo>
                  <a:lnTo>
                    <a:pt x="311" y="220"/>
                  </a:lnTo>
                  <a:lnTo>
                    <a:pt x="318" y="229"/>
                  </a:lnTo>
                  <a:lnTo>
                    <a:pt x="322" y="241"/>
                  </a:lnTo>
                  <a:lnTo>
                    <a:pt x="322" y="246"/>
                  </a:lnTo>
                  <a:lnTo>
                    <a:pt x="322" y="249"/>
                  </a:lnTo>
                  <a:lnTo>
                    <a:pt x="321" y="253"/>
                  </a:lnTo>
                  <a:lnTo>
                    <a:pt x="319" y="255"/>
                  </a:lnTo>
                  <a:lnTo>
                    <a:pt x="313" y="259"/>
                  </a:lnTo>
                  <a:lnTo>
                    <a:pt x="306" y="261"/>
                  </a:lnTo>
                  <a:lnTo>
                    <a:pt x="298" y="263"/>
                  </a:lnTo>
                  <a:lnTo>
                    <a:pt x="291" y="264"/>
                  </a:lnTo>
                  <a:lnTo>
                    <a:pt x="289" y="266"/>
                  </a:lnTo>
                  <a:lnTo>
                    <a:pt x="286" y="267"/>
                  </a:lnTo>
                  <a:lnTo>
                    <a:pt x="285" y="269"/>
                  </a:lnTo>
                  <a:lnTo>
                    <a:pt x="284" y="271"/>
                  </a:lnTo>
                  <a:lnTo>
                    <a:pt x="288" y="273"/>
                  </a:lnTo>
                  <a:lnTo>
                    <a:pt x="290" y="274"/>
                  </a:lnTo>
                  <a:lnTo>
                    <a:pt x="292" y="277"/>
                  </a:lnTo>
                  <a:lnTo>
                    <a:pt x="296" y="281"/>
                  </a:lnTo>
                  <a:lnTo>
                    <a:pt x="300" y="289"/>
                  </a:lnTo>
                  <a:lnTo>
                    <a:pt x="304" y="298"/>
                  </a:lnTo>
                  <a:lnTo>
                    <a:pt x="307" y="309"/>
                  </a:lnTo>
                  <a:lnTo>
                    <a:pt x="310" y="319"/>
                  </a:lnTo>
                  <a:lnTo>
                    <a:pt x="312" y="327"/>
                  </a:lnTo>
                  <a:lnTo>
                    <a:pt x="311" y="334"/>
                  </a:lnTo>
                  <a:lnTo>
                    <a:pt x="293" y="433"/>
                  </a:lnTo>
                  <a:lnTo>
                    <a:pt x="257" y="475"/>
                  </a:lnTo>
                  <a:lnTo>
                    <a:pt x="256" y="473"/>
                  </a:lnTo>
                  <a:lnTo>
                    <a:pt x="253" y="473"/>
                  </a:lnTo>
                  <a:lnTo>
                    <a:pt x="249" y="473"/>
                  </a:lnTo>
                  <a:lnTo>
                    <a:pt x="244" y="474"/>
                  </a:lnTo>
                  <a:lnTo>
                    <a:pt x="236" y="476"/>
                  </a:lnTo>
                  <a:lnTo>
                    <a:pt x="232" y="479"/>
                  </a:lnTo>
                  <a:lnTo>
                    <a:pt x="227" y="480"/>
                  </a:lnTo>
                  <a:lnTo>
                    <a:pt x="224" y="480"/>
                  </a:lnTo>
                  <a:lnTo>
                    <a:pt x="220" y="480"/>
                  </a:lnTo>
                  <a:lnTo>
                    <a:pt x="215" y="479"/>
                  </a:lnTo>
                  <a:lnTo>
                    <a:pt x="207" y="476"/>
                  </a:lnTo>
                  <a:lnTo>
                    <a:pt x="201" y="473"/>
                  </a:lnTo>
                  <a:lnTo>
                    <a:pt x="198" y="470"/>
                  </a:lnTo>
                  <a:lnTo>
                    <a:pt x="194" y="467"/>
                  </a:lnTo>
                  <a:lnTo>
                    <a:pt x="192" y="463"/>
                  </a:lnTo>
                  <a:lnTo>
                    <a:pt x="191" y="459"/>
                  </a:lnTo>
                  <a:lnTo>
                    <a:pt x="187" y="451"/>
                  </a:lnTo>
                  <a:lnTo>
                    <a:pt x="184" y="441"/>
                  </a:lnTo>
                  <a:lnTo>
                    <a:pt x="182" y="432"/>
                  </a:lnTo>
                  <a:lnTo>
                    <a:pt x="178" y="423"/>
                  </a:lnTo>
                  <a:lnTo>
                    <a:pt x="175" y="416"/>
                  </a:lnTo>
                  <a:lnTo>
                    <a:pt x="168" y="409"/>
                  </a:lnTo>
                  <a:lnTo>
                    <a:pt x="160" y="402"/>
                  </a:lnTo>
                  <a:lnTo>
                    <a:pt x="153" y="395"/>
                  </a:lnTo>
                  <a:lnTo>
                    <a:pt x="147" y="388"/>
                  </a:lnTo>
                  <a:lnTo>
                    <a:pt x="142" y="381"/>
                  </a:lnTo>
                  <a:lnTo>
                    <a:pt x="139" y="374"/>
                  </a:lnTo>
                  <a:lnTo>
                    <a:pt x="136" y="366"/>
                  </a:lnTo>
                  <a:lnTo>
                    <a:pt x="134" y="358"/>
                  </a:lnTo>
                  <a:lnTo>
                    <a:pt x="132" y="349"/>
                  </a:lnTo>
                  <a:lnTo>
                    <a:pt x="130" y="332"/>
                  </a:lnTo>
                  <a:lnTo>
                    <a:pt x="130" y="313"/>
                  </a:lnTo>
                  <a:lnTo>
                    <a:pt x="130" y="294"/>
                  </a:lnTo>
                  <a:lnTo>
                    <a:pt x="132" y="273"/>
                  </a:lnTo>
                  <a:lnTo>
                    <a:pt x="130" y="266"/>
                  </a:lnTo>
                  <a:lnTo>
                    <a:pt x="128" y="260"/>
                  </a:lnTo>
                  <a:lnTo>
                    <a:pt x="125" y="254"/>
                  </a:lnTo>
                  <a:lnTo>
                    <a:pt x="121" y="248"/>
                  </a:lnTo>
                  <a:lnTo>
                    <a:pt x="111" y="239"/>
                  </a:lnTo>
                  <a:lnTo>
                    <a:pt x="98" y="231"/>
                  </a:lnTo>
                  <a:lnTo>
                    <a:pt x="86" y="225"/>
                  </a:lnTo>
                  <a:lnTo>
                    <a:pt x="76" y="219"/>
                  </a:lnTo>
                  <a:lnTo>
                    <a:pt x="68" y="214"/>
                  </a:lnTo>
                  <a:lnTo>
                    <a:pt x="65" y="212"/>
                  </a:lnTo>
                  <a:lnTo>
                    <a:pt x="87" y="205"/>
                  </a:lnTo>
                  <a:lnTo>
                    <a:pt x="100" y="202"/>
                  </a:lnTo>
                  <a:lnTo>
                    <a:pt x="104" y="199"/>
                  </a:lnTo>
                  <a:lnTo>
                    <a:pt x="105" y="198"/>
                  </a:lnTo>
                  <a:lnTo>
                    <a:pt x="104" y="196"/>
                  </a:lnTo>
                  <a:lnTo>
                    <a:pt x="101" y="195"/>
                  </a:lnTo>
                  <a:lnTo>
                    <a:pt x="94" y="190"/>
                  </a:lnTo>
                  <a:lnTo>
                    <a:pt x="82" y="183"/>
                  </a:lnTo>
                  <a:lnTo>
                    <a:pt x="76" y="179"/>
                  </a:lnTo>
                  <a:lnTo>
                    <a:pt x="68" y="175"/>
                  </a:lnTo>
                  <a:lnTo>
                    <a:pt x="61" y="169"/>
                  </a:lnTo>
                  <a:lnTo>
                    <a:pt x="54" y="162"/>
                  </a:lnTo>
                  <a:lnTo>
                    <a:pt x="37" y="133"/>
                  </a:lnTo>
                  <a:lnTo>
                    <a:pt x="23" y="106"/>
                  </a:lnTo>
                  <a:lnTo>
                    <a:pt x="12" y="78"/>
                  </a:lnTo>
                  <a:lnTo>
                    <a:pt x="0" y="50"/>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sz="1200" dirty="0"/>
            </a:p>
          </p:txBody>
        </p:sp>
        <p:sp>
          <p:nvSpPr>
            <p:cNvPr id="29" name="Freeform 104"/>
            <p:cNvSpPr>
              <a:spLocks/>
            </p:cNvSpPr>
            <p:nvPr/>
          </p:nvSpPr>
          <p:spPr bwMode="auto">
            <a:xfrm>
              <a:off x="4247912" y="3842156"/>
              <a:ext cx="755449" cy="723623"/>
            </a:xfrm>
            <a:custGeom>
              <a:avLst/>
              <a:gdLst>
                <a:gd name="T0" fmla="*/ 2137 w 2259"/>
                <a:gd name="T1" fmla="*/ 1284 h 2158"/>
                <a:gd name="T2" fmla="*/ 2225 w 2259"/>
                <a:gd name="T3" fmla="*/ 1138 h 2158"/>
                <a:gd name="T4" fmla="*/ 2166 w 2259"/>
                <a:gd name="T5" fmla="*/ 1128 h 2158"/>
                <a:gd name="T6" fmla="*/ 2051 w 2259"/>
                <a:gd name="T7" fmla="*/ 1153 h 2158"/>
                <a:gd name="T8" fmla="*/ 1921 w 2259"/>
                <a:gd name="T9" fmla="*/ 1153 h 2158"/>
                <a:gd name="T10" fmla="*/ 1860 w 2259"/>
                <a:gd name="T11" fmla="*/ 1076 h 2158"/>
                <a:gd name="T12" fmla="*/ 1813 w 2259"/>
                <a:gd name="T13" fmla="*/ 956 h 2158"/>
                <a:gd name="T14" fmla="*/ 1769 w 2259"/>
                <a:gd name="T15" fmla="*/ 949 h 2158"/>
                <a:gd name="T16" fmla="*/ 1735 w 2259"/>
                <a:gd name="T17" fmla="*/ 825 h 2158"/>
                <a:gd name="T18" fmla="*/ 1604 w 2259"/>
                <a:gd name="T19" fmla="*/ 689 h 2158"/>
                <a:gd name="T20" fmla="*/ 1501 w 2259"/>
                <a:gd name="T21" fmla="*/ 644 h 2158"/>
                <a:gd name="T22" fmla="*/ 1370 w 2259"/>
                <a:gd name="T23" fmla="*/ 614 h 2158"/>
                <a:gd name="T24" fmla="*/ 1334 w 2259"/>
                <a:gd name="T25" fmla="*/ 392 h 2158"/>
                <a:gd name="T26" fmla="*/ 1301 w 2259"/>
                <a:gd name="T27" fmla="*/ 215 h 2158"/>
                <a:gd name="T28" fmla="*/ 1161 w 2259"/>
                <a:gd name="T29" fmla="*/ 208 h 2158"/>
                <a:gd name="T30" fmla="*/ 1083 w 2259"/>
                <a:gd name="T31" fmla="*/ 229 h 2158"/>
                <a:gd name="T32" fmla="*/ 967 w 2259"/>
                <a:gd name="T33" fmla="*/ 171 h 2158"/>
                <a:gd name="T34" fmla="*/ 920 w 2259"/>
                <a:gd name="T35" fmla="*/ 257 h 2158"/>
                <a:gd name="T36" fmla="*/ 827 w 2259"/>
                <a:gd name="T37" fmla="*/ 153 h 2158"/>
                <a:gd name="T38" fmla="*/ 704 w 2259"/>
                <a:gd name="T39" fmla="*/ 68 h 2158"/>
                <a:gd name="T40" fmla="*/ 529 w 2259"/>
                <a:gd name="T41" fmla="*/ 1 h 2158"/>
                <a:gd name="T42" fmla="*/ 511 w 2259"/>
                <a:gd name="T43" fmla="*/ 121 h 2158"/>
                <a:gd name="T44" fmla="*/ 517 w 2259"/>
                <a:gd name="T45" fmla="*/ 244 h 2158"/>
                <a:gd name="T46" fmla="*/ 430 w 2259"/>
                <a:gd name="T47" fmla="*/ 318 h 2158"/>
                <a:gd name="T48" fmla="*/ 380 w 2259"/>
                <a:gd name="T49" fmla="*/ 360 h 2158"/>
                <a:gd name="T50" fmla="*/ 214 w 2259"/>
                <a:gd name="T51" fmla="*/ 459 h 2158"/>
                <a:gd name="T52" fmla="*/ 292 w 2259"/>
                <a:gd name="T53" fmla="*/ 564 h 2158"/>
                <a:gd name="T54" fmla="*/ 213 w 2259"/>
                <a:gd name="T55" fmla="*/ 713 h 2158"/>
                <a:gd name="T56" fmla="*/ 111 w 2259"/>
                <a:gd name="T57" fmla="*/ 812 h 2158"/>
                <a:gd name="T58" fmla="*/ 103 w 2259"/>
                <a:gd name="T59" fmla="*/ 957 h 2158"/>
                <a:gd name="T60" fmla="*/ 163 w 2259"/>
                <a:gd name="T61" fmla="*/ 1055 h 2158"/>
                <a:gd name="T62" fmla="*/ 114 w 2259"/>
                <a:gd name="T63" fmla="*/ 1188 h 2158"/>
                <a:gd name="T64" fmla="*/ 116 w 2259"/>
                <a:gd name="T65" fmla="*/ 1291 h 2158"/>
                <a:gd name="T66" fmla="*/ 152 w 2259"/>
                <a:gd name="T67" fmla="*/ 1353 h 2158"/>
                <a:gd name="T68" fmla="*/ 40 w 2259"/>
                <a:gd name="T69" fmla="*/ 1491 h 2158"/>
                <a:gd name="T70" fmla="*/ 106 w 2259"/>
                <a:gd name="T71" fmla="*/ 1532 h 2158"/>
                <a:gd name="T72" fmla="*/ 96 w 2259"/>
                <a:gd name="T73" fmla="*/ 1663 h 2158"/>
                <a:gd name="T74" fmla="*/ 67 w 2259"/>
                <a:gd name="T75" fmla="*/ 1812 h 2158"/>
                <a:gd name="T76" fmla="*/ 30 w 2259"/>
                <a:gd name="T77" fmla="*/ 1874 h 2158"/>
                <a:gd name="T78" fmla="*/ 116 w 2259"/>
                <a:gd name="T79" fmla="*/ 2118 h 2158"/>
                <a:gd name="T80" fmla="*/ 321 w 2259"/>
                <a:gd name="T81" fmla="*/ 2134 h 2158"/>
                <a:gd name="T82" fmla="*/ 456 w 2259"/>
                <a:gd name="T83" fmla="*/ 2132 h 2158"/>
                <a:gd name="T84" fmla="*/ 593 w 2259"/>
                <a:gd name="T85" fmla="*/ 2044 h 2158"/>
                <a:gd name="T86" fmla="*/ 674 w 2259"/>
                <a:gd name="T87" fmla="*/ 2031 h 2158"/>
                <a:gd name="T88" fmla="*/ 783 w 2259"/>
                <a:gd name="T89" fmla="*/ 2021 h 2158"/>
                <a:gd name="T90" fmla="*/ 839 w 2259"/>
                <a:gd name="T91" fmla="*/ 1974 h 2158"/>
                <a:gd name="T92" fmla="*/ 933 w 2259"/>
                <a:gd name="T93" fmla="*/ 1963 h 2158"/>
                <a:gd name="T94" fmla="*/ 977 w 2259"/>
                <a:gd name="T95" fmla="*/ 1877 h 2158"/>
                <a:gd name="T96" fmla="*/ 1000 w 2259"/>
                <a:gd name="T97" fmla="*/ 1795 h 2158"/>
                <a:gd name="T98" fmla="*/ 1116 w 2259"/>
                <a:gd name="T99" fmla="*/ 1744 h 2158"/>
                <a:gd name="T100" fmla="*/ 1238 w 2259"/>
                <a:gd name="T101" fmla="*/ 1707 h 2158"/>
                <a:gd name="T102" fmla="*/ 1364 w 2259"/>
                <a:gd name="T103" fmla="*/ 1724 h 2158"/>
                <a:gd name="T104" fmla="*/ 1385 w 2259"/>
                <a:gd name="T105" fmla="*/ 1621 h 2158"/>
                <a:gd name="T106" fmla="*/ 1502 w 2259"/>
                <a:gd name="T107" fmla="*/ 1542 h 2158"/>
                <a:gd name="T108" fmla="*/ 1558 w 2259"/>
                <a:gd name="T109" fmla="*/ 1615 h 2158"/>
                <a:gd name="T110" fmla="*/ 1646 w 2259"/>
                <a:gd name="T111" fmla="*/ 1661 h 2158"/>
                <a:gd name="T112" fmla="*/ 1650 w 2259"/>
                <a:gd name="T113" fmla="*/ 1587 h 2158"/>
                <a:gd name="T114" fmla="*/ 1580 w 2259"/>
                <a:gd name="T115" fmla="*/ 1518 h 2158"/>
                <a:gd name="T116" fmla="*/ 1641 w 2259"/>
                <a:gd name="T117" fmla="*/ 1493 h 2158"/>
                <a:gd name="T118" fmla="*/ 1746 w 2259"/>
                <a:gd name="T119" fmla="*/ 1511 h 2158"/>
                <a:gd name="T120" fmla="*/ 1835 w 2259"/>
                <a:gd name="T121" fmla="*/ 1453 h 2158"/>
                <a:gd name="T122" fmla="*/ 1979 w 2259"/>
                <a:gd name="T123" fmla="*/ 1398 h 2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59" h="2158">
                  <a:moveTo>
                    <a:pt x="2034" y="1357"/>
                  </a:moveTo>
                  <a:lnTo>
                    <a:pt x="2088" y="1354"/>
                  </a:lnTo>
                  <a:lnTo>
                    <a:pt x="2091" y="1357"/>
                  </a:lnTo>
                  <a:lnTo>
                    <a:pt x="2095" y="1357"/>
                  </a:lnTo>
                  <a:lnTo>
                    <a:pt x="2098" y="1357"/>
                  </a:lnTo>
                  <a:lnTo>
                    <a:pt x="2102" y="1355"/>
                  </a:lnTo>
                  <a:lnTo>
                    <a:pt x="2109" y="1352"/>
                  </a:lnTo>
                  <a:lnTo>
                    <a:pt x="2115" y="1346"/>
                  </a:lnTo>
                  <a:lnTo>
                    <a:pt x="2121" y="1340"/>
                  </a:lnTo>
                  <a:lnTo>
                    <a:pt x="2124" y="1332"/>
                  </a:lnTo>
                  <a:lnTo>
                    <a:pt x="2128" y="1325"/>
                  </a:lnTo>
                  <a:lnTo>
                    <a:pt x="2130" y="1319"/>
                  </a:lnTo>
                  <a:lnTo>
                    <a:pt x="2132" y="1304"/>
                  </a:lnTo>
                  <a:lnTo>
                    <a:pt x="2136" y="1291"/>
                  </a:lnTo>
                  <a:lnTo>
                    <a:pt x="2137" y="1284"/>
                  </a:lnTo>
                  <a:lnTo>
                    <a:pt x="2139" y="1279"/>
                  </a:lnTo>
                  <a:lnTo>
                    <a:pt x="2143" y="1273"/>
                  </a:lnTo>
                  <a:lnTo>
                    <a:pt x="2147" y="1267"/>
                  </a:lnTo>
                  <a:lnTo>
                    <a:pt x="2152" y="1260"/>
                  </a:lnTo>
                  <a:lnTo>
                    <a:pt x="2155" y="1249"/>
                  </a:lnTo>
                  <a:lnTo>
                    <a:pt x="2159" y="1239"/>
                  </a:lnTo>
                  <a:lnTo>
                    <a:pt x="2161" y="1226"/>
                  </a:lnTo>
                  <a:lnTo>
                    <a:pt x="2167" y="1202"/>
                  </a:lnTo>
                  <a:lnTo>
                    <a:pt x="2172" y="1181"/>
                  </a:lnTo>
                  <a:lnTo>
                    <a:pt x="2175" y="1174"/>
                  </a:lnTo>
                  <a:lnTo>
                    <a:pt x="2180" y="1168"/>
                  </a:lnTo>
                  <a:lnTo>
                    <a:pt x="2186" y="1162"/>
                  </a:lnTo>
                  <a:lnTo>
                    <a:pt x="2193" y="1156"/>
                  </a:lnTo>
                  <a:lnTo>
                    <a:pt x="2209" y="1147"/>
                  </a:lnTo>
                  <a:lnTo>
                    <a:pt x="2225" y="1138"/>
                  </a:lnTo>
                  <a:lnTo>
                    <a:pt x="2232" y="1133"/>
                  </a:lnTo>
                  <a:lnTo>
                    <a:pt x="2240" y="1127"/>
                  </a:lnTo>
                  <a:lnTo>
                    <a:pt x="2246" y="1123"/>
                  </a:lnTo>
                  <a:lnTo>
                    <a:pt x="2252" y="1118"/>
                  </a:lnTo>
                  <a:lnTo>
                    <a:pt x="2256" y="1112"/>
                  </a:lnTo>
                  <a:lnTo>
                    <a:pt x="2258" y="1106"/>
                  </a:lnTo>
                  <a:lnTo>
                    <a:pt x="2259" y="1100"/>
                  </a:lnTo>
                  <a:lnTo>
                    <a:pt x="2257" y="1093"/>
                  </a:lnTo>
                  <a:lnTo>
                    <a:pt x="2238" y="1105"/>
                  </a:lnTo>
                  <a:lnTo>
                    <a:pt x="2218" y="1114"/>
                  </a:lnTo>
                  <a:lnTo>
                    <a:pt x="2208" y="1118"/>
                  </a:lnTo>
                  <a:lnTo>
                    <a:pt x="2197" y="1121"/>
                  </a:lnTo>
                  <a:lnTo>
                    <a:pt x="2187" y="1125"/>
                  </a:lnTo>
                  <a:lnTo>
                    <a:pt x="2176" y="1127"/>
                  </a:lnTo>
                  <a:lnTo>
                    <a:pt x="2166" y="1128"/>
                  </a:lnTo>
                  <a:lnTo>
                    <a:pt x="2155" y="1130"/>
                  </a:lnTo>
                  <a:lnTo>
                    <a:pt x="2145" y="1130"/>
                  </a:lnTo>
                  <a:lnTo>
                    <a:pt x="2134" y="1128"/>
                  </a:lnTo>
                  <a:lnTo>
                    <a:pt x="2124" y="1127"/>
                  </a:lnTo>
                  <a:lnTo>
                    <a:pt x="2114" y="1124"/>
                  </a:lnTo>
                  <a:lnTo>
                    <a:pt x="2103" y="1120"/>
                  </a:lnTo>
                  <a:lnTo>
                    <a:pt x="2093" y="1116"/>
                  </a:lnTo>
                  <a:lnTo>
                    <a:pt x="2087" y="1125"/>
                  </a:lnTo>
                  <a:lnTo>
                    <a:pt x="2081" y="1137"/>
                  </a:lnTo>
                  <a:lnTo>
                    <a:pt x="2077" y="1141"/>
                  </a:lnTo>
                  <a:lnTo>
                    <a:pt x="2074" y="1146"/>
                  </a:lnTo>
                  <a:lnTo>
                    <a:pt x="2069" y="1149"/>
                  </a:lnTo>
                  <a:lnTo>
                    <a:pt x="2063" y="1152"/>
                  </a:lnTo>
                  <a:lnTo>
                    <a:pt x="2058" y="1153"/>
                  </a:lnTo>
                  <a:lnTo>
                    <a:pt x="2051" y="1153"/>
                  </a:lnTo>
                  <a:lnTo>
                    <a:pt x="2045" y="1149"/>
                  </a:lnTo>
                  <a:lnTo>
                    <a:pt x="2038" y="1146"/>
                  </a:lnTo>
                  <a:lnTo>
                    <a:pt x="2026" y="1139"/>
                  </a:lnTo>
                  <a:lnTo>
                    <a:pt x="2013" y="1132"/>
                  </a:lnTo>
                  <a:lnTo>
                    <a:pt x="2008" y="1130"/>
                  </a:lnTo>
                  <a:lnTo>
                    <a:pt x="2003" y="1127"/>
                  </a:lnTo>
                  <a:lnTo>
                    <a:pt x="1997" y="1126"/>
                  </a:lnTo>
                  <a:lnTo>
                    <a:pt x="1991" y="1126"/>
                  </a:lnTo>
                  <a:lnTo>
                    <a:pt x="1981" y="1126"/>
                  </a:lnTo>
                  <a:lnTo>
                    <a:pt x="1970" y="1128"/>
                  </a:lnTo>
                  <a:lnTo>
                    <a:pt x="1960" y="1132"/>
                  </a:lnTo>
                  <a:lnTo>
                    <a:pt x="1949" y="1137"/>
                  </a:lnTo>
                  <a:lnTo>
                    <a:pt x="1940" y="1142"/>
                  </a:lnTo>
                  <a:lnTo>
                    <a:pt x="1931" y="1147"/>
                  </a:lnTo>
                  <a:lnTo>
                    <a:pt x="1921" y="1153"/>
                  </a:lnTo>
                  <a:lnTo>
                    <a:pt x="1913" y="1157"/>
                  </a:lnTo>
                  <a:lnTo>
                    <a:pt x="1905" y="1161"/>
                  </a:lnTo>
                  <a:lnTo>
                    <a:pt x="1897" y="1162"/>
                  </a:lnTo>
                  <a:lnTo>
                    <a:pt x="1894" y="1162"/>
                  </a:lnTo>
                  <a:lnTo>
                    <a:pt x="1890" y="1162"/>
                  </a:lnTo>
                  <a:lnTo>
                    <a:pt x="1887" y="1161"/>
                  </a:lnTo>
                  <a:lnTo>
                    <a:pt x="1884" y="1159"/>
                  </a:lnTo>
                  <a:lnTo>
                    <a:pt x="1881" y="1156"/>
                  </a:lnTo>
                  <a:lnTo>
                    <a:pt x="1878" y="1153"/>
                  </a:lnTo>
                  <a:lnTo>
                    <a:pt x="1876" y="1149"/>
                  </a:lnTo>
                  <a:lnTo>
                    <a:pt x="1874" y="1145"/>
                  </a:lnTo>
                  <a:lnTo>
                    <a:pt x="1869" y="1131"/>
                  </a:lnTo>
                  <a:lnTo>
                    <a:pt x="1866" y="1114"/>
                  </a:lnTo>
                  <a:lnTo>
                    <a:pt x="1862" y="1096"/>
                  </a:lnTo>
                  <a:lnTo>
                    <a:pt x="1860" y="1076"/>
                  </a:lnTo>
                  <a:lnTo>
                    <a:pt x="1855" y="1036"/>
                  </a:lnTo>
                  <a:lnTo>
                    <a:pt x="1852" y="1004"/>
                  </a:lnTo>
                  <a:lnTo>
                    <a:pt x="1853" y="985"/>
                  </a:lnTo>
                  <a:lnTo>
                    <a:pt x="1856" y="964"/>
                  </a:lnTo>
                  <a:lnTo>
                    <a:pt x="1856" y="961"/>
                  </a:lnTo>
                  <a:lnTo>
                    <a:pt x="1856" y="956"/>
                  </a:lnTo>
                  <a:lnTo>
                    <a:pt x="1855" y="954"/>
                  </a:lnTo>
                  <a:lnTo>
                    <a:pt x="1854" y="952"/>
                  </a:lnTo>
                  <a:lnTo>
                    <a:pt x="1852" y="949"/>
                  </a:lnTo>
                  <a:lnTo>
                    <a:pt x="1848" y="949"/>
                  </a:lnTo>
                  <a:lnTo>
                    <a:pt x="1845" y="950"/>
                  </a:lnTo>
                  <a:lnTo>
                    <a:pt x="1839" y="953"/>
                  </a:lnTo>
                  <a:lnTo>
                    <a:pt x="1828" y="956"/>
                  </a:lnTo>
                  <a:lnTo>
                    <a:pt x="1820" y="957"/>
                  </a:lnTo>
                  <a:lnTo>
                    <a:pt x="1813" y="956"/>
                  </a:lnTo>
                  <a:lnTo>
                    <a:pt x="1809" y="954"/>
                  </a:lnTo>
                  <a:lnTo>
                    <a:pt x="1805" y="949"/>
                  </a:lnTo>
                  <a:lnTo>
                    <a:pt x="1802" y="943"/>
                  </a:lnTo>
                  <a:lnTo>
                    <a:pt x="1800" y="936"/>
                  </a:lnTo>
                  <a:lnTo>
                    <a:pt x="1799" y="929"/>
                  </a:lnTo>
                  <a:lnTo>
                    <a:pt x="1797" y="917"/>
                  </a:lnTo>
                  <a:lnTo>
                    <a:pt x="1796" y="906"/>
                  </a:lnTo>
                  <a:lnTo>
                    <a:pt x="1796" y="904"/>
                  </a:lnTo>
                  <a:lnTo>
                    <a:pt x="1793" y="903"/>
                  </a:lnTo>
                  <a:lnTo>
                    <a:pt x="1791" y="904"/>
                  </a:lnTo>
                  <a:lnTo>
                    <a:pt x="1788" y="907"/>
                  </a:lnTo>
                  <a:lnTo>
                    <a:pt x="1779" y="925"/>
                  </a:lnTo>
                  <a:lnTo>
                    <a:pt x="1774" y="943"/>
                  </a:lnTo>
                  <a:lnTo>
                    <a:pt x="1771" y="947"/>
                  </a:lnTo>
                  <a:lnTo>
                    <a:pt x="1769" y="949"/>
                  </a:lnTo>
                  <a:lnTo>
                    <a:pt x="1768" y="950"/>
                  </a:lnTo>
                  <a:lnTo>
                    <a:pt x="1764" y="952"/>
                  </a:lnTo>
                  <a:lnTo>
                    <a:pt x="1762" y="950"/>
                  </a:lnTo>
                  <a:lnTo>
                    <a:pt x="1759" y="948"/>
                  </a:lnTo>
                  <a:lnTo>
                    <a:pt x="1754" y="945"/>
                  </a:lnTo>
                  <a:lnTo>
                    <a:pt x="1749" y="939"/>
                  </a:lnTo>
                  <a:lnTo>
                    <a:pt x="1742" y="928"/>
                  </a:lnTo>
                  <a:lnTo>
                    <a:pt x="1739" y="918"/>
                  </a:lnTo>
                  <a:lnTo>
                    <a:pt x="1735" y="908"/>
                  </a:lnTo>
                  <a:lnTo>
                    <a:pt x="1734" y="898"/>
                  </a:lnTo>
                  <a:lnTo>
                    <a:pt x="1734" y="877"/>
                  </a:lnTo>
                  <a:lnTo>
                    <a:pt x="1736" y="856"/>
                  </a:lnTo>
                  <a:lnTo>
                    <a:pt x="1736" y="846"/>
                  </a:lnTo>
                  <a:lnTo>
                    <a:pt x="1736" y="835"/>
                  </a:lnTo>
                  <a:lnTo>
                    <a:pt x="1735" y="825"/>
                  </a:lnTo>
                  <a:lnTo>
                    <a:pt x="1733" y="813"/>
                  </a:lnTo>
                  <a:lnTo>
                    <a:pt x="1728" y="803"/>
                  </a:lnTo>
                  <a:lnTo>
                    <a:pt x="1722" y="792"/>
                  </a:lnTo>
                  <a:lnTo>
                    <a:pt x="1714" y="780"/>
                  </a:lnTo>
                  <a:lnTo>
                    <a:pt x="1703" y="769"/>
                  </a:lnTo>
                  <a:lnTo>
                    <a:pt x="1685" y="750"/>
                  </a:lnTo>
                  <a:lnTo>
                    <a:pt x="1661" y="722"/>
                  </a:lnTo>
                  <a:lnTo>
                    <a:pt x="1648" y="708"/>
                  </a:lnTo>
                  <a:lnTo>
                    <a:pt x="1636" y="697"/>
                  </a:lnTo>
                  <a:lnTo>
                    <a:pt x="1632" y="692"/>
                  </a:lnTo>
                  <a:lnTo>
                    <a:pt x="1627" y="689"/>
                  </a:lnTo>
                  <a:lnTo>
                    <a:pt x="1622" y="686"/>
                  </a:lnTo>
                  <a:lnTo>
                    <a:pt x="1619" y="685"/>
                  </a:lnTo>
                  <a:lnTo>
                    <a:pt x="1612" y="686"/>
                  </a:lnTo>
                  <a:lnTo>
                    <a:pt x="1604" y="689"/>
                  </a:lnTo>
                  <a:lnTo>
                    <a:pt x="1597" y="692"/>
                  </a:lnTo>
                  <a:lnTo>
                    <a:pt x="1590" y="697"/>
                  </a:lnTo>
                  <a:lnTo>
                    <a:pt x="1582" y="701"/>
                  </a:lnTo>
                  <a:lnTo>
                    <a:pt x="1575" y="704"/>
                  </a:lnTo>
                  <a:lnTo>
                    <a:pt x="1571" y="705"/>
                  </a:lnTo>
                  <a:lnTo>
                    <a:pt x="1568" y="706"/>
                  </a:lnTo>
                  <a:lnTo>
                    <a:pt x="1564" y="706"/>
                  </a:lnTo>
                  <a:lnTo>
                    <a:pt x="1561" y="705"/>
                  </a:lnTo>
                  <a:lnTo>
                    <a:pt x="1555" y="701"/>
                  </a:lnTo>
                  <a:lnTo>
                    <a:pt x="1549" y="695"/>
                  </a:lnTo>
                  <a:lnTo>
                    <a:pt x="1543" y="687"/>
                  </a:lnTo>
                  <a:lnTo>
                    <a:pt x="1539" y="678"/>
                  </a:lnTo>
                  <a:lnTo>
                    <a:pt x="1529" y="658"/>
                  </a:lnTo>
                  <a:lnTo>
                    <a:pt x="1523" y="643"/>
                  </a:lnTo>
                  <a:lnTo>
                    <a:pt x="1501" y="644"/>
                  </a:lnTo>
                  <a:lnTo>
                    <a:pt x="1478" y="648"/>
                  </a:lnTo>
                  <a:lnTo>
                    <a:pt x="1468" y="650"/>
                  </a:lnTo>
                  <a:lnTo>
                    <a:pt x="1456" y="651"/>
                  </a:lnTo>
                  <a:lnTo>
                    <a:pt x="1444" y="652"/>
                  </a:lnTo>
                  <a:lnTo>
                    <a:pt x="1433" y="652"/>
                  </a:lnTo>
                  <a:lnTo>
                    <a:pt x="1426" y="650"/>
                  </a:lnTo>
                  <a:lnTo>
                    <a:pt x="1420" y="648"/>
                  </a:lnTo>
                  <a:lnTo>
                    <a:pt x="1414" y="643"/>
                  </a:lnTo>
                  <a:lnTo>
                    <a:pt x="1408" y="638"/>
                  </a:lnTo>
                  <a:lnTo>
                    <a:pt x="1402" y="633"/>
                  </a:lnTo>
                  <a:lnTo>
                    <a:pt x="1398" y="628"/>
                  </a:lnTo>
                  <a:lnTo>
                    <a:pt x="1392" y="623"/>
                  </a:lnTo>
                  <a:lnTo>
                    <a:pt x="1386" y="620"/>
                  </a:lnTo>
                  <a:lnTo>
                    <a:pt x="1378" y="618"/>
                  </a:lnTo>
                  <a:lnTo>
                    <a:pt x="1370" y="614"/>
                  </a:lnTo>
                  <a:lnTo>
                    <a:pt x="1363" y="611"/>
                  </a:lnTo>
                  <a:lnTo>
                    <a:pt x="1356" y="605"/>
                  </a:lnTo>
                  <a:lnTo>
                    <a:pt x="1352" y="600"/>
                  </a:lnTo>
                  <a:lnTo>
                    <a:pt x="1351" y="593"/>
                  </a:lnTo>
                  <a:lnTo>
                    <a:pt x="1350" y="584"/>
                  </a:lnTo>
                  <a:lnTo>
                    <a:pt x="1349" y="574"/>
                  </a:lnTo>
                  <a:lnTo>
                    <a:pt x="1350" y="555"/>
                  </a:lnTo>
                  <a:lnTo>
                    <a:pt x="1350" y="540"/>
                  </a:lnTo>
                  <a:lnTo>
                    <a:pt x="1349" y="516"/>
                  </a:lnTo>
                  <a:lnTo>
                    <a:pt x="1346" y="493"/>
                  </a:lnTo>
                  <a:lnTo>
                    <a:pt x="1343" y="471"/>
                  </a:lnTo>
                  <a:lnTo>
                    <a:pt x="1339" y="448"/>
                  </a:lnTo>
                  <a:lnTo>
                    <a:pt x="1337" y="426"/>
                  </a:lnTo>
                  <a:lnTo>
                    <a:pt x="1335" y="403"/>
                  </a:lnTo>
                  <a:lnTo>
                    <a:pt x="1334" y="392"/>
                  </a:lnTo>
                  <a:lnTo>
                    <a:pt x="1334" y="381"/>
                  </a:lnTo>
                  <a:lnTo>
                    <a:pt x="1335" y="370"/>
                  </a:lnTo>
                  <a:lnTo>
                    <a:pt x="1336" y="359"/>
                  </a:lnTo>
                  <a:lnTo>
                    <a:pt x="1346" y="318"/>
                  </a:lnTo>
                  <a:lnTo>
                    <a:pt x="1355" y="282"/>
                  </a:lnTo>
                  <a:lnTo>
                    <a:pt x="1355" y="274"/>
                  </a:lnTo>
                  <a:lnTo>
                    <a:pt x="1355" y="267"/>
                  </a:lnTo>
                  <a:lnTo>
                    <a:pt x="1352" y="259"/>
                  </a:lnTo>
                  <a:lnTo>
                    <a:pt x="1349" y="252"/>
                  </a:lnTo>
                  <a:lnTo>
                    <a:pt x="1344" y="246"/>
                  </a:lnTo>
                  <a:lnTo>
                    <a:pt x="1338" y="239"/>
                  </a:lnTo>
                  <a:lnTo>
                    <a:pt x="1329" y="235"/>
                  </a:lnTo>
                  <a:lnTo>
                    <a:pt x="1319" y="229"/>
                  </a:lnTo>
                  <a:lnTo>
                    <a:pt x="1309" y="224"/>
                  </a:lnTo>
                  <a:lnTo>
                    <a:pt x="1301" y="215"/>
                  </a:lnTo>
                  <a:lnTo>
                    <a:pt x="1292" y="206"/>
                  </a:lnTo>
                  <a:lnTo>
                    <a:pt x="1282" y="199"/>
                  </a:lnTo>
                  <a:lnTo>
                    <a:pt x="1263" y="183"/>
                  </a:lnTo>
                  <a:lnTo>
                    <a:pt x="1239" y="169"/>
                  </a:lnTo>
                  <a:lnTo>
                    <a:pt x="1234" y="167"/>
                  </a:lnTo>
                  <a:lnTo>
                    <a:pt x="1228" y="165"/>
                  </a:lnTo>
                  <a:lnTo>
                    <a:pt x="1222" y="165"/>
                  </a:lnTo>
                  <a:lnTo>
                    <a:pt x="1216" y="165"/>
                  </a:lnTo>
                  <a:lnTo>
                    <a:pt x="1210" y="166"/>
                  </a:lnTo>
                  <a:lnTo>
                    <a:pt x="1206" y="168"/>
                  </a:lnTo>
                  <a:lnTo>
                    <a:pt x="1200" y="173"/>
                  </a:lnTo>
                  <a:lnTo>
                    <a:pt x="1194" y="179"/>
                  </a:lnTo>
                  <a:lnTo>
                    <a:pt x="1185" y="189"/>
                  </a:lnTo>
                  <a:lnTo>
                    <a:pt x="1170" y="202"/>
                  </a:lnTo>
                  <a:lnTo>
                    <a:pt x="1161" y="208"/>
                  </a:lnTo>
                  <a:lnTo>
                    <a:pt x="1153" y="211"/>
                  </a:lnTo>
                  <a:lnTo>
                    <a:pt x="1150" y="213"/>
                  </a:lnTo>
                  <a:lnTo>
                    <a:pt x="1146" y="214"/>
                  </a:lnTo>
                  <a:lnTo>
                    <a:pt x="1143" y="214"/>
                  </a:lnTo>
                  <a:lnTo>
                    <a:pt x="1139" y="213"/>
                  </a:lnTo>
                  <a:lnTo>
                    <a:pt x="1126" y="207"/>
                  </a:lnTo>
                  <a:lnTo>
                    <a:pt x="1118" y="204"/>
                  </a:lnTo>
                  <a:lnTo>
                    <a:pt x="1116" y="204"/>
                  </a:lnTo>
                  <a:lnTo>
                    <a:pt x="1114" y="206"/>
                  </a:lnTo>
                  <a:lnTo>
                    <a:pt x="1111" y="207"/>
                  </a:lnTo>
                  <a:lnTo>
                    <a:pt x="1110" y="208"/>
                  </a:lnTo>
                  <a:lnTo>
                    <a:pt x="1107" y="213"/>
                  </a:lnTo>
                  <a:lnTo>
                    <a:pt x="1102" y="218"/>
                  </a:lnTo>
                  <a:lnTo>
                    <a:pt x="1094" y="224"/>
                  </a:lnTo>
                  <a:lnTo>
                    <a:pt x="1083" y="229"/>
                  </a:lnTo>
                  <a:lnTo>
                    <a:pt x="1076" y="226"/>
                  </a:lnTo>
                  <a:lnTo>
                    <a:pt x="1069" y="222"/>
                  </a:lnTo>
                  <a:lnTo>
                    <a:pt x="1061" y="215"/>
                  </a:lnTo>
                  <a:lnTo>
                    <a:pt x="1052" y="208"/>
                  </a:lnTo>
                  <a:lnTo>
                    <a:pt x="1031" y="192"/>
                  </a:lnTo>
                  <a:lnTo>
                    <a:pt x="1011" y="176"/>
                  </a:lnTo>
                  <a:lnTo>
                    <a:pt x="1001" y="171"/>
                  </a:lnTo>
                  <a:lnTo>
                    <a:pt x="991" y="166"/>
                  </a:lnTo>
                  <a:lnTo>
                    <a:pt x="987" y="165"/>
                  </a:lnTo>
                  <a:lnTo>
                    <a:pt x="983" y="164"/>
                  </a:lnTo>
                  <a:lnTo>
                    <a:pt x="980" y="164"/>
                  </a:lnTo>
                  <a:lnTo>
                    <a:pt x="975" y="165"/>
                  </a:lnTo>
                  <a:lnTo>
                    <a:pt x="973" y="166"/>
                  </a:lnTo>
                  <a:lnTo>
                    <a:pt x="969" y="168"/>
                  </a:lnTo>
                  <a:lnTo>
                    <a:pt x="967" y="171"/>
                  </a:lnTo>
                  <a:lnTo>
                    <a:pt x="965" y="175"/>
                  </a:lnTo>
                  <a:lnTo>
                    <a:pt x="963" y="180"/>
                  </a:lnTo>
                  <a:lnTo>
                    <a:pt x="962" y="186"/>
                  </a:lnTo>
                  <a:lnTo>
                    <a:pt x="961" y="193"/>
                  </a:lnTo>
                  <a:lnTo>
                    <a:pt x="961" y="202"/>
                  </a:lnTo>
                  <a:lnTo>
                    <a:pt x="960" y="211"/>
                  </a:lnTo>
                  <a:lnTo>
                    <a:pt x="959" y="221"/>
                  </a:lnTo>
                  <a:lnTo>
                    <a:pt x="957" y="229"/>
                  </a:lnTo>
                  <a:lnTo>
                    <a:pt x="954" y="236"/>
                  </a:lnTo>
                  <a:lnTo>
                    <a:pt x="950" y="242"/>
                  </a:lnTo>
                  <a:lnTo>
                    <a:pt x="945" y="246"/>
                  </a:lnTo>
                  <a:lnTo>
                    <a:pt x="940" y="251"/>
                  </a:lnTo>
                  <a:lnTo>
                    <a:pt x="934" y="253"/>
                  </a:lnTo>
                  <a:lnTo>
                    <a:pt x="927" y="256"/>
                  </a:lnTo>
                  <a:lnTo>
                    <a:pt x="920" y="257"/>
                  </a:lnTo>
                  <a:lnTo>
                    <a:pt x="912" y="257"/>
                  </a:lnTo>
                  <a:lnTo>
                    <a:pt x="903" y="256"/>
                  </a:lnTo>
                  <a:lnTo>
                    <a:pt x="884" y="252"/>
                  </a:lnTo>
                  <a:lnTo>
                    <a:pt x="863" y="246"/>
                  </a:lnTo>
                  <a:lnTo>
                    <a:pt x="858" y="244"/>
                  </a:lnTo>
                  <a:lnTo>
                    <a:pt x="852" y="240"/>
                  </a:lnTo>
                  <a:lnTo>
                    <a:pt x="848" y="236"/>
                  </a:lnTo>
                  <a:lnTo>
                    <a:pt x="844" y="231"/>
                  </a:lnTo>
                  <a:lnTo>
                    <a:pt x="841" y="226"/>
                  </a:lnTo>
                  <a:lnTo>
                    <a:pt x="839" y="221"/>
                  </a:lnTo>
                  <a:lnTo>
                    <a:pt x="837" y="215"/>
                  </a:lnTo>
                  <a:lnTo>
                    <a:pt x="835" y="209"/>
                  </a:lnTo>
                  <a:lnTo>
                    <a:pt x="832" y="183"/>
                  </a:lnTo>
                  <a:lnTo>
                    <a:pt x="830" y="161"/>
                  </a:lnTo>
                  <a:lnTo>
                    <a:pt x="827" y="153"/>
                  </a:lnTo>
                  <a:lnTo>
                    <a:pt x="824" y="146"/>
                  </a:lnTo>
                  <a:lnTo>
                    <a:pt x="820" y="140"/>
                  </a:lnTo>
                  <a:lnTo>
                    <a:pt x="814" y="135"/>
                  </a:lnTo>
                  <a:lnTo>
                    <a:pt x="809" y="131"/>
                  </a:lnTo>
                  <a:lnTo>
                    <a:pt x="803" y="128"/>
                  </a:lnTo>
                  <a:lnTo>
                    <a:pt x="796" y="124"/>
                  </a:lnTo>
                  <a:lnTo>
                    <a:pt x="789" y="122"/>
                  </a:lnTo>
                  <a:lnTo>
                    <a:pt x="774" y="118"/>
                  </a:lnTo>
                  <a:lnTo>
                    <a:pt x="759" y="114"/>
                  </a:lnTo>
                  <a:lnTo>
                    <a:pt x="752" y="111"/>
                  </a:lnTo>
                  <a:lnTo>
                    <a:pt x="745" y="108"/>
                  </a:lnTo>
                  <a:lnTo>
                    <a:pt x="739" y="104"/>
                  </a:lnTo>
                  <a:lnTo>
                    <a:pt x="732" y="100"/>
                  </a:lnTo>
                  <a:lnTo>
                    <a:pt x="717" y="85"/>
                  </a:lnTo>
                  <a:lnTo>
                    <a:pt x="704" y="68"/>
                  </a:lnTo>
                  <a:lnTo>
                    <a:pt x="697" y="61"/>
                  </a:lnTo>
                  <a:lnTo>
                    <a:pt x="689" y="55"/>
                  </a:lnTo>
                  <a:lnTo>
                    <a:pt x="684" y="53"/>
                  </a:lnTo>
                  <a:lnTo>
                    <a:pt x="678" y="51"/>
                  </a:lnTo>
                  <a:lnTo>
                    <a:pt x="672" y="50"/>
                  </a:lnTo>
                  <a:lnTo>
                    <a:pt x="667" y="48"/>
                  </a:lnTo>
                  <a:lnTo>
                    <a:pt x="638" y="46"/>
                  </a:lnTo>
                  <a:lnTo>
                    <a:pt x="613" y="44"/>
                  </a:lnTo>
                  <a:lnTo>
                    <a:pt x="601" y="41"/>
                  </a:lnTo>
                  <a:lnTo>
                    <a:pt x="590" y="38"/>
                  </a:lnTo>
                  <a:lnTo>
                    <a:pt x="577" y="32"/>
                  </a:lnTo>
                  <a:lnTo>
                    <a:pt x="563" y="23"/>
                  </a:lnTo>
                  <a:lnTo>
                    <a:pt x="547" y="11"/>
                  </a:lnTo>
                  <a:lnTo>
                    <a:pt x="534" y="3"/>
                  </a:lnTo>
                  <a:lnTo>
                    <a:pt x="529" y="1"/>
                  </a:lnTo>
                  <a:lnTo>
                    <a:pt x="525" y="0"/>
                  </a:lnTo>
                  <a:lnTo>
                    <a:pt x="521" y="0"/>
                  </a:lnTo>
                  <a:lnTo>
                    <a:pt x="518" y="0"/>
                  </a:lnTo>
                  <a:lnTo>
                    <a:pt x="515" y="1"/>
                  </a:lnTo>
                  <a:lnTo>
                    <a:pt x="514" y="3"/>
                  </a:lnTo>
                  <a:lnTo>
                    <a:pt x="513" y="5"/>
                  </a:lnTo>
                  <a:lnTo>
                    <a:pt x="512" y="9"/>
                  </a:lnTo>
                  <a:lnTo>
                    <a:pt x="512" y="17"/>
                  </a:lnTo>
                  <a:lnTo>
                    <a:pt x="512" y="26"/>
                  </a:lnTo>
                  <a:lnTo>
                    <a:pt x="514" y="52"/>
                  </a:lnTo>
                  <a:lnTo>
                    <a:pt x="517" y="80"/>
                  </a:lnTo>
                  <a:lnTo>
                    <a:pt x="517" y="94"/>
                  </a:lnTo>
                  <a:lnTo>
                    <a:pt x="514" y="108"/>
                  </a:lnTo>
                  <a:lnTo>
                    <a:pt x="513" y="115"/>
                  </a:lnTo>
                  <a:lnTo>
                    <a:pt x="511" y="121"/>
                  </a:lnTo>
                  <a:lnTo>
                    <a:pt x="508" y="128"/>
                  </a:lnTo>
                  <a:lnTo>
                    <a:pt x="505" y="133"/>
                  </a:lnTo>
                  <a:lnTo>
                    <a:pt x="496" y="147"/>
                  </a:lnTo>
                  <a:lnTo>
                    <a:pt x="487" y="159"/>
                  </a:lnTo>
                  <a:lnTo>
                    <a:pt x="483" y="169"/>
                  </a:lnTo>
                  <a:lnTo>
                    <a:pt x="479" y="180"/>
                  </a:lnTo>
                  <a:lnTo>
                    <a:pt x="479" y="185"/>
                  </a:lnTo>
                  <a:lnTo>
                    <a:pt x="480" y="189"/>
                  </a:lnTo>
                  <a:lnTo>
                    <a:pt x="482" y="194"/>
                  </a:lnTo>
                  <a:lnTo>
                    <a:pt x="484" y="200"/>
                  </a:lnTo>
                  <a:lnTo>
                    <a:pt x="492" y="211"/>
                  </a:lnTo>
                  <a:lnTo>
                    <a:pt x="505" y="225"/>
                  </a:lnTo>
                  <a:lnTo>
                    <a:pt x="512" y="233"/>
                  </a:lnTo>
                  <a:lnTo>
                    <a:pt x="515" y="240"/>
                  </a:lnTo>
                  <a:lnTo>
                    <a:pt x="517" y="244"/>
                  </a:lnTo>
                  <a:lnTo>
                    <a:pt x="517" y="247"/>
                  </a:lnTo>
                  <a:lnTo>
                    <a:pt x="515" y="251"/>
                  </a:lnTo>
                  <a:lnTo>
                    <a:pt x="514" y="253"/>
                  </a:lnTo>
                  <a:lnTo>
                    <a:pt x="510" y="259"/>
                  </a:lnTo>
                  <a:lnTo>
                    <a:pt x="504" y="264"/>
                  </a:lnTo>
                  <a:lnTo>
                    <a:pt x="497" y="267"/>
                  </a:lnTo>
                  <a:lnTo>
                    <a:pt x="489" y="272"/>
                  </a:lnTo>
                  <a:lnTo>
                    <a:pt x="470" y="279"/>
                  </a:lnTo>
                  <a:lnTo>
                    <a:pt x="452" y="286"/>
                  </a:lnTo>
                  <a:lnTo>
                    <a:pt x="444" y="289"/>
                  </a:lnTo>
                  <a:lnTo>
                    <a:pt x="439" y="294"/>
                  </a:lnTo>
                  <a:lnTo>
                    <a:pt x="434" y="297"/>
                  </a:lnTo>
                  <a:lnTo>
                    <a:pt x="430" y="302"/>
                  </a:lnTo>
                  <a:lnTo>
                    <a:pt x="429" y="309"/>
                  </a:lnTo>
                  <a:lnTo>
                    <a:pt x="430" y="318"/>
                  </a:lnTo>
                  <a:lnTo>
                    <a:pt x="432" y="329"/>
                  </a:lnTo>
                  <a:lnTo>
                    <a:pt x="434" y="339"/>
                  </a:lnTo>
                  <a:lnTo>
                    <a:pt x="436" y="350"/>
                  </a:lnTo>
                  <a:lnTo>
                    <a:pt x="437" y="359"/>
                  </a:lnTo>
                  <a:lnTo>
                    <a:pt x="437" y="363"/>
                  </a:lnTo>
                  <a:lnTo>
                    <a:pt x="437" y="366"/>
                  </a:lnTo>
                  <a:lnTo>
                    <a:pt x="436" y="368"/>
                  </a:lnTo>
                  <a:lnTo>
                    <a:pt x="435" y="371"/>
                  </a:lnTo>
                  <a:lnTo>
                    <a:pt x="432" y="372"/>
                  </a:lnTo>
                  <a:lnTo>
                    <a:pt x="428" y="373"/>
                  </a:lnTo>
                  <a:lnTo>
                    <a:pt x="423" y="373"/>
                  </a:lnTo>
                  <a:lnTo>
                    <a:pt x="419" y="373"/>
                  </a:lnTo>
                  <a:lnTo>
                    <a:pt x="409" y="372"/>
                  </a:lnTo>
                  <a:lnTo>
                    <a:pt x="399" y="368"/>
                  </a:lnTo>
                  <a:lnTo>
                    <a:pt x="380" y="360"/>
                  </a:lnTo>
                  <a:lnTo>
                    <a:pt x="366" y="353"/>
                  </a:lnTo>
                  <a:lnTo>
                    <a:pt x="349" y="346"/>
                  </a:lnTo>
                  <a:lnTo>
                    <a:pt x="334" y="341"/>
                  </a:lnTo>
                  <a:lnTo>
                    <a:pt x="322" y="337"/>
                  </a:lnTo>
                  <a:lnTo>
                    <a:pt x="312" y="335"/>
                  </a:lnTo>
                  <a:lnTo>
                    <a:pt x="303" y="334"/>
                  </a:lnTo>
                  <a:lnTo>
                    <a:pt x="298" y="335"/>
                  </a:lnTo>
                  <a:lnTo>
                    <a:pt x="292" y="337"/>
                  </a:lnTo>
                  <a:lnTo>
                    <a:pt x="288" y="342"/>
                  </a:lnTo>
                  <a:lnTo>
                    <a:pt x="277" y="373"/>
                  </a:lnTo>
                  <a:lnTo>
                    <a:pt x="258" y="429"/>
                  </a:lnTo>
                  <a:lnTo>
                    <a:pt x="239" y="439"/>
                  </a:lnTo>
                  <a:lnTo>
                    <a:pt x="225" y="450"/>
                  </a:lnTo>
                  <a:lnTo>
                    <a:pt x="219" y="455"/>
                  </a:lnTo>
                  <a:lnTo>
                    <a:pt x="214" y="459"/>
                  </a:lnTo>
                  <a:lnTo>
                    <a:pt x="209" y="465"/>
                  </a:lnTo>
                  <a:lnTo>
                    <a:pt x="206" y="470"/>
                  </a:lnTo>
                  <a:lnTo>
                    <a:pt x="203" y="476"/>
                  </a:lnTo>
                  <a:lnTo>
                    <a:pt x="202" y="483"/>
                  </a:lnTo>
                  <a:lnTo>
                    <a:pt x="203" y="488"/>
                  </a:lnTo>
                  <a:lnTo>
                    <a:pt x="205" y="495"/>
                  </a:lnTo>
                  <a:lnTo>
                    <a:pt x="208" y="503"/>
                  </a:lnTo>
                  <a:lnTo>
                    <a:pt x="213" y="512"/>
                  </a:lnTo>
                  <a:lnTo>
                    <a:pt x="219" y="520"/>
                  </a:lnTo>
                  <a:lnTo>
                    <a:pt x="225" y="530"/>
                  </a:lnTo>
                  <a:lnTo>
                    <a:pt x="234" y="536"/>
                  </a:lnTo>
                  <a:lnTo>
                    <a:pt x="246" y="543"/>
                  </a:lnTo>
                  <a:lnTo>
                    <a:pt x="262" y="550"/>
                  </a:lnTo>
                  <a:lnTo>
                    <a:pt x="278" y="557"/>
                  </a:lnTo>
                  <a:lnTo>
                    <a:pt x="292" y="564"/>
                  </a:lnTo>
                  <a:lnTo>
                    <a:pt x="303" y="571"/>
                  </a:lnTo>
                  <a:lnTo>
                    <a:pt x="307" y="573"/>
                  </a:lnTo>
                  <a:lnTo>
                    <a:pt x="309" y="577"/>
                  </a:lnTo>
                  <a:lnTo>
                    <a:pt x="310" y="579"/>
                  </a:lnTo>
                  <a:lnTo>
                    <a:pt x="309" y="581"/>
                  </a:lnTo>
                  <a:lnTo>
                    <a:pt x="294" y="595"/>
                  </a:lnTo>
                  <a:lnTo>
                    <a:pt x="280" y="611"/>
                  </a:lnTo>
                  <a:lnTo>
                    <a:pt x="265" y="625"/>
                  </a:lnTo>
                  <a:lnTo>
                    <a:pt x="250" y="638"/>
                  </a:lnTo>
                  <a:lnTo>
                    <a:pt x="241" y="647"/>
                  </a:lnTo>
                  <a:lnTo>
                    <a:pt x="232" y="656"/>
                  </a:lnTo>
                  <a:lnTo>
                    <a:pt x="228" y="663"/>
                  </a:lnTo>
                  <a:lnTo>
                    <a:pt x="224" y="671"/>
                  </a:lnTo>
                  <a:lnTo>
                    <a:pt x="220" y="690"/>
                  </a:lnTo>
                  <a:lnTo>
                    <a:pt x="213" y="713"/>
                  </a:lnTo>
                  <a:lnTo>
                    <a:pt x="209" y="723"/>
                  </a:lnTo>
                  <a:lnTo>
                    <a:pt x="205" y="732"/>
                  </a:lnTo>
                  <a:lnTo>
                    <a:pt x="199" y="740"/>
                  </a:lnTo>
                  <a:lnTo>
                    <a:pt x="193" y="746"/>
                  </a:lnTo>
                  <a:lnTo>
                    <a:pt x="187" y="751"/>
                  </a:lnTo>
                  <a:lnTo>
                    <a:pt x="180" y="755"/>
                  </a:lnTo>
                  <a:lnTo>
                    <a:pt x="173" y="759"/>
                  </a:lnTo>
                  <a:lnTo>
                    <a:pt x="166" y="763"/>
                  </a:lnTo>
                  <a:lnTo>
                    <a:pt x="152" y="769"/>
                  </a:lnTo>
                  <a:lnTo>
                    <a:pt x="138" y="777"/>
                  </a:lnTo>
                  <a:lnTo>
                    <a:pt x="131" y="782"/>
                  </a:lnTo>
                  <a:lnTo>
                    <a:pt x="125" y="787"/>
                  </a:lnTo>
                  <a:lnTo>
                    <a:pt x="120" y="794"/>
                  </a:lnTo>
                  <a:lnTo>
                    <a:pt x="115" y="804"/>
                  </a:lnTo>
                  <a:lnTo>
                    <a:pt x="111" y="812"/>
                  </a:lnTo>
                  <a:lnTo>
                    <a:pt x="110" y="821"/>
                  </a:lnTo>
                  <a:lnTo>
                    <a:pt x="109" y="830"/>
                  </a:lnTo>
                  <a:lnTo>
                    <a:pt x="110" y="841"/>
                  </a:lnTo>
                  <a:lnTo>
                    <a:pt x="111" y="850"/>
                  </a:lnTo>
                  <a:lnTo>
                    <a:pt x="111" y="861"/>
                  </a:lnTo>
                  <a:lnTo>
                    <a:pt x="111" y="870"/>
                  </a:lnTo>
                  <a:lnTo>
                    <a:pt x="110" y="879"/>
                  </a:lnTo>
                  <a:lnTo>
                    <a:pt x="110" y="890"/>
                  </a:lnTo>
                  <a:lnTo>
                    <a:pt x="109" y="901"/>
                  </a:lnTo>
                  <a:lnTo>
                    <a:pt x="107" y="912"/>
                  </a:lnTo>
                  <a:lnTo>
                    <a:pt x="104" y="924"/>
                  </a:lnTo>
                  <a:lnTo>
                    <a:pt x="102" y="935"/>
                  </a:lnTo>
                  <a:lnTo>
                    <a:pt x="102" y="947"/>
                  </a:lnTo>
                  <a:lnTo>
                    <a:pt x="102" y="952"/>
                  </a:lnTo>
                  <a:lnTo>
                    <a:pt x="103" y="957"/>
                  </a:lnTo>
                  <a:lnTo>
                    <a:pt x="106" y="962"/>
                  </a:lnTo>
                  <a:lnTo>
                    <a:pt x="109" y="968"/>
                  </a:lnTo>
                  <a:lnTo>
                    <a:pt x="114" y="979"/>
                  </a:lnTo>
                  <a:lnTo>
                    <a:pt x="118" y="996"/>
                  </a:lnTo>
                  <a:lnTo>
                    <a:pt x="121" y="1003"/>
                  </a:lnTo>
                  <a:lnTo>
                    <a:pt x="123" y="1010"/>
                  </a:lnTo>
                  <a:lnTo>
                    <a:pt x="127" y="1016"/>
                  </a:lnTo>
                  <a:lnTo>
                    <a:pt x="130" y="1019"/>
                  </a:lnTo>
                  <a:lnTo>
                    <a:pt x="142" y="1025"/>
                  </a:lnTo>
                  <a:lnTo>
                    <a:pt x="150" y="1031"/>
                  </a:lnTo>
                  <a:lnTo>
                    <a:pt x="156" y="1036"/>
                  </a:lnTo>
                  <a:lnTo>
                    <a:pt x="159" y="1041"/>
                  </a:lnTo>
                  <a:lnTo>
                    <a:pt x="161" y="1046"/>
                  </a:lnTo>
                  <a:lnTo>
                    <a:pt x="163" y="1050"/>
                  </a:lnTo>
                  <a:lnTo>
                    <a:pt x="163" y="1055"/>
                  </a:lnTo>
                  <a:lnTo>
                    <a:pt x="161" y="1060"/>
                  </a:lnTo>
                  <a:lnTo>
                    <a:pt x="157" y="1070"/>
                  </a:lnTo>
                  <a:lnTo>
                    <a:pt x="151" y="1082"/>
                  </a:lnTo>
                  <a:lnTo>
                    <a:pt x="149" y="1089"/>
                  </a:lnTo>
                  <a:lnTo>
                    <a:pt x="146" y="1096"/>
                  </a:lnTo>
                  <a:lnTo>
                    <a:pt x="145" y="1104"/>
                  </a:lnTo>
                  <a:lnTo>
                    <a:pt x="144" y="1112"/>
                  </a:lnTo>
                  <a:lnTo>
                    <a:pt x="146" y="1121"/>
                  </a:lnTo>
                  <a:lnTo>
                    <a:pt x="151" y="1130"/>
                  </a:lnTo>
                  <a:lnTo>
                    <a:pt x="152" y="1133"/>
                  </a:lnTo>
                  <a:lnTo>
                    <a:pt x="152" y="1138"/>
                  </a:lnTo>
                  <a:lnTo>
                    <a:pt x="151" y="1142"/>
                  </a:lnTo>
                  <a:lnTo>
                    <a:pt x="148" y="1148"/>
                  </a:lnTo>
                  <a:lnTo>
                    <a:pt x="130" y="1169"/>
                  </a:lnTo>
                  <a:lnTo>
                    <a:pt x="114" y="1188"/>
                  </a:lnTo>
                  <a:lnTo>
                    <a:pt x="107" y="1198"/>
                  </a:lnTo>
                  <a:lnTo>
                    <a:pt x="100" y="1209"/>
                  </a:lnTo>
                  <a:lnTo>
                    <a:pt x="94" y="1220"/>
                  </a:lnTo>
                  <a:lnTo>
                    <a:pt x="88" y="1234"/>
                  </a:lnTo>
                  <a:lnTo>
                    <a:pt x="80" y="1251"/>
                  </a:lnTo>
                  <a:lnTo>
                    <a:pt x="73" y="1265"/>
                  </a:lnTo>
                  <a:lnTo>
                    <a:pt x="73" y="1267"/>
                  </a:lnTo>
                  <a:lnTo>
                    <a:pt x="73" y="1270"/>
                  </a:lnTo>
                  <a:lnTo>
                    <a:pt x="74" y="1273"/>
                  </a:lnTo>
                  <a:lnTo>
                    <a:pt x="75" y="1275"/>
                  </a:lnTo>
                  <a:lnTo>
                    <a:pt x="78" y="1277"/>
                  </a:lnTo>
                  <a:lnTo>
                    <a:pt x="81" y="1280"/>
                  </a:lnTo>
                  <a:lnTo>
                    <a:pt x="86" y="1282"/>
                  </a:lnTo>
                  <a:lnTo>
                    <a:pt x="90" y="1284"/>
                  </a:lnTo>
                  <a:lnTo>
                    <a:pt x="116" y="1291"/>
                  </a:lnTo>
                  <a:lnTo>
                    <a:pt x="146" y="1299"/>
                  </a:lnTo>
                  <a:lnTo>
                    <a:pt x="160" y="1305"/>
                  </a:lnTo>
                  <a:lnTo>
                    <a:pt x="172" y="1312"/>
                  </a:lnTo>
                  <a:lnTo>
                    <a:pt x="178" y="1316"/>
                  </a:lnTo>
                  <a:lnTo>
                    <a:pt x="181" y="1320"/>
                  </a:lnTo>
                  <a:lnTo>
                    <a:pt x="185" y="1325"/>
                  </a:lnTo>
                  <a:lnTo>
                    <a:pt x="187" y="1331"/>
                  </a:lnTo>
                  <a:lnTo>
                    <a:pt x="187" y="1333"/>
                  </a:lnTo>
                  <a:lnTo>
                    <a:pt x="187" y="1337"/>
                  </a:lnTo>
                  <a:lnTo>
                    <a:pt x="186" y="1338"/>
                  </a:lnTo>
                  <a:lnTo>
                    <a:pt x="185" y="1340"/>
                  </a:lnTo>
                  <a:lnTo>
                    <a:pt x="180" y="1344"/>
                  </a:lnTo>
                  <a:lnTo>
                    <a:pt x="174" y="1347"/>
                  </a:lnTo>
                  <a:lnTo>
                    <a:pt x="163" y="1351"/>
                  </a:lnTo>
                  <a:lnTo>
                    <a:pt x="152" y="1353"/>
                  </a:lnTo>
                  <a:lnTo>
                    <a:pt x="142" y="1355"/>
                  </a:lnTo>
                  <a:lnTo>
                    <a:pt x="134" y="1359"/>
                  </a:lnTo>
                  <a:lnTo>
                    <a:pt x="127" y="1363"/>
                  </a:lnTo>
                  <a:lnTo>
                    <a:pt x="121" y="1368"/>
                  </a:lnTo>
                  <a:lnTo>
                    <a:pt x="109" y="1381"/>
                  </a:lnTo>
                  <a:lnTo>
                    <a:pt x="96" y="1395"/>
                  </a:lnTo>
                  <a:lnTo>
                    <a:pt x="90" y="1407"/>
                  </a:lnTo>
                  <a:lnTo>
                    <a:pt x="83" y="1418"/>
                  </a:lnTo>
                  <a:lnTo>
                    <a:pt x="76" y="1430"/>
                  </a:lnTo>
                  <a:lnTo>
                    <a:pt x="68" y="1440"/>
                  </a:lnTo>
                  <a:lnTo>
                    <a:pt x="61" y="1451"/>
                  </a:lnTo>
                  <a:lnTo>
                    <a:pt x="54" y="1461"/>
                  </a:lnTo>
                  <a:lnTo>
                    <a:pt x="47" y="1473"/>
                  </a:lnTo>
                  <a:lnTo>
                    <a:pt x="43" y="1485"/>
                  </a:lnTo>
                  <a:lnTo>
                    <a:pt x="40" y="1491"/>
                  </a:lnTo>
                  <a:lnTo>
                    <a:pt x="40" y="1496"/>
                  </a:lnTo>
                  <a:lnTo>
                    <a:pt x="42" y="1501"/>
                  </a:lnTo>
                  <a:lnTo>
                    <a:pt x="44" y="1504"/>
                  </a:lnTo>
                  <a:lnTo>
                    <a:pt x="47" y="1507"/>
                  </a:lnTo>
                  <a:lnTo>
                    <a:pt x="52" y="1508"/>
                  </a:lnTo>
                  <a:lnTo>
                    <a:pt x="57" y="1510"/>
                  </a:lnTo>
                  <a:lnTo>
                    <a:pt x="63" y="1510"/>
                  </a:lnTo>
                  <a:lnTo>
                    <a:pt x="75" y="1511"/>
                  </a:lnTo>
                  <a:lnTo>
                    <a:pt x="87" y="1512"/>
                  </a:lnTo>
                  <a:lnTo>
                    <a:pt x="93" y="1514"/>
                  </a:lnTo>
                  <a:lnTo>
                    <a:pt x="97" y="1515"/>
                  </a:lnTo>
                  <a:lnTo>
                    <a:pt x="102" y="1517"/>
                  </a:lnTo>
                  <a:lnTo>
                    <a:pt x="104" y="1521"/>
                  </a:lnTo>
                  <a:lnTo>
                    <a:pt x="106" y="1524"/>
                  </a:lnTo>
                  <a:lnTo>
                    <a:pt x="106" y="1532"/>
                  </a:lnTo>
                  <a:lnTo>
                    <a:pt x="103" y="1542"/>
                  </a:lnTo>
                  <a:lnTo>
                    <a:pt x="101" y="1553"/>
                  </a:lnTo>
                  <a:lnTo>
                    <a:pt x="95" y="1575"/>
                  </a:lnTo>
                  <a:lnTo>
                    <a:pt x="92" y="1593"/>
                  </a:lnTo>
                  <a:lnTo>
                    <a:pt x="93" y="1600"/>
                  </a:lnTo>
                  <a:lnTo>
                    <a:pt x="94" y="1607"/>
                  </a:lnTo>
                  <a:lnTo>
                    <a:pt x="96" y="1614"/>
                  </a:lnTo>
                  <a:lnTo>
                    <a:pt x="100" y="1621"/>
                  </a:lnTo>
                  <a:lnTo>
                    <a:pt x="102" y="1629"/>
                  </a:lnTo>
                  <a:lnTo>
                    <a:pt x="104" y="1636"/>
                  </a:lnTo>
                  <a:lnTo>
                    <a:pt x="106" y="1642"/>
                  </a:lnTo>
                  <a:lnTo>
                    <a:pt x="104" y="1647"/>
                  </a:lnTo>
                  <a:lnTo>
                    <a:pt x="103" y="1653"/>
                  </a:lnTo>
                  <a:lnTo>
                    <a:pt x="100" y="1658"/>
                  </a:lnTo>
                  <a:lnTo>
                    <a:pt x="96" y="1663"/>
                  </a:lnTo>
                  <a:lnTo>
                    <a:pt x="93" y="1667"/>
                  </a:lnTo>
                  <a:lnTo>
                    <a:pt x="89" y="1671"/>
                  </a:lnTo>
                  <a:lnTo>
                    <a:pt x="86" y="1677"/>
                  </a:lnTo>
                  <a:lnTo>
                    <a:pt x="83" y="1682"/>
                  </a:lnTo>
                  <a:lnTo>
                    <a:pt x="81" y="1689"/>
                  </a:lnTo>
                  <a:lnTo>
                    <a:pt x="79" y="1701"/>
                  </a:lnTo>
                  <a:lnTo>
                    <a:pt x="79" y="1713"/>
                  </a:lnTo>
                  <a:lnTo>
                    <a:pt x="79" y="1724"/>
                  </a:lnTo>
                  <a:lnTo>
                    <a:pt x="80" y="1736"/>
                  </a:lnTo>
                  <a:lnTo>
                    <a:pt x="81" y="1758"/>
                  </a:lnTo>
                  <a:lnTo>
                    <a:pt x="81" y="1778"/>
                  </a:lnTo>
                  <a:lnTo>
                    <a:pt x="80" y="1787"/>
                  </a:lnTo>
                  <a:lnTo>
                    <a:pt x="78" y="1795"/>
                  </a:lnTo>
                  <a:lnTo>
                    <a:pt x="73" y="1803"/>
                  </a:lnTo>
                  <a:lnTo>
                    <a:pt x="67" y="1812"/>
                  </a:lnTo>
                  <a:lnTo>
                    <a:pt x="58" y="1819"/>
                  </a:lnTo>
                  <a:lnTo>
                    <a:pt x="47" y="1824"/>
                  </a:lnTo>
                  <a:lnTo>
                    <a:pt x="33" y="1830"/>
                  </a:lnTo>
                  <a:lnTo>
                    <a:pt x="16" y="1835"/>
                  </a:lnTo>
                  <a:lnTo>
                    <a:pt x="10" y="1837"/>
                  </a:lnTo>
                  <a:lnTo>
                    <a:pt x="5" y="1839"/>
                  </a:lnTo>
                  <a:lnTo>
                    <a:pt x="3" y="1842"/>
                  </a:lnTo>
                  <a:lnTo>
                    <a:pt x="1" y="1844"/>
                  </a:lnTo>
                  <a:lnTo>
                    <a:pt x="0" y="1846"/>
                  </a:lnTo>
                  <a:lnTo>
                    <a:pt x="0" y="1849"/>
                  </a:lnTo>
                  <a:lnTo>
                    <a:pt x="1" y="1852"/>
                  </a:lnTo>
                  <a:lnTo>
                    <a:pt x="3" y="1855"/>
                  </a:lnTo>
                  <a:lnTo>
                    <a:pt x="9" y="1860"/>
                  </a:lnTo>
                  <a:lnTo>
                    <a:pt x="18" y="1867"/>
                  </a:lnTo>
                  <a:lnTo>
                    <a:pt x="30" y="1874"/>
                  </a:lnTo>
                  <a:lnTo>
                    <a:pt x="43" y="1880"/>
                  </a:lnTo>
                  <a:lnTo>
                    <a:pt x="71" y="1893"/>
                  </a:lnTo>
                  <a:lnTo>
                    <a:pt x="99" y="1903"/>
                  </a:lnTo>
                  <a:lnTo>
                    <a:pt x="121" y="1912"/>
                  </a:lnTo>
                  <a:lnTo>
                    <a:pt x="134" y="1916"/>
                  </a:lnTo>
                  <a:lnTo>
                    <a:pt x="132" y="1938"/>
                  </a:lnTo>
                  <a:lnTo>
                    <a:pt x="131" y="1962"/>
                  </a:lnTo>
                  <a:lnTo>
                    <a:pt x="128" y="1985"/>
                  </a:lnTo>
                  <a:lnTo>
                    <a:pt x="124" y="2009"/>
                  </a:lnTo>
                  <a:lnTo>
                    <a:pt x="122" y="2034"/>
                  </a:lnTo>
                  <a:lnTo>
                    <a:pt x="120" y="2058"/>
                  </a:lnTo>
                  <a:lnTo>
                    <a:pt x="118" y="2083"/>
                  </a:lnTo>
                  <a:lnTo>
                    <a:pt x="118" y="2107"/>
                  </a:lnTo>
                  <a:lnTo>
                    <a:pt x="118" y="2113"/>
                  </a:lnTo>
                  <a:lnTo>
                    <a:pt x="116" y="2118"/>
                  </a:lnTo>
                  <a:lnTo>
                    <a:pt x="164" y="2129"/>
                  </a:lnTo>
                  <a:lnTo>
                    <a:pt x="174" y="2129"/>
                  </a:lnTo>
                  <a:lnTo>
                    <a:pt x="186" y="2132"/>
                  </a:lnTo>
                  <a:lnTo>
                    <a:pt x="198" y="2135"/>
                  </a:lnTo>
                  <a:lnTo>
                    <a:pt x="208" y="2139"/>
                  </a:lnTo>
                  <a:lnTo>
                    <a:pt x="220" y="2141"/>
                  </a:lnTo>
                  <a:lnTo>
                    <a:pt x="231" y="2144"/>
                  </a:lnTo>
                  <a:lnTo>
                    <a:pt x="243" y="2146"/>
                  </a:lnTo>
                  <a:lnTo>
                    <a:pt x="256" y="2147"/>
                  </a:lnTo>
                  <a:lnTo>
                    <a:pt x="273" y="2142"/>
                  </a:lnTo>
                  <a:lnTo>
                    <a:pt x="293" y="2136"/>
                  </a:lnTo>
                  <a:lnTo>
                    <a:pt x="302" y="2134"/>
                  </a:lnTo>
                  <a:lnTo>
                    <a:pt x="312" y="2134"/>
                  </a:lnTo>
                  <a:lnTo>
                    <a:pt x="316" y="2134"/>
                  </a:lnTo>
                  <a:lnTo>
                    <a:pt x="321" y="2134"/>
                  </a:lnTo>
                  <a:lnTo>
                    <a:pt x="326" y="2135"/>
                  </a:lnTo>
                  <a:lnTo>
                    <a:pt x="329" y="2137"/>
                  </a:lnTo>
                  <a:lnTo>
                    <a:pt x="336" y="2141"/>
                  </a:lnTo>
                  <a:lnTo>
                    <a:pt x="343" y="2143"/>
                  </a:lnTo>
                  <a:lnTo>
                    <a:pt x="349" y="2144"/>
                  </a:lnTo>
                  <a:lnTo>
                    <a:pt x="355" y="2144"/>
                  </a:lnTo>
                  <a:lnTo>
                    <a:pt x="368" y="2143"/>
                  </a:lnTo>
                  <a:lnTo>
                    <a:pt x="380" y="2144"/>
                  </a:lnTo>
                  <a:lnTo>
                    <a:pt x="399" y="2151"/>
                  </a:lnTo>
                  <a:lnTo>
                    <a:pt x="412" y="2157"/>
                  </a:lnTo>
                  <a:lnTo>
                    <a:pt x="419" y="2158"/>
                  </a:lnTo>
                  <a:lnTo>
                    <a:pt x="426" y="2157"/>
                  </a:lnTo>
                  <a:lnTo>
                    <a:pt x="433" y="2154"/>
                  </a:lnTo>
                  <a:lnTo>
                    <a:pt x="442" y="2147"/>
                  </a:lnTo>
                  <a:lnTo>
                    <a:pt x="456" y="2132"/>
                  </a:lnTo>
                  <a:lnTo>
                    <a:pt x="471" y="2118"/>
                  </a:lnTo>
                  <a:lnTo>
                    <a:pt x="487" y="2104"/>
                  </a:lnTo>
                  <a:lnTo>
                    <a:pt x="504" y="2090"/>
                  </a:lnTo>
                  <a:lnTo>
                    <a:pt x="513" y="2077"/>
                  </a:lnTo>
                  <a:lnTo>
                    <a:pt x="521" y="2066"/>
                  </a:lnTo>
                  <a:lnTo>
                    <a:pt x="530" y="2056"/>
                  </a:lnTo>
                  <a:lnTo>
                    <a:pt x="541" y="2048"/>
                  </a:lnTo>
                  <a:lnTo>
                    <a:pt x="547" y="2045"/>
                  </a:lnTo>
                  <a:lnTo>
                    <a:pt x="553" y="2043"/>
                  </a:lnTo>
                  <a:lnTo>
                    <a:pt x="558" y="2041"/>
                  </a:lnTo>
                  <a:lnTo>
                    <a:pt x="564" y="2040"/>
                  </a:lnTo>
                  <a:lnTo>
                    <a:pt x="571" y="2040"/>
                  </a:lnTo>
                  <a:lnTo>
                    <a:pt x="578" y="2041"/>
                  </a:lnTo>
                  <a:lnTo>
                    <a:pt x="586" y="2042"/>
                  </a:lnTo>
                  <a:lnTo>
                    <a:pt x="593" y="2044"/>
                  </a:lnTo>
                  <a:lnTo>
                    <a:pt x="604" y="2048"/>
                  </a:lnTo>
                  <a:lnTo>
                    <a:pt x="612" y="2050"/>
                  </a:lnTo>
                  <a:lnTo>
                    <a:pt x="619" y="2051"/>
                  </a:lnTo>
                  <a:lnTo>
                    <a:pt x="624" y="2051"/>
                  </a:lnTo>
                  <a:lnTo>
                    <a:pt x="628" y="2051"/>
                  </a:lnTo>
                  <a:lnTo>
                    <a:pt x="633" y="2050"/>
                  </a:lnTo>
                  <a:lnTo>
                    <a:pt x="635" y="2048"/>
                  </a:lnTo>
                  <a:lnTo>
                    <a:pt x="639" y="2045"/>
                  </a:lnTo>
                  <a:lnTo>
                    <a:pt x="643" y="2041"/>
                  </a:lnTo>
                  <a:lnTo>
                    <a:pt x="649" y="2036"/>
                  </a:lnTo>
                  <a:lnTo>
                    <a:pt x="652" y="2034"/>
                  </a:lnTo>
                  <a:lnTo>
                    <a:pt x="656" y="2033"/>
                  </a:lnTo>
                  <a:lnTo>
                    <a:pt x="661" y="2031"/>
                  </a:lnTo>
                  <a:lnTo>
                    <a:pt x="667" y="2031"/>
                  </a:lnTo>
                  <a:lnTo>
                    <a:pt x="674" y="2031"/>
                  </a:lnTo>
                  <a:lnTo>
                    <a:pt x="681" y="2034"/>
                  </a:lnTo>
                  <a:lnTo>
                    <a:pt x="686" y="2037"/>
                  </a:lnTo>
                  <a:lnTo>
                    <a:pt x="693" y="2042"/>
                  </a:lnTo>
                  <a:lnTo>
                    <a:pt x="707" y="2051"/>
                  </a:lnTo>
                  <a:lnTo>
                    <a:pt x="721" y="2061"/>
                  </a:lnTo>
                  <a:lnTo>
                    <a:pt x="728" y="2064"/>
                  </a:lnTo>
                  <a:lnTo>
                    <a:pt x="735" y="2066"/>
                  </a:lnTo>
                  <a:lnTo>
                    <a:pt x="741" y="2069"/>
                  </a:lnTo>
                  <a:lnTo>
                    <a:pt x="748" y="2069"/>
                  </a:lnTo>
                  <a:lnTo>
                    <a:pt x="755" y="2068"/>
                  </a:lnTo>
                  <a:lnTo>
                    <a:pt x="761" y="2064"/>
                  </a:lnTo>
                  <a:lnTo>
                    <a:pt x="767" y="2058"/>
                  </a:lnTo>
                  <a:lnTo>
                    <a:pt x="773" y="2050"/>
                  </a:lnTo>
                  <a:lnTo>
                    <a:pt x="777" y="2037"/>
                  </a:lnTo>
                  <a:lnTo>
                    <a:pt x="783" y="2021"/>
                  </a:lnTo>
                  <a:lnTo>
                    <a:pt x="785" y="2013"/>
                  </a:lnTo>
                  <a:lnTo>
                    <a:pt x="789" y="2006"/>
                  </a:lnTo>
                  <a:lnTo>
                    <a:pt x="791" y="2004"/>
                  </a:lnTo>
                  <a:lnTo>
                    <a:pt x="792" y="2002"/>
                  </a:lnTo>
                  <a:lnTo>
                    <a:pt x="795" y="2001"/>
                  </a:lnTo>
                  <a:lnTo>
                    <a:pt x="797" y="2001"/>
                  </a:lnTo>
                  <a:lnTo>
                    <a:pt x="805" y="2002"/>
                  </a:lnTo>
                  <a:lnTo>
                    <a:pt x="811" y="2002"/>
                  </a:lnTo>
                  <a:lnTo>
                    <a:pt x="817" y="2000"/>
                  </a:lnTo>
                  <a:lnTo>
                    <a:pt x="820" y="1997"/>
                  </a:lnTo>
                  <a:lnTo>
                    <a:pt x="825" y="1992"/>
                  </a:lnTo>
                  <a:lnTo>
                    <a:pt x="827" y="1986"/>
                  </a:lnTo>
                  <a:lnTo>
                    <a:pt x="831" y="1980"/>
                  </a:lnTo>
                  <a:lnTo>
                    <a:pt x="833" y="1974"/>
                  </a:lnTo>
                  <a:lnTo>
                    <a:pt x="839" y="1974"/>
                  </a:lnTo>
                  <a:lnTo>
                    <a:pt x="846" y="1973"/>
                  </a:lnTo>
                  <a:lnTo>
                    <a:pt x="851" y="1971"/>
                  </a:lnTo>
                  <a:lnTo>
                    <a:pt x="855" y="1969"/>
                  </a:lnTo>
                  <a:lnTo>
                    <a:pt x="865" y="1963"/>
                  </a:lnTo>
                  <a:lnTo>
                    <a:pt x="873" y="1956"/>
                  </a:lnTo>
                  <a:lnTo>
                    <a:pt x="876" y="1954"/>
                  </a:lnTo>
                  <a:lnTo>
                    <a:pt x="881" y="1951"/>
                  </a:lnTo>
                  <a:lnTo>
                    <a:pt x="885" y="1950"/>
                  </a:lnTo>
                  <a:lnTo>
                    <a:pt x="890" y="1949"/>
                  </a:lnTo>
                  <a:lnTo>
                    <a:pt x="896" y="1949"/>
                  </a:lnTo>
                  <a:lnTo>
                    <a:pt x="902" y="1950"/>
                  </a:lnTo>
                  <a:lnTo>
                    <a:pt x="909" y="1952"/>
                  </a:lnTo>
                  <a:lnTo>
                    <a:pt x="917" y="1957"/>
                  </a:lnTo>
                  <a:lnTo>
                    <a:pt x="925" y="1960"/>
                  </a:lnTo>
                  <a:lnTo>
                    <a:pt x="933" y="1963"/>
                  </a:lnTo>
                  <a:lnTo>
                    <a:pt x="941" y="1964"/>
                  </a:lnTo>
                  <a:lnTo>
                    <a:pt x="948" y="1964"/>
                  </a:lnTo>
                  <a:lnTo>
                    <a:pt x="955" y="1963"/>
                  </a:lnTo>
                  <a:lnTo>
                    <a:pt x="961" y="1959"/>
                  </a:lnTo>
                  <a:lnTo>
                    <a:pt x="967" y="1956"/>
                  </a:lnTo>
                  <a:lnTo>
                    <a:pt x="972" y="1951"/>
                  </a:lnTo>
                  <a:lnTo>
                    <a:pt x="976" y="1947"/>
                  </a:lnTo>
                  <a:lnTo>
                    <a:pt x="979" y="1941"/>
                  </a:lnTo>
                  <a:lnTo>
                    <a:pt x="982" y="1934"/>
                  </a:lnTo>
                  <a:lnTo>
                    <a:pt x="983" y="1927"/>
                  </a:lnTo>
                  <a:lnTo>
                    <a:pt x="984" y="1919"/>
                  </a:lnTo>
                  <a:lnTo>
                    <a:pt x="984" y="1910"/>
                  </a:lnTo>
                  <a:lnTo>
                    <a:pt x="983" y="1902"/>
                  </a:lnTo>
                  <a:lnTo>
                    <a:pt x="981" y="1894"/>
                  </a:lnTo>
                  <a:lnTo>
                    <a:pt x="977" y="1877"/>
                  </a:lnTo>
                  <a:lnTo>
                    <a:pt x="974" y="1863"/>
                  </a:lnTo>
                  <a:lnTo>
                    <a:pt x="973" y="1857"/>
                  </a:lnTo>
                  <a:lnTo>
                    <a:pt x="974" y="1850"/>
                  </a:lnTo>
                  <a:lnTo>
                    <a:pt x="975" y="1846"/>
                  </a:lnTo>
                  <a:lnTo>
                    <a:pt x="976" y="1843"/>
                  </a:lnTo>
                  <a:lnTo>
                    <a:pt x="979" y="1839"/>
                  </a:lnTo>
                  <a:lnTo>
                    <a:pt x="982" y="1836"/>
                  </a:lnTo>
                  <a:lnTo>
                    <a:pt x="987" y="1831"/>
                  </a:lnTo>
                  <a:lnTo>
                    <a:pt x="989" y="1827"/>
                  </a:lnTo>
                  <a:lnTo>
                    <a:pt x="990" y="1822"/>
                  </a:lnTo>
                  <a:lnTo>
                    <a:pt x="990" y="1817"/>
                  </a:lnTo>
                  <a:lnTo>
                    <a:pt x="991" y="1812"/>
                  </a:lnTo>
                  <a:lnTo>
                    <a:pt x="993" y="1806"/>
                  </a:lnTo>
                  <a:lnTo>
                    <a:pt x="995" y="1801"/>
                  </a:lnTo>
                  <a:lnTo>
                    <a:pt x="1000" y="1795"/>
                  </a:lnTo>
                  <a:lnTo>
                    <a:pt x="1005" y="1791"/>
                  </a:lnTo>
                  <a:lnTo>
                    <a:pt x="1011" y="1786"/>
                  </a:lnTo>
                  <a:lnTo>
                    <a:pt x="1017" y="1782"/>
                  </a:lnTo>
                  <a:lnTo>
                    <a:pt x="1024" y="1779"/>
                  </a:lnTo>
                  <a:lnTo>
                    <a:pt x="1037" y="1775"/>
                  </a:lnTo>
                  <a:lnTo>
                    <a:pt x="1050" y="1772"/>
                  </a:lnTo>
                  <a:lnTo>
                    <a:pt x="1061" y="1770"/>
                  </a:lnTo>
                  <a:lnTo>
                    <a:pt x="1073" y="1767"/>
                  </a:lnTo>
                  <a:lnTo>
                    <a:pt x="1079" y="1766"/>
                  </a:lnTo>
                  <a:lnTo>
                    <a:pt x="1083" y="1764"/>
                  </a:lnTo>
                  <a:lnTo>
                    <a:pt x="1088" y="1760"/>
                  </a:lnTo>
                  <a:lnTo>
                    <a:pt x="1093" y="1757"/>
                  </a:lnTo>
                  <a:lnTo>
                    <a:pt x="1101" y="1751"/>
                  </a:lnTo>
                  <a:lnTo>
                    <a:pt x="1108" y="1748"/>
                  </a:lnTo>
                  <a:lnTo>
                    <a:pt x="1116" y="1744"/>
                  </a:lnTo>
                  <a:lnTo>
                    <a:pt x="1123" y="1742"/>
                  </a:lnTo>
                  <a:lnTo>
                    <a:pt x="1131" y="1739"/>
                  </a:lnTo>
                  <a:lnTo>
                    <a:pt x="1139" y="1736"/>
                  </a:lnTo>
                  <a:lnTo>
                    <a:pt x="1147" y="1731"/>
                  </a:lnTo>
                  <a:lnTo>
                    <a:pt x="1156" y="1725"/>
                  </a:lnTo>
                  <a:lnTo>
                    <a:pt x="1163" y="1721"/>
                  </a:lnTo>
                  <a:lnTo>
                    <a:pt x="1168" y="1720"/>
                  </a:lnTo>
                  <a:lnTo>
                    <a:pt x="1173" y="1720"/>
                  </a:lnTo>
                  <a:lnTo>
                    <a:pt x="1179" y="1722"/>
                  </a:lnTo>
                  <a:lnTo>
                    <a:pt x="1183" y="1723"/>
                  </a:lnTo>
                  <a:lnTo>
                    <a:pt x="1188" y="1724"/>
                  </a:lnTo>
                  <a:lnTo>
                    <a:pt x="1194" y="1725"/>
                  </a:lnTo>
                  <a:lnTo>
                    <a:pt x="1201" y="1723"/>
                  </a:lnTo>
                  <a:lnTo>
                    <a:pt x="1216" y="1716"/>
                  </a:lnTo>
                  <a:lnTo>
                    <a:pt x="1238" y="1707"/>
                  </a:lnTo>
                  <a:lnTo>
                    <a:pt x="1259" y="1699"/>
                  </a:lnTo>
                  <a:lnTo>
                    <a:pt x="1270" y="1695"/>
                  </a:lnTo>
                  <a:lnTo>
                    <a:pt x="1278" y="1702"/>
                  </a:lnTo>
                  <a:lnTo>
                    <a:pt x="1286" y="1706"/>
                  </a:lnTo>
                  <a:lnTo>
                    <a:pt x="1292" y="1707"/>
                  </a:lnTo>
                  <a:lnTo>
                    <a:pt x="1298" y="1707"/>
                  </a:lnTo>
                  <a:lnTo>
                    <a:pt x="1303" y="1709"/>
                  </a:lnTo>
                  <a:lnTo>
                    <a:pt x="1308" y="1713"/>
                  </a:lnTo>
                  <a:lnTo>
                    <a:pt x="1314" y="1720"/>
                  </a:lnTo>
                  <a:lnTo>
                    <a:pt x="1321" y="1731"/>
                  </a:lnTo>
                  <a:lnTo>
                    <a:pt x="1330" y="1734"/>
                  </a:lnTo>
                  <a:lnTo>
                    <a:pt x="1338" y="1734"/>
                  </a:lnTo>
                  <a:lnTo>
                    <a:pt x="1348" y="1732"/>
                  </a:lnTo>
                  <a:lnTo>
                    <a:pt x="1356" y="1729"/>
                  </a:lnTo>
                  <a:lnTo>
                    <a:pt x="1364" y="1724"/>
                  </a:lnTo>
                  <a:lnTo>
                    <a:pt x="1371" y="1718"/>
                  </a:lnTo>
                  <a:lnTo>
                    <a:pt x="1378" y="1711"/>
                  </a:lnTo>
                  <a:lnTo>
                    <a:pt x="1385" y="1703"/>
                  </a:lnTo>
                  <a:lnTo>
                    <a:pt x="1391" y="1694"/>
                  </a:lnTo>
                  <a:lnTo>
                    <a:pt x="1395" y="1685"/>
                  </a:lnTo>
                  <a:lnTo>
                    <a:pt x="1399" y="1675"/>
                  </a:lnTo>
                  <a:lnTo>
                    <a:pt x="1401" y="1665"/>
                  </a:lnTo>
                  <a:lnTo>
                    <a:pt x="1403" y="1656"/>
                  </a:lnTo>
                  <a:lnTo>
                    <a:pt x="1403" y="1645"/>
                  </a:lnTo>
                  <a:lnTo>
                    <a:pt x="1403" y="1636"/>
                  </a:lnTo>
                  <a:lnTo>
                    <a:pt x="1401" y="1628"/>
                  </a:lnTo>
                  <a:lnTo>
                    <a:pt x="1395" y="1626"/>
                  </a:lnTo>
                  <a:lnTo>
                    <a:pt x="1391" y="1625"/>
                  </a:lnTo>
                  <a:lnTo>
                    <a:pt x="1387" y="1623"/>
                  </a:lnTo>
                  <a:lnTo>
                    <a:pt x="1385" y="1621"/>
                  </a:lnTo>
                  <a:lnTo>
                    <a:pt x="1384" y="1617"/>
                  </a:lnTo>
                  <a:lnTo>
                    <a:pt x="1384" y="1613"/>
                  </a:lnTo>
                  <a:lnTo>
                    <a:pt x="1385" y="1609"/>
                  </a:lnTo>
                  <a:lnTo>
                    <a:pt x="1386" y="1604"/>
                  </a:lnTo>
                  <a:lnTo>
                    <a:pt x="1394" y="1585"/>
                  </a:lnTo>
                  <a:lnTo>
                    <a:pt x="1402" y="1567"/>
                  </a:lnTo>
                  <a:lnTo>
                    <a:pt x="1416" y="1562"/>
                  </a:lnTo>
                  <a:lnTo>
                    <a:pt x="1435" y="1558"/>
                  </a:lnTo>
                  <a:lnTo>
                    <a:pt x="1466" y="1535"/>
                  </a:lnTo>
                  <a:lnTo>
                    <a:pt x="1472" y="1538"/>
                  </a:lnTo>
                  <a:lnTo>
                    <a:pt x="1478" y="1539"/>
                  </a:lnTo>
                  <a:lnTo>
                    <a:pt x="1484" y="1540"/>
                  </a:lnTo>
                  <a:lnTo>
                    <a:pt x="1491" y="1540"/>
                  </a:lnTo>
                  <a:lnTo>
                    <a:pt x="1497" y="1540"/>
                  </a:lnTo>
                  <a:lnTo>
                    <a:pt x="1502" y="1542"/>
                  </a:lnTo>
                  <a:lnTo>
                    <a:pt x="1508" y="1543"/>
                  </a:lnTo>
                  <a:lnTo>
                    <a:pt x="1514" y="1545"/>
                  </a:lnTo>
                  <a:lnTo>
                    <a:pt x="1518" y="1547"/>
                  </a:lnTo>
                  <a:lnTo>
                    <a:pt x="1521" y="1551"/>
                  </a:lnTo>
                  <a:lnTo>
                    <a:pt x="1523" y="1556"/>
                  </a:lnTo>
                  <a:lnTo>
                    <a:pt x="1525" y="1561"/>
                  </a:lnTo>
                  <a:lnTo>
                    <a:pt x="1528" y="1573"/>
                  </a:lnTo>
                  <a:lnTo>
                    <a:pt x="1532" y="1586"/>
                  </a:lnTo>
                  <a:lnTo>
                    <a:pt x="1534" y="1592"/>
                  </a:lnTo>
                  <a:lnTo>
                    <a:pt x="1536" y="1597"/>
                  </a:lnTo>
                  <a:lnTo>
                    <a:pt x="1539" y="1602"/>
                  </a:lnTo>
                  <a:lnTo>
                    <a:pt x="1542" y="1607"/>
                  </a:lnTo>
                  <a:lnTo>
                    <a:pt x="1547" y="1610"/>
                  </a:lnTo>
                  <a:lnTo>
                    <a:pt x="1552" y="1614"/>
                  </a:lnTo>
                  <a:lnTo>
                    <a:pt x="1558" y="1615"/>
                  </a:lnTo>
                  <a:lnTo>
                    <a:pt x="1565" y="1616"/>
                  </a:lnTo>
                  <a:lnTo>
                    <a:pt x="1572" y="1616"/>
                  </a:lnTo>
                  <a:lnTo>
                    <a:pt x="1578" y="1617"/>
                  </a:lnTo>
                  <a:lnTo>
                    <a:pt x="1584" y="1618"/>
                  </a:lnTo>
                  <a:lnTo>
                    <a:pt x="1587" y="1621"/>
                  </a:lnTo>
                  <a:lnTo>
                    <a:pt x="1594" y="1625"/>
                  </a:lnTo>
                  <a:lnTo>
                    <a:pt x="1600" y="1631"/>
                  </a:lnTo>
                  <a:lnTo>
                    <a:pt x="1608" y="1646"/>
                  </a:lnTo>
                  <a:lnTo>
                    <a:pt x="1620" y="1661"/>
                  </a:lnTo>
                  <a:lnTo>
                    <a:pt x="1622" y="1664"/>
                  </a:lnTo>
                  <a:lnTo>
                    <a:pt x="1625" y="1665"/>
                  </a:lnTo>
                  <a:lnTo>
                    <a:pt x="1628" y="1666"/>
                  </a:lnTo>
                  <a:lnTo>
                    <a:pt x="1632" y="1666"/>
                  </a:lnTo>
                  <a:lnTo>
                    <a:pt x="1639" y="1665"/>
                  </a:lnTo>
                  <a:lnTo>
                    <a:pt x="1646" y="1661"/>
                  </a:lnTo>
                  <a:lnTo>
                    <a:pt x="1653" y="1657"/>
                  </a:lnTo>
                  <a:lnTo>
                    <a:pt x="1660" y="1650"/>
                  </a:lnTo>
                  <a:lnTo>
                    <a:pt x="1665" y="1643"/>
                  </a:lnTo>
                  <a:lnTo>
                    <a:pt x="1670" y="1635"/>
                  </a:lnTo>
                  <a:lnTo>
                    <a:pt x="1675" y="1625"/>
                  </a:lnTo>
                  <a:lnTo>
                    <a:pt x="1677" y="1617"/>
                  </a:lnTo>
                  <a:lnTo>
                    <a:pt x="1677" y="1609"/>
                  </a:lnTo>
                  <a:lnTo>
                    <a:pt x="1676" y="1602"/>
                  </a:lnTo>
                  <a:lnTo>
                    <a:pt x="1675" y="1599"/>
                  </a:lnTo>
                  <a:lnTo>
                    <a:pt x="1672" y="1596"/>
                  </a:lnTo>
                  <a:lnTo>
                    <a:pt x="1669" y="1593"/>
                  </a:lnTo>
                  <a:lnTo>
                    <a:pt x="1665" y="1592"/>
                  </a:lnTo>
                  <a:lnTo>
                    <a:pt x="1661" y="1589"/>
                  </a:lnTo>
                  <a:lnTo>
                    <a:pt x="1656" y="1588"/>
                  </a:lnTo>
                  <a:lnTo>
                    <a:pt x="1650" y="1587"/>
                  </a:lnTo>
                  <a:lnTo>
                    <a:pt x="1643" y="1587"/>
                  </a:lnTo>
                  <a:lnTo>
                    <a:pt x="1628" y="1586"/>
                  </a:lnTo>
                  <a:lnTo>
                    <a:pt x="1614" y="1585"/>
                  </a:lnTo>
                  <a:lnTo>
                    <a:pt x="1601" y="1580"/>
                  </a:lnTo>
                  <a:lnTo>
                    <a:pt x="1591" y="1575"/>
                  </a:lnTo>
                  <a:lnTo>
                    <a:pt x="1586" y="1572"/>
                  </a:lnTo>
                  <a:lnTo>
                    <a:pt x="1583" y="1568"/>
                  </a:lnTo>
                  <a:lnTo>
                    <a:pt x="1579" y="1564"/>
                  </a:lnTo>
                  <a:lnTo>
                    <a:pt x="1577" y="1559"/>
                  </a:lnTo>
                  <a:lnTo>
                    <a:pt x="1576" y="1553"/>
                  </a:lnTo>
                  <a:lnTo>
                    <a:pt x="1575" y="1547"/>
                  </a:lnTo>
                  <a:lnTo>
                    <a:pt x="1575" y="1540"/>
                  </a:lnTo>
                  <a:lnTo>
                    <a:pt x="1576" y="1533"/>
                  </a:lnTo>
                  <a:lnTo>
                    <a:pt x="1578" y="1524"/>
                  </a:lnTo>
                  <a:lnTo>
                    <a:pt x="1580" y="1518"/>
                  </a:lnTo>
                  <a:lnTo>
                    <a:pt x="1583" y="1515"/>
                  </a:lnTo>
                  <a:lnTo>
                    <a:pt x="1585" y="1512"/>
                  </a:lnTo>
                  <a:lnTo>
                    <a:pt x="1587" y="1512"/>
                  </a:lnTo>
                  <a:lnTo>
                    <a:pt x="1591" y="1514"/>
                  </a:lnTo>
                  <a:lnTo>
                    <a:pt x="1594" y="1515"/>
                  </a:lnTo>
                  <a:lnTo>
                    <a:pt x="1597" y="1517"/>
                  </a:lnTo>
                  <a:lnTo>
                    <a:pt x="1601" y="1519"/>
                  </a:lnTo>
                  <a:lnTo>
                    <a:pt x="1605" y="1521"/>
                  </a:lnTo>
                  <a:lnTo>
                    <a:pt x="1610" y="1522"/>
                  </a:lnTo>
                  <a:lnTo>
                    <a:pt x="1613" y="1521"/>
                  </a:lnTo>
                  <a:lnTo>
                    <a:pt x="1619" y="1519"/>
                  </a:lnTo>
                  <a:lnTo>
                    <a:pt x="1623" y="1515"/>
                  </a:lnTo>
                  <a:lnTo>
                    <a:pt x="1629" y="1509"/>
                  </a:lnTo>
                  <a:lnTo>
                    <a:pt x="1635" y="1501"/>
                  </a:lnTo>
                  <a:lnTo>
                    <a:pt x="1641" y="1493"/>
                  </a:lnTo>
                  <a:lnTo>
                    <a:pt x="1647" y="1486"/>
                  </a:lnTo>
                  <a:lnTo>
                    <a:pt x="1654" y="1480"/>
                  </a:lnTo>
                  <a:lnTo>
                    <a:pt x="1662" y="1475"/>
                  </a:lnTo>
                  <a:lnTo>
                    <a:pt x="1665" y="1473"/>
                  </a:lnTo>
                  <a:lnTo>
                    <a:pt x="1670" y="1472"/>
                  </a:lnTo>
                  <a:lnTo>
                    <a:pt x="1674" y="1472"/>
                  </a:lnTo>
                  <a:lnTo>
                    <a:pt x="1678" y="1472"/>
                  </a:lnTo>
                  <a:lnTo>
                    <a:pt x="1683" y="1473"/>
                  </a:lnTo>
                  <a:lnTo>
                    <a:pt x="1686" y="1475"/>
                  </a:lnTo>
                  <a:lnTo>
                    <a:pt x="1691" y="1478"/>
                  </a:lnTo>
                  <a:lnTo>
                    <a:pt x="1694" y="1481"/>
                  </a:lnTo>
                  <a:lnTo>
                    <a:pt x="1704" y="1488"/>
                  </a:lnTo>
                  <a:lnTo>
                    <a:pt x="1715" y="1496"/>
                  </a:lnTo>
                  <a:lnTo>
                    <a:pt x="1729" y="1504"/>
                  </a:lnTo>
                  <a:lnTo>
                    <a:pt x="1746" y="1511"/>
                  </a:lnTo>
                  <a:lnTo>
                    <a:pt x="1762" y="1517"/>
                  </a:lnTo>
                  <a:lnTo>
                    <a:pt x="1777" y="1522"/>
                  </a:lnTo>
                  <a:lnTo>
                    <a:pt x="1784" y="1523"/>
                  </a:lnTo>
                  <a:lnTo>
                    <a:pt x="1791" y="1523"/>
                  </a:lnTo>
                  <a:lnTo>
                    <a:pt x="1797" y="1523"/>
                  </a:lnTo>
                  <a:lnTo>
                    <a:pt x="1803" y="1521"/>
                  </a:lnTo>
                  <a:lnTo>
                    <a:pt x="1810" y="1517"/>
                  </a:lnTo>
                  <a:lnTo>
                    <a:pt x="1814" y="1512"/>
                  </a:lnTo>
                  <a:lnTo>
                    <a:pt x="1819" y="1508"/>
                  </a:lnTo>
                  <a:lnTo>
                    <a:pt x="1821" y="1501"/>
                  </a:lnTo>
                  <a:lnTo>
                    <a:pt x="1825" y="1488"/>
                  </a:lnTo>
                  <a:lnTo>
                    <a:pt x="1827" y="1473"/>
                  </a:lnTo>
                  <a:lnTo>
                    <a:pt x="1830" y="1466"/>
                  </a:lnTo>
                  <a:lnTo>
                    <a:pt x="1832" y="1459"/>
                  </a:lnTo>
                  <a:lnTo>
                    <a:pt x="1835" y="1453"/>
                  </a:lnTo>
                  <a:lnTo>
                    <a:pt x="1840" y="1448"/>
                  </a:lnTo>
                  <a:lnTo>
                    <a:pt x="1846" y="1444"/>
                  </a:lnTo>
                  <a:lnTo>
                    <a:pt x="1854" y="1440"/>
                  </a:lnTo>
                  <a:lnTo>
                    <a:pt x="1864" y="1438"/>
                  </a:lnTo>
                  <a:lnTo>
                    <a:pt x="1877" y="1437"/>
                  </a:lnTo>
                  <a:lnTo>
                    <a:pt x="1895" y="1437"/>
                  </a:lnTo>
                  <a:lnTo>
                    <a:pt x="1911" y="1434"/>
                  </a:lnTo>
                  <a:lnTo>
                    <a:pt x="1926" y="1431"/>
                  </a:lnTo>
                  <a:lnTo>
                    <a:pt x="1944" y="1427"/>
                  </a:lnTo>
                  <a:lnTo>
                    <a:pt x="1953" y="1424"/>
                  </a:lnTo>
                  <a:lnTo>
                    <a:pt x="1960" y="1422"/>
                  </a:lnTo>
                  <a:lnTo>
                    <a:pt x="1966" y="1418"/>
                  </a:lnTo>
                  <a:lnTo>
                    <a:pt x="1969" y="1415"/>
                  </a:lnTo>
                  <a:lnTo>
                    <a:pt x="1975" y="1407"/>
                  </a:lnTo>
                  <a:lnTo>
                    <a:pt x="1979" y="1398"/>
                  </a:lnTo>
                  <a:lnTo>
                    <a:pt x="1982" y="1390"/>
                  </a:lnTo>
                  <a:lnTo>
                    <a:pt x="1988" y="1383"/>
                  </a:lnTo>
                  <a:lnTo>
                    <a:pt x="1992" y="1380"/>
                  </a:lnTo>
                  <a:lnTo>
                    <a:pt x="1998" y="1376"/>
                  </a:lnTo>
                  <a:lnTo>
                    <a:pt x="2005" y="1374"/>
                  </a:lnTo>
                  <a:lnTo>
                    <a:pt x="2015" y="1372"/>
                  </a:lnTo>
                  <a:lnTo>
                    <a:pt x="2020" y="1369"/>
                  </a:lnTo>
                  <a:lnTo>
                    <a:pt x="2026" y="1366"/>
                  </a:lnTo>
                  <a:lnTo>
                    <a:pt x="2031" y="1360"/>
                  </a:lnTo>
                  <a:lnTo>
                    <a:pt x="2036" y="1354"/>
                  </a:lnTo>
                  <a:lnTo>
                    <a:pt x="2034" y="1357"/>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endParaRPr lang="en-GB" sz="1200" dirty="0"/>
            </a:p>
          </p:txBody>
        </p:sp>
      </p:grpSp>
      <p:cxnSp>
        <p:nvCxnSpPr>
          <p:cNvPr id="30" name="Straight Arrow Connector 29"/>
          <p:cNvCxnSpPr/>
          <p:nvPr/>
        </p:nvCxnSpPr>
        <p:spPr>
          <a:xfrm flipV="1">
            <a:off x="1110157" y="3931947"/>
            <a:ext cx="201976" cy="114166"/>
          </a:xfrm>
          <a:prstGeom prst="straightConnector1">
            <a:avLst/>
          </a:prstGeom>
          <a:ln w="28575">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31" name="Freeform 30"/>
          <p:cNvSpPr/>
          <p:nvPr/>
        </p:nvSpPr>
        <p:spPr>
          <a:xfrm>
            <a:off x="373557" y="2826909"/>
            <a:ext cx="3290097" cy="3004822"/>
          </a:xfrm>
          <a:custGeom>
            <a:avLst/>
            <a:gdLst>
              <a:gd name="connsiteX0" fmla="*/ 2674759 w 2674759"/>
              <a:gd name="connsiteY0" fmla="*/ 712381 h 3322114"/>
              <a:gd name="connsiteX1" fmla="*/ 1792256 w 2674759"/>
              <a:gd name="connsiteY1" fmla="*/ 2806995 h 3322114"/>
              <a:gd name="connsiteX2" fmla="*/ 994814 w 2674759"/>
              <a:gd name="connsiteY2" fmla="*/ 3317358 h 3322114"/>
              <a:gd name="connsiteX3" fmla="*/ 473819 w 2674759"/>
              <a:gd name="connsiteY3" fmla="*/ 2626242 h 3322114"/>
              <a:gd name="connsiteX4" fmla="*/ 239903 w 2674759"/>
              <a:gd name="connsiteY4" fmla="*/ 1658679 h 3322114"/>
              <a:gd name="connsiteX5" fmla="*/ 5986 w 2674759"/>
              <a:gd name="connsiteY5" fmla="*/ 637954 h 3322114"/>
              <a:gd name="connsiteX6" fmla="*/ 59149 w 2674759"/>
              <a:gd name="connsiteY6" fmla="*/ 0 h 3322114"/>
              <a:gd name="connsiteX0" fmla="*/ 3402420 w 3402420"/>
              <a:gd name="connsiteY0" fmla="*/ 946297 h 3556030"/>
              <a:gd name="connsiteX1" fmla="*/ 2519917 w 3402420"/>
              <a:gd name="connsiteY1" fmla="*/ 3040911 h 3556030"/>
              <a:gd name="connsiteX2" fmla="*/ 1722475 w 3402420"/>
              <a:gd name="connsiteY2" fmla="*/ 3551274 h 3556030"/>
              <a:gd name="connsiteX3" fmla="*/ 1201480 w 3402420"/>
              <a:gd name="connsiteY3" fmla="*/ 2860158 h 3556030"/>
              <a:gd name="connsiteX4" fmla="*/ 967564 w 3402420"/>
              <a:gd name="connsiteY4" fmla="*/ 1892595 h 3556030"/>
              <a:gd name="connsiteX5" fmla="*/ 733647 w 3402420"/>
              <a:gd name="connsiteY5" fmla="*/ 871870 h 3556030"/>
              <a:gd name="connsiteX6" fmla="*/ 0 w 3402420"/>
              <a:gd name="connsiteY6" fmla="*/ 0 h 3556030"/>
              <a:gd name="connsiteX0" fmla="*/ 3444950 w 3444950"/>
              <a:gd name="connsiteY0" fmla="*/ 988827 h 3598560"/>
              <a:gd name="connsiteX1" fmla="*/ 2562447 w 3444950"/>
              <a:gd name="connsiteY1" fmla="*/ 3083441 h 3598560"/>
              <a:gd name="connsiteX2" fmla="*/ 1765005 w 3444950"/>
              <a:gd name="connsiteY2" fmla="*/ 3593804 h 3598560"/>
              <a:gd name="connsiteX3" fmla="*/ 1244010 w 3444950"/>
              <a:gd name="connsiteY3" fmla="*/ 2902688 h 3598560"/>
              <a:gd name="connsiteX4" fmla="*/ 1010094 w 3444950"/>
              <a:gd name="connsiteY4" fmla="*/ 1935125 h 3598560"/>
              <a:gd name="connsiteX5" fmla="*/ 776177 w 3444950"/>
              <a:gd name="connsiteY5" fmla="*/ 914400 h 3598560"/>
              <a:gd name="connsiteX6" fmla="*/ 0 w 3444950"/>
              <a:gd name="connsiteY6" fmla="*/ 0 h 3598560"/>
              <a:gd name="connsiteX0" fmla="*/ 3296094 w 3296094"/>
              <a:gd name="connsiteY0" fmla="*/ 499729 h 3109462"/>
              <a:gd name="connsiteX1" fmla="*/ 2413591 w 3296094"/>
              <a:gd name="connsiteY1" fmla="*/ 2594343 h 3109462"/>
              <a:gd name="connsiteX2" fmla="*/ 1616149 w 3296094"/>
              <a:gd name="connsiteY2" fmla="*/ 3104706 h 3109462"/>
              <a:gd name="connsiteX3" fmla="*/ 1095154 w 3296094"/>
              <a:gd name="connsiteY3" fmla="*/ 2413590 h 3109462"/>
              <a:gd name="connsiteX4" fmla="*/ 861238 w 3296094"/>
              <a:gd name="connsiteY4" fmla="*/ 1446027 h 3109462"/>
              <a:gd name="connsiteX5" fmla="*/ 627321 w 3296094"/>
              <a:gd name="connsiteY5" fmla="*/ 425302 h 3109462"/>
              <a:gd name="connsiteX6" fmla="*/ 0 w 3296094"/>
              <a:gd name="connsiteY6" fmla="*/ 0 h 3109462"/>
              <a:gd name="connsiteX0" fmla="*/ 3296094 w 3296094"/>
              <a:gd name="connsiteY0" fmla="*/ 499729 h 3109462"/>
              <a:gd name="connsiteX1" fmla="*/ 2413591 w 3296094"/>
              <a:gd name="connsiteY1" fmla="*/ 2594343 h 3109462"/>
              <a:gd name="connsiteX2" fmla="*/ 1616149 w 3296094"/>
              <a:gd name="connsiteY2" fmla="*/ 3104706 h 3109462"/>
              <a:gd name="connsiteX3" fmla="*/ 1095154 w 3296094"/>
              <a:gd name="connsiteY3" fmla="*/ 2413590 h 3109462"/>
              <a:gd name="connsiteX4" fmla="*/ 861238 w 3296094"/>
              <a:gd name="connsiteY4" fmla="*/ 1446027 h 3109462"/>
              <a:gd name="connsiteX5" fmla="*/ 627321 w 3296094"/>
              <a:gd name="connsiteY5" fmla="*/ 425302 h 3109462"/>
              <a:gd name="connsiteX6" fmla="*/ 0 w 3296094"/>
              <a:gd name="connsiteY6" fmla="*/ 0 h 3109462"/>
              <a:gd name="connsiteX0" fmla="*/ 3476848 w 3476848"/>
              <a:gd name="connsiteY0" fmla="*/ 946296 h 3556029"/>
              <a:gd name="connsiteX1" fmla="*/ 2594345 w 3476848"/>
              <a:gd name="connsiteY1" fmla="*/ 3040910 h 3556029"/>
              <a:gd name="connsiteX2" fmla="*/ 1796903 w 3476848"/>
              <a:gd name="connsiteY2" fmla="*/ 3551273 h 3556029"/>
              <a:gd name="connsiteX3" fmla="*/ 1275908 w 3476848"/>
              <a:gd name="connsiteY3" fmla="*/ 2860157 h 3556029"/>
              <a:gd name="connsiteX4" fmla="*/ 1041992 w 3476848"/>
              <a:gd name="connsiteY4" fmla="*/ 1892594 h 3556029"/>
              <a:gd name="connsiteX5" fmla="*/ 808075 w 3476848"/>
              <a:gd name="connsiteY5" fmla="*/ 871869 h 3556029"/>
              <a:gd name="connsiteX6" fmla="*/ 0 w 3476848"/>
              <a:gd name="connsiteY6" fmla="*/ 0 h 3556029"/>
              <a:gd name="connsiteX0" fmla="*/ 3476848 w 3476848"/>
              <a:gd name="connsiteY0" fmla="*/ 946296 h 3556029"/>
              <a:gd name="connsiteX1" fmla="*/ 2594345 w 3476848"/>
              <a:gd name="connsiteY1" fmla="*/ 3040910 h 3556029"/>
              <a:gd name="connsiteX2" fmla="*/ 1796903 w 3476848"/>
              <a:gd name="connsiteY2" fmla="*/ 3551273 h 3556029"/>
              <a:gd name="connsiteX3" fmla="*/ 1275908 w 3476848"/>
              <a:gd name="connsiteY3" fmla="*/ 2860157 h 3556029"/>
              <a:gd name="connsiteX4" fmla="*/ 1041992 w 3476848"/>
              <a:gd name="connsiteY4" fmla="*/ 1892594 h 3556029"/>
              <a:gd name="connsiteX5" fmla="*/ 457200 w 3476848"/>
              <a:gd name="connsiteY5" fmla="*/ 893134 h 3556029"/>
              <a:gd name="connsiteX6" fmla="*/ 0 w 3476848"/>
              <a:gd name="connsiteY6" fmla="*/ 0 h 3556029"/>
              <a:gd name="connsiteX0" fmla="*/ 3476848 w 3476848"/>
              <a:gd name="connsiteY0" fmla="*/ 946296 h 3556029"/>
              <a:gd name="connsiteX1" fmla="*/ 2594345 w 3476848"/>
              <a:gd name="connsiteY1" fmla="*/ 3040910 h 3556029"/>
              <a:gd name="connsiteX2" fmla="*/ 1796903 w 3476848"/>
              <a:gd name="connsiteY2" fmla="*/ 3551273 h 3556029"/>
              <a:gd name="connsiteX3" fmla="*/ 1275908 w 3476848"/>
              <a:gd name="connsiteY3" fmla="*/ 2860157 h 3556029"/>
              <a:gd name="connsiteX4" fmla="*/ 882504 w 3476848"/>
              <a:gd name="connsiteY4" fmla="*/ 2030818 h 3556029"/>
              <a:gd name="connsiteX5" fmla="*/ 457200 w 3476848"/>
              <a:gd name="connsiteY5" fmla="*/ 893134 h 3556029"/>
              <a:gd name="connsiteX6" fmla="*/ 0 w 3476848"/>
              <a:gd name="connsiteY6" fmla="*/ 0 h 3556029"/>
              <a:gd name="connsiteX0" fmla="*/ 3476848 w 3476848"/>
              <a:gd name="connsiteY0" fmla="*/ 946296 h 3553989"/>
              <a:gd name="connsiteX1" fmla="*/ 2594345 w 3476848"/>
              <a:gd name="connsiteY1" fmla="*/ 3040910 h 3553989"/>
              <a:gd name="connsiteX2" fmla="*/ 1796903 w 3476848"/>
              <a:gd name="connsiteY2" fmla="*/ 3551273 h 3553989"/>
              <a:gd name="connsiteX3" fmla="*/ 1222745 w 3476848"/>
              <a:gd name="connsiteY3" fmla="*/ 2913320 h 3553989"/>
              <a:gd name="connsiteX4" fmla="*/ 882504 w 3476848"/>
              <a:gd name="connsiteY4" fmla="*/ 2030818 h 3553989"/>
              <a:gd name="connsiteX5" fmla="*/ 457200 w 3476848"/>
              <a:gd name="connsiteY5" fmla="*/ 893134 h 3553989"/>
              <a:gd name="connsiteX6" fmla="*/ 0 w 3476848"/>
              <a:gd name="connsiteY6" fmla="*/ 0 h 3553989"/>
              <a:gd name="connsiteX0" fmla="*/ 3476848 w 3476848"/>
              <a:gd name="connsiteY0" fmla="*/ 946296 h 3553989"/>
              <a:gd name="connsiteX1" fmla="*/ 2594345 w 3476848"/>
              <a:gd name="connsiteY1" fmla="*/ 3040910 h 3553989"/>
              <a:gd name="connsiteX2" fmla="*/ 1796903 w 3476848"/>
              <a:gd name="connsiteY2" fmla="*/ 3551273 h 3553989"/>
              <a:gd name="connsiteX3" fmla="*/ 1222745 w 3476848"/>
              <a:gd name="connsiteY3" fmla="*/ 2913320 h 3553989"/>
              <a:gd name="connsiteX4" fmla="*/ 882504 w 3476848"/>
              <a:gd name="connsiteY4" fmla="*/ 2030818 h 3553989"/>
              <a:gd name="connsiteX5" fmla="*/ 457200 w 3476848"/>
              <a:gd name="connsiteY5" fmla="*/ 893134 h 3553989"/>
              <a:gd name="connsiteX6" fmla="*/ 0 w 3476848"/>
              <a:gd name="connsiteY6" fmla="*/ 0 h 3553989"/>
              <a:gd name="connsiteX0" fmla="*/ 3476848 w 3476848"/>
              <a:gd name="connsiteY0" fmla="*/ 946296 h 3553989"/>
              <a:gd name="connsiteX1" fmla="*/ 2594345 w 3476848"/>
              <a:gd name="connsiteY1" fmla="*/ 3040910 h 3553989"/>
              <a:gd name="connsiteX2" fmla="*/ 1796903 w 3476848"/>
              <a:gd name="connsiteY2" fmla="*/ 3551273 h 3553989"/>
              <a:gd name="connsiteX3" fmla="*/ 1222745 w 3476848"/>
              <a:gd name="connsiteY3" fmla="*/ 2913320 h 3553989"/>
              <a:gd name="connsiteX4" fmla="*/ 882504 w 3476848"/>
              <a:gd name="connsiteY4" fmla="*/ 2030818 h 3553989"/>
              <a:gd name="connsiteX5" fmla="*/ 457200 w 3476848"/>
              <a:gd name="connsiteY5" fmla="*/ 893134 h 3553989"/>
              <a:gd name="connsiteX6" fmla="*/ 0 w 3476848"/>
              <a:gd name="connsiteY6" fmla="*/ 0 h 3553989"/>
              <a:gd name="connsiteX0" fmla="*/ 3476848 w 3476848"/>
              <a:gd name="connsiteY0" fmla="*/ 946296 h 3553989"/>
              <a:gd name="connsiteX1" fmla="*/ 2594345 w 3476848"/>
              <a:gd name="connsiteY1" fmla="*/ 3040910 h 3553989"/>
              <a:gd name="connsiteX2" fmla="*/ 1796903 w 3476848"/>
              <a:gd name="connsiteY2" fmla="*/ 3551273 h 3553989"/>
              <a:gd name="connsiteX3" fmla="*/ 1222745 w 3476848"/>
              <a:gd name="connsiteY3" fmla="*/ 2913320 h 3553989"/>
              <a:gd name="connsiteX4" fmla="*/ 882504 w 3476848"/>
              <a:gd name="connsiteY4" fmla="*/ 2030818 h 3553989"/>
              <a:gd name="connsiteX5" fmla="*/ 457200 w 3476848"/>
              <a:gd name="connsiteY5" fmla="*/ 893134 h 3553989"/>
              <a:gd name="connsiteX6" fmla="*/ 0 w 3476848"/>
              <a:gd name="connsiteY6" fmla="*/ 0 h 3553989"/>
              <a:gd name="connsiteX0" fmla="*/ 3487481 w 3487481"/>
              <a:gd name="connsiteY0" fmla="*/ 1116417 h 3724110"/>
              <a:gd name="connsiteX1" fmla="*/ 2604978 w 3487481"/>
              <a:gd name="connsiteY1" fmla="*/ 3211031 h 3724110"/>
              <a:gd name="connsiteX2" fmla="*/ 1807536 w 3487481"/>
              <a:gd name="connsiteY2" fmla="*/ 3721394 h 3724110"/>
              <a:gd name="connsiteX3" fmla="*/ 1233378 w 3487481"/>
              <a:gd name="connsiteY3" fmla="*/ 3083441 h 3724110"/>
              <a:gd name="connsiteX4" fmla="*/ 893137 w 3487481"/>
              <a:gd name="connsiteY4" fmla="*/ 2200939 h 3724110"/>
              <a:gd name="connsiteX5" fmla="*/ 467833 w 3487481"/>
              <a:gd name="connsiteY5" fmla="*/ 1063255 h 3724110"/>
              <a:gd name="connsiteX6" fmla="*/ 0 w 3487481"/>
              <a:gd name="connsiteY6" fmla="*/ 0 h 3724110"/>
              <a:gd name="connsiteX0" fmla="*/ 3487481 w 3487481"/>
              <a:gd name="connsiteY0" fmla="*/ 1116417 h 3724110"/>
              <a:gd name="connsiteX1" fmla="*/ 2604978 w 3487481"/>
              <a:gd name="connsiteY1" fmla="*/ 3211031 h 3724110"/>
              <a:gd name="connsiteX2" fmla="*/ 1807536 w 3487481"/>
              <a:gd name="connsiteY2" fmla="*/ 3721394 h 3724110"/>
              <a:gd name="connsiteX3" fmla="*/ 1233378 w 3487481"/>
              <a:gd name="connsiteY3" fmla="*/ 3083441 h 3724110"/>
              <a:gd name="connsiteX4" fmla="*/ 893137 w 3487481"/>
              <a:gd name="connsiteY4" fmla="*/ 2200939 h 3724110"/>
              <a:gd name="connsiteX5" fmla="*/ 393405 w 3487481"/>
              <a:gd name="connsiteY5" fmla="*/ 1063255 h 3724110"/>
              <a:gd name="connsiteX6" fmla="*/ 0 w 3487481"/>
              <a:gd name="connsiteY6" fmla="*/ 0 h 3724110"/>
              <a:gd name="connsiteX0" fmla="*/ 3487481 w 3487481"/>
              <a:gd name="connsiteY0" fmla="*/ 1116417 h 3724110"/>
              <a:gd name="connsiteX1" fmla="*/ 2604978 w 3487481"/>
              <a:gd name="connsiteY1" fmla="*/ 3211031 h 3724110"/>
              <a:gd name="connsiteX2" fmla="*/ 1807536 w 3487481"/>
              <a:gd name="connsiteY2" fmla="*/ 3721394 h 3724110"/>
              <a:gd name="connsiteX3" fmla="*/ 1233378 w 3487481"/>
              <a:gd name="connsiteY3" fmla="*/ 3083441 h 3724110"/>
              <a:gd name="connsiteX4" fmla="*/ 893137 w 3487481"/>
              <a:gd name="connsiteY4" fmla="*/ 2200939 h 3724110"/>
              <a:gd name="connsiteX5" fmla="*/ 393405 w 3487481"/>
              <a:gd name="connsiteY5" fmla="*/ 1063255 h 3724110"/>
              <a:gd name="connsiteX6" fmla="*/ 0 w 3487481"/>
              <a:gd name="connsiteY6" fmla="*/ 0 h 3724110"/>
              <a:gd name="connsiteX0" fmla="*/ 3625704 w 3625704"/>
              <a:gd name="connsiteY0" fmla="*/ 1342550 h 3950243"/>
              <a:gd name="connsiteX1" fmla="*/ 2743201 w 3625704"/>
              <a:gd name="connsiteY1" fmla="*/ 3437164 h 3950243"/>
              <a:gd name="connsiteX2" fmla="*/ 1945759 w 3625704"/>
              <a:gd name="connsiteY2" fmla="*/ 3947527 h 3950243"/>
              <a:gd name="connsiteX3" fmla="*/ 1371601 w 3625704"/>
              <a:gd name="connsiteY3" fmla="*/ 3309574 h 3950243"/>
              <a:gd name="connsiteX4" fmla="*/ 1031360 w 3625704"/>
              <a:gd name="connsiteY4" fmla="*/ 2427072 h 3950243"/>
              <a:gd name="connsiteX5" fmla="*/ 531628 w 3625704"/>
              <a:gd name="connsiteY5" fmla="*/ 1289388 h 3950243"/>
              <a:gd name="connsiteX6" fmla="*/ 0 w 3625704"/>
              <a:gd name="connsiteY6" fmla="*/ 0 h 3950243"/>
              <a:gd name="connsiteX0" fmla="*/ 3796735 w 3796735"/>
              <a:gd name="connsiteY0" fmla="*/ 1342550 h 3950243"/>
              <a:gd name="connsiteX1" fmla="*/ 2914232 w 3796735"/>
              <a:gd name="connsiteY1" fmla="*/ 3437164 h 3950243"/>
              <a:gd name="connsiteX2" fmla="*/ 2116790 w 3796735"/>
              <a:gd name="connsiteY2" fmla="*/ 3947527 h 3950243"/>
              <a:gd name="connsiteX3" fmla="*/ 1542632 w 3796735"/>
              <a:gd name="connsiteY3" fmla="*/ 3309574 h 3950243"/>
              <a:gd name="connsiteX4" fmla="*/ 1202391 w 3796735"/>
              <a:gd name="connsiteY4" fmla="*/ 2427072 h 3950243"/>
              <a:gd name="connsiteX5" fmla="*/ 702659 w 3796735"/>
              <a:gd name="connsiteY5" fmla="*/ 1289388 h 3950243"/>
              <a:gd name="connsiteX6" fmla="*/ 171031 w 3796735"/>
              <a:gd name="connsiteY6" fmla="*/ 0 h 3950243"/>
              <a:gd name="connsiteX0" fmla="*/ 3625520 w 3625520"/>
              <a:gd name="connsiteY0" fmla="*/ 1277941 h 3885634"/>
              <a:gd name="connsiteX1" fmla="*/ 2743017 w 3625520"/>
              <a:gd name="connsiteY1" fmla="*/ 3372555 h 3885634"/>
              <a:gd name="connsiteX2" fmla="*/ 1945575 w 3625520"/>
              <a:gd name="connsiteY2" fmla="*/ 3882918 h 3885634"/>
              <a:gd name="connsiteX3" fmla="*/ 1371417 w 3625520"/>
              <a:gd name="connsiteY3" fmla="*/ 3244965 h 3885634"/>
              <a:gd name="connsiteX4" fmla="*/ 1031176 w 3625520"/>
              <a:gd name="connsiteY4" fmla="*/ 2362463 h 3885634"/>
              <a:gd name="connsiteX5" fmla="*/ 531444 w 3625520"/>
              <a:gd name="connsiteY5" fmla="*/ 1224779 h 3885634"/>
              <a:gd name="connsiteX6" fmla="*/ 201835 w 3625520"/>
              <a:gd name="connsiteY6" fmla="*/ 0 h 3885634"/>
              <a:gd name="connsiteX0" fmla="*/ 3611335 w 3611335"/>
              <a:gd name="connsiteY0" fmla="*/ 1277941 h 3885634"/>
              <a:gd name="connsiteX1" fmla="*/ 2728832 w 3611335"/>
              <a:gd name="connsiteY1" fmla="*/ 3372555 h 3885634"/>
              <a:gd name="connsiteX2" fmla="*/ 1931390 w 3611335"/>
              <a:gd name="connsiteY2" fmla="*/ 3882918 h 3885634"/>
              <a:gd name="connsiteX3" fmla="*/ 1357232 w 3611335"/>
              <a:gd name="connsiteY3" fmla="*/ 3244965 h 3885634"/>
              <a:gd name="connsiteX4" fmla="*/ 1016991 w 3611335"/>
              <a:gd name="connsiteY4" fmla="*/ 2362463 h 3885634"/>
              <a:gd name="connsiteX5" fmla="*/ 602320 w 3611335"/>
              <a:gd name="connsiteY5" fmla="*/ 977109 h 3885634"/>
              <a:gd name="connsiteX6" fmla="*/ 187650 w 3611335"/>
              <a:gd name="connsiteY6" fmla="*/ 0 h 3885634"/>
              <a:gd name="connsiteX0" fmla="*/ 3611335 w 3611335"/>
              <a:gd name="connsiteY0" fmla="*/ 1277941 h 3885634"/>
              <a:gd name="connsiteX1" fmla="*/ 2728832 w 3611335"/>
              <a:gd name="connsiteY1" fmla="*/ 3372555 h 3885634"/>
              <a:gd name="connsiteX2" fmla="*/ 1931390 w 3611335"/>
              <a:gd name="connsiteY2" fmla="*/ 3882918 h 3885634"/>
              <a:gd name="connsiteX3" fmla="*/ 1357232 w 3611335"/>
              <a:gd name="connsiteY3" fmla="*/ 3244965 h 3885634"/>
              <a:gd name="connsiteX4" fmla="*/ 1102052 w 3611335"/>
              <a:gd name="connsiteY4" fmla="*/ 2050184 h 3885634"/>
              <a:gd name="connsiteX5" fmla="*/ 602320 w 3611335"/>
              <a:gd name="connsiteY5" fmla="*/ 977109 h 3885634"/>
              <a:gd name="connsiteX6" fmla="*/ 187650 w 3611335"/>
              <a:gd name="connsiteY6" fmla="*/ 0 h 3885634"/>
              <a:gd name="connsiteX0" fmla="*/ 3611335 w 3611335"/>
              <a:gd name="connsiteY0" fmla="*/ 1277941 h 3892663"/>
              <a:gd name="connsiteX1" fmla="*/ 2728832 w 3611335"/>
              <a:gd name="connsiteY1" fmla="*/ 3372555 h 3892663"/>
              <a:gd name="connsiteX2" fmla="*/ 1931390 w 3611335"/>
              <a:gd name="connsiteY2" fmla="*/ 3882918 h 3892663"/>
              <a:gd name="connsiteX3" fmla="*/ 1495455 w 3611335"/>
              <a:gd name="connsiteY3" fmla="*/ 3083441 h 3892663"/>
              <a:gd name="connsiteX4" fmla="*/ 1102052 w 3611335"/>
              <a:gd name="connsiteY4" fmla="*/ 2050184 h 3892663"/>
              <a:gd name="connsiteX5" fmla="*/ 602320 w 3611335"/>
              <a:gd name="connsiteY5" fmla="*/ 977109 h 3892663"/>
              <a:gd name="connsiteX6" fmla="*/ 187650 w 3611335"/>
              <a:gd name="connsiteY6" fmla="*/ 0 h 3892663"/>
              <a:gd name="connsiteX0" fmla="*/ 3613001 w 3613001"/>
              <a:gd name="connsiteY0" fmla="*/ 1277941 h 3892663"/>
              <a:gd name="connsiteX1" fmla="*/ 2730498 w 3613001"/>
              <a:gd name="connsiteY1" fmla="*/ 3372555 h 3892663"/>
              <a:gd name="connsiteX2" fmla="*/ 1933056 w 3613001"/>
              <a:gd name="connsiteY2" fmla="*/ 3882918 h 3892663"/>
              <a:gd name="connsiteX3" fmla="*/ 1497121 w 3613001"/>
              <a:gd name="connsiteY3" fmla="*/ 3083441 h 3892663"/>
              <a:gd name="connsiteX4" fmla="*/ 1103718 w 3613001"/>
              <a:gd name="connsiteY4" fmla="*/ 2050184 h 3892663"/>
              <a:gd name="connsiteX5" fmla="*/ 593354 w 3613001"/>
              <a:gd name="connsiteY5" fmla="*/ 869427 h 3892663"/>
              <a:gd name="connsiteX6" fmla="*/ 189316 w 3613001"/>
              <a:gd name="connsiteY6" fmla="*/ 0 h 3892663"/>
              <a:gd name="connsiteX0" fmla="*/ 3613001 w 3613001"/>
              <a:gd name="connsiteY0" fmla="*/ 1277941 h 3811496"/>
              <a:gd name="connsiteX1" fmla="*/ 2730498 w 3613001"/>
              <a:gd name="connsiteY1" fmla="*/ 3372555 h 3811496"/>
              <a:gd name="connsiteX2" fmla="*/ 1964954 w 3613001"/>
              <a:gd name="connsiteY2" fmla="*/ 3796773 h 3811496"/>
              <a:gd name="connsiteX3" fmla="*/ 1497121 w 3613001"/>
              <a:gd name="connsiteY3" fmla="*/ 3083441 h 3811496"/>
              <a:gd name="connsiteX4" fmla="*/ 1103718 w 3613001"/>
              <a:gd name="connsiteY4" fmla="*/ 2050184 h 3811496"/>
              <a:gd name="connsiteX5" fmla="*/ 593354 w 3613001"/>
              <a:gd name="connsiteY5" fmla="*/ 869427 h 3811496"/>
              <a:gd name="connsiteX6" fmla="*/ 189316 w 3613001"/>
              <a:gd name="connsiteY6" fmla="*/ 0 h 3811496"/>
              <a:gd name="connsiteX0" fmla="*/ 3613001 w 3613001"/>
              <a:gd name="connsiteY0" fmla="*/ 1277941 h 3796773"/>
              <a:gd name="connsiteX1" fmla="*/ 2889986 w 3613001"/>
              <a:gd name="connsiteY1" fmla="*/ 3081812 h 3796773"/>
              <a:gd name="connsiteX2" fmla="*/ 1964954 w 3613001"/>
              <a:gd name="connsiteY2" fmla="*/ 3796773 h 3796773"/>
              <a:gd name="connsiteX3" fmla="*/ 1497121 w 3613001"/>
              <a:gd name="connsiteY3" fmla="*/ 3083441 h 3796773"/>
              <a:gd name="connsiteX4" fmla="*/ 1103718 w 3613001"/>
              <a:gd name="connsiteY4" fmla="*/ 2050184 h 3796773"/>
              <a:gd name="connsiteX5" fmla="*/ 593354 w 3613001"/>
              <a:gd name="connsiteY5" fmla="*/ 869427 h 3796773"/>
              <a:gd name="connsiteX6" fmla="*/ 189316 w 3613001"/>
              <a:gd name="connsiteY6" fmla="*/ 0 h 3796773"/>
              <a:gd name="connsiteX0" fmla="*/ 3613001 w 3613001"/>
              <a:gd name="connsiteY0" fmla="*/ 1277941 h 3818310"/>
              <a:gd name="connsiteX1" fmla="*/ 2889986 w 3613001"/>
              <a:gd name="connsiteY1" fmla="*/ 3081812 h 3818310"/>
              <a:gd name="connsiteX2" fmla="*/ 2124443 w 3613001"/>
              <a:gd name="connsiteY2" fmla="*/ 3818310 h 3818310"/>
              <a:gd name="connsiteX3" fmla="*/ 1497121 w 3613001"/>
              <a:gd name="connsiteY3" fmla="*/ 3083441 h 3818310"/>
              <a:gd name="connsiteX4" fmla="*/ 1103718 w 3613001"/>
              <a:gd name="connsiteY4" fmla="*/ 2050184 h 3818310"/>
              <a:gd name="connsiteX5" fmla="*/ 593354 w 3613001"/>
              <a:gd name="connsiteY5" fmla="*/ 869427 h 3818310"/>
              <a:gd name="connsiteX6" fmla="*/ 189316 w 3613001"/>
              <a:gd name="connsiteY6" fmla="*/ 0 h 3818310"/>
              <a:gd name="connsiteX0" fmla="*/ 3666163 w 3666163"/>
              <a:gd name="connsiteY0" fmla="*/ 1277941 h 3818310"/>
              <a:gd name="connsiteX1" fmla="*/ 2889986 w 3666163"/>
              <a:gd name="connsiteY1" fmla="*/ 3081812 h 3818310"/>
              <a:gd name="connsiteX2" fmla="*/ 2124443 w 3666163"/>
              <a:gd name="connsiteY2" fmla="*/ 3818310 h 3818310"/>
              <a:gd name="connsiteX3" fmla="*/ 1497121 w 3666163"/>
              <a:gd name="connsiteY3" fmla="*/ 3083441 h 3818310"/>
              <a:gd name="connsiteX4" fmla="*/ 1103718 w 3666163"/>
              <a:gd name="connsiteY4" fmla="*/ 2050184 h 3818310"/>
              <a:gd name="connsiteX5" fmla="*/ 593354 w 3666163"/>
              <a:gd name="connsiteY5" fmla="*/ 869427 h 3818310"/>
              <a:gd name="connsiteX6" fmla="*/ 189316 w 3666163"/>
              <a:gd name="connsiteY6" fmla="*/ 0 h 3818310"/>
              <a:gd name="connsiteX0" fmla="*/ 3666163 w 3666163"/>
              <a:gd name="connsiteY0" fmla="*/ 1277941 h 3818310"/>
              <a:gd name="connsiteX1" fmla="*/ 2889986 w 3666163"/>
              <a:gd name="connsiteY1" fmla="*/ 3081812 h 3818310"/>
              <a:gd name="connsiteX2" fmla="*/ 2124443 w 3666163"/>
              <a:gd name="connsiteY2" fmla="*/ 3818310 h 3818310"/>
              <a:gd name="connsiteX3" fmla="*/ 1497121 w 3666163"/>
              <a:gd name="connsiteY3" fmla="*/ 3083441 h 3818310"/>
              <a:gd name="connsiteX4" fmla="*/ 1103718 w 3666163"/>
              <a:gd name="connsiteY4" fmla="*/ 2050184 h 3818310"/>
              <a:gd name="connsiteX5" fmla="*/ 593354 w 3666163"/>
              <a:gd name="connsiteY5" fmla="*/ 869427 h 3818310"/>
              <a:gd name="connsiteX6" fmla="*/ 189316 w 3666163"/>
              <a:gd name="connsiteY6" fmla="*/ 0 h 3818310"/>
              <a:gd name="connsiteX0" fmla="*/ 4399810 w 4399810"/>
              <a:gd name="connsiteY0" fmla="*/ 674919 h 3818310"/>
              <a:gd name="connsiteX1" fmla="*/ 2889986 w 4399810"/>
              <a:gd name="connsiteY1" fmla="*/ 3081812 h 3818310"/>
              <a:gd name="connsiteX2" fmla="*/ 2124443 w 4399810"/>
              <a:gd name="connsiteY2" fmla="*/ 3818310 h 3818310"/>
              <a:gd name="connsiteX3" fmla="*/ 1497121 w 4399810"/>
              <a:gd name="connsiteY3" fmla="*/ 3083441 h 3818310"/>
              <a:gd name="connsiteX4" fmla="*/ 1103718 w 4399810"/>
              <a:gd name="connsiteY4" fmla="*/ 2050184 h 3818310"/>
              <a:gd name="connsiteX5" fmla="*/ 593354 w 4399810"/>
              <a:gd name="connsiteY5" fmla="*/ 869427 h 3818310"/>
              <a:gd name="connsiteX6" fmla="*/ 189316 w 4399810"/>
              <a:gd name="connsiteY6" fmla="*/ 0 h 3818310"/>
              <a:gd name="connsiteX0" fmla="*/ 4399810 w 4399810"/>
              <a:gd name="connsiteY0" fmla="*/ 631847 h 3818310"/>
              <a:gd name="connsiteX1" fmla="*/ 2889986 w 4399810"/>
              <a:gd name="connsiteY1" fmla="*/ 3081812 h 3818310"/>
              <a:gd name="connsiteX2" fmla="*/ 2124443 w 4399810"/>
              <a:gd name="connsiteY2" fmla="*/ 3818310 h 3818310"/>
              <a:gd name="connsiteX3" fmla="*/ 1497121 w 4399810"/>
              <a:gd name="connsiteY3" fmla="*/ 3083441 h 3818310"/>
              <a:gd name="connsiteX4" fmla="*/ 1103718 w 4399810"/>
              <a:gd name="connsiteY4" fmla="*/ 2050184 h 3818310"/>
              <a:gd name="connsiteX5" fmla="*/ 593354 w 4399810"/>
              <a:gd name="connsiteY5" fmla="*/ 869427 h 3818310"/>
              <a:gd name="connsiteX6" fmla="*/ 189316 w 4399810"/>
              <a:gd name="connsiteY6" fmla="*/ 0 h 3818310"/>
              <a:gd name="connsiteX0" fmla="*/ 4399810 w 4399810"/>
              <a:gd name="connsiteY0" fmla="*/ 631847 h 3818310"/>
              <a:gd name="connsiteX1" fmla="*/ 2889986 w 4399810"/>
              <a:gd name="connsiteY1" fmla="*/ 3081812 h 3818310"/>
              <a:gd name="connsiteX2" fmla="*/ 2124443 w 4399810"/>
              <a:gd name="connsiteY2" fmla="*/ 3818310 h 3818310"/>
              <a:gd name="connsiteX3" fmla="*/ 1497121 w 4399810"/>
              <a:gd name="connsiteY3" fmla="*/ 3083441 h 3818310"/>
              <a:gd name="connsiteX4" fmla="*/ 1103718 w 4399810"/>
              <a:gd name="connsiteY4" fmla="*/ 2050184 h 3818310"/>
              <a:gd name="connsiteX5" fmla="*/ 593354 w 4399810"/>
              <a:gd name="connsiteY5" fmla="*/ 869427 h 3818310"/>
              <a:gd name="connsiteX6" fmla="*/ 189316 w 4399810"/>
              <a:gd name="connsiteY6" fmla="*/ 0 h 3818310"/>
              <a:gd name="connsiteX0" fmla="*/ 4399810 w 4399810"/>
              <a:gd name="connsiteY0" fmla="*/ 631847 h 3826432"/>
              <a:gd name="connsiteX1" fmla="*/ 3177065 w 4399810"/>
              <a:gd name="connsiteY1" fmla="*/ 2608008 h 3826432"/>
              <a:gd name="connsiteX2" fmla="*/ 2124443 w 4399810"/>
              <a:gd name="connsiteY2" fmla="*/ 3818310 h 3826432"/>
              <a:gd name="connsiteX3" fmla="*/ 1497121 w 4399810"/>
              <a:gd name="connsiteY3" fmla="*/ 3083441 h 3826432"/>
              <a:gd name="connsiteX4" fmla="*/ 1103718 w 4399810"/>
              <a:gd name="connsiteY4" fmla="*/ 2050184 h 3826432"/>
              <a:gd name="connsiteX5" fmla="*/ 593354 w 4399810"/>
              <a:gd name="connsiteY5" fmla="*/ 869427 h 3826432"/>
              <a:gd name="connsiteX6" fmla="*/ 189316 w 4399810"/>
              <a:gd name="connsiteY6" fmla="*/ 0 h 3826432"/>
              <a:gd name="connsiteX0" fmla="*/ 4399810 w 4399810"/>
              <a:gd name="connsiteY0" fmla="*/ 631847 h 3826432"/>
              <a:gd name="connsiteX1" fmla="*/ 3177065 w 4399810"/>
              <a:gd name="connsiteY1" fmla="*/ 2608008 h 3826432"/>
              <a:gd name="connsiteX2" fmla="*/ 2124443 w 4399810"/>
              <a:gd name="connsiteY2" fmla="*/ 3818310 h 3826432"/>
              <a:gd name="connsiteX3" fmla="*/ 1497121 w 4399810"/>
              <a:gd name="connsiteY3" fmla="*/ 3083441 h 3826432"/>
              <a:gd name="connsiteX4" fmla="*/ 1103718 w 4399810"/>
              <a:gd name="connsiteY4" fmla="*/ 2050184 h 3826432"/>
              <a:gd name="connsiteX5" fmla="*/ 593354 w 4399810"/>
              <a:gd name="connsiteY5" fmla="*/ 869427 h 3826432"/>
              <a:gd name="connsiteX6" fmla="*/ 189316 w 4399810"/>
              <a:gd name="connsiteY6" fmla="*/ 0 h 3826432"/>
              <a:gd name="connsiteX0" fmla="*/ 4399810 w 4399810"/>
              <a:gd name="connsiteY0" fmla="*/ 631847 h 3826432"/>
              <a:gd name="connsiteX1" fmla="*/ 3177065 w 4399810"/>
              <a:gd name="connsiteY1" fmla="*/ 2608008 h 3826432"/>
              <a:gd name="connsiteX2" fmla="*/ 2273299 w 4399810"/>
              <a:gd name="connsiteY2" fmla="*/ 3818310 h 3826432"/>
              <a:gd name="connsiteX3" fmla="*/ 1497121 w 4399810"/>
              <a:gd name="connsiteY3" fmla="*/ 3083441 h 3826432"/>
              <a:gd name="connsiteX4" fmla="*/ 1103718 w 4399810"/>
              <a:gd name="connsiteY4" fmla="*/ 2050184 h 3826432"/>
              <a:gd name="connsiteX5" fmla="*/ 593354 w 4399810"/>
              <a:gd name="connsiteY5" fmla="*/ 869427 h 3826432"/>
              <a:gd name="connsiteX6" fmla="*/ 189316 w 4399810"/>
              <a:gd name="connsiteY6" fmla="*/ 0 h 3826432"/>
              <a:gd name="connsiteX0" fmla="*/ 4399810 w 4399810"/>
              <a:gd name="connsiteY0" fmla="*/ 631847 h 3852489"/>
              <a:gd name="connsiteX1" fmla="*/ 3134535 w 4399810"/>
              <a:gd name="connsiteY1" fmla="*/ 1961914 h 3852489"/>
              <a:gd name="connsiteX2" fmla="*/ 2273299 w 4399810"/>
              <a:gd name="connsiteY2" fmla="*/ 3818310 h 3852489"/>
              <a:gd name="connsiteX3" fmla="*/ 1497121 w 4399810"/>
              <a:gd name="connsiteY3" fmla="*/ 3083441 h 3852489"/>
              <a:gd name="connsiteX4" fmla="*/ 1103718 w 4399810"/>
              <a:gd name="connsiteY4" fmla="*/ 2050184 h 3852489"/>
              <a:gd name="connsiteX5" fmla="*/ 593354 w 4399810"/>
              <a:gd name="connsiteY5" fmla="*/ 869427 h 3852489"/>
              <a:gd name="connsiteX6" fmla="*/ 189316 w 4399810"/>
              <a:gd name="connsiteY6" fmla="*/ 0 h 3852489"/>
              <a:gd name="connsiteX0" fmla="*/ 4399810 w 4399810"/>
              <a:gd name="connsiteY0" fmla="*/ 631847 h 3800742"/>
              <a:gd name="connsiteX1" fmla="*/ 3134535 w 4399810"/>
              <a:gd name="connsiteY1" fmla="*/ 1961914 h 3800742"/>
              <a:gd name="connsiteX2" fmla="*/ 2539113 w 4399810"/>
              <a:gd name="connsiteY2" fmla="*/ 3764469 h 3800742"/>
              <a:gd name="connsiteX3" fmla="*/ 1497121 w 4399810"/>
              <a:gd name="connsiteY3" fmla="*/ 3083441 h 3800742"/>
              <a:gd name="connsiteX4" fmla="*/ 1103718 w 4399810"/>
              <a:gd name="connsiteY4" fmla="*/ 2050184 h 3800742"/>
              <a:gd name="connsiteX5" fmla="*/ 593354 w 4399810"/>
              <a:gd name="connsiteY5" fmla="*/ 869427 h 3800742"/>
              <a:gd name="connsiteX6" fmla="*/ 189316 w 4399810"/>
              <a:gd name="connsiteY6" fmla="*/ 0 h 3800742"/>
              <a:gd name="connsiteX0" fmla="*/ 4399810 w 4399810"/>
              <a:gd name="connsiteY0" fmla="*/ 631847 h 3903878"/>
              <a:gd name="connsiteX1" fmla="*/ 3134535 w 4399810"/>
              <a:gd name="connsiteY1" fmla="*/ 1961914 h 3903878"/>
              <a:gd name="connsiteX2" fmla="*/ 2539113 w 4399810"/>
              <a:gd name="connsiteY2" fmla="*/ 3764469 h 3903878"/>
              <a:gd name="connsiteX3" fmla="*/ 1741670 w 4399810"/>
              <a:gd name="connsiteY3" fmla="*/ 3589548 h 3903878"/>
              <a:gd name="connsiteX4" fmla="*/ 1103718 w 4399810"/>
              <a:gd name="connsiteY4" fmla="*/ 2050184 h 3903878"/>
              <a:gd name="connsiteX5" fmla="*/ 593354 w 4399810"/>
              <a:gd name="connsiteY5" fmla="*/ 869427 h 3903878"/>
              <a:gd name="connsiteX6" fmla="*/ 189316 w 4399810"/>
              <a:gd name="connsiteY6" fmla="*/ 0 h 3903878"/>
              <a:gd name="connsiteX0" fmla="*/ 4399810 w 4399810"/>
              <a:gd name="connsiteY0" fmla="*/ 631847 h 3814880"/>
              <a:gd name="connsiteX1" fmla="*/ 3134535 w 4399810"/>
              <a:gd name="connsiteY1" fmla="*/ 1961914 h 3814880"/>
              <a:gd name="connsiteX2" fmla="*/ 2539113 w 4399810"/>
              <a:gd name="connsiteY2" fmla="*/ 3635250 h 3814880"/>
              <a:gd name="connsiteX3" fmla="*/ 1741670 w 4399810"/>
              <a:gd name="connsiteY3" fmla="*/ 3589548 h 3814880"/>
              <a:gd name="connsiteX4" fmla="*/ 1103718 w 4399810"/>
              <a:gd name="connsiteY4" fmla="*/ 2050184 h 3814880"/>
              <a:gd name="connsiteX5" fmla="*/ 593354 w 4399810"/>
              <a:gd name="connsiteY5" fmla="*/ 869427 h 3814880"/>
              <a:gd name="connsiteX6" fmla="*/ 189316 w 4399810"/>
              <a:gd name="connsiteY6" fmla="*/ 0 h 3814880"/>
              <a:gd name="connsiteX0" fmla="*/ 4391429 w 4391429"/>
              <a:gd name="connsiteY0" fmla="*/ 836444 h 4019477"/>
              <a:gd name="connsiteX1" fmla="*/ 3126154 w 4391429"/>
              <a:gd name="connsiteY1" fmla="*/ 2166511 h 4019477"/>
              <a:gd name="connsiteX2" fmla="*/ 2530732 w 4391429"/>
              <a:gd name="connsiteY2" fmla="*/ 3839847 h 4019477"/>
              <a:gd name="connsiteX3" fmla="*/ 1733289 w 4391429"/>
              <a:gd name="connsiteY3" fmla="*/ 3794145 h 4019477"/>
              <a:gd name="connsiteX4" fmla="*/ 1095337 w 4391429"/>
              <a:gd name="connsiteY4" fmla="*/ 2254781 h 4019477"/>
              <a:gd name="connsiteX5" fmla="*/ 584973 w 4391429"/>
              <a:gd name="connsiteY5" fmla="*/ 1074024 h 4019477"/>
              <a:gd name="connsiteX6" fmla="*/ 190907 w 4391429"/>
              <a:gd name="connsiteY6" fmla="*/ 0 h 4019477"/>
              <a:gd name="connsiteX0" fmla="*/ 4391429 w 4391429"/>
              <a:gd name="connsiteY0" fmla="*/ 836444 h 3953708"/>
              <a:gd name="connsiteX1" fmla="*/ 3126154 w 4391429"/>
              <a:gd name="connsiteY1" fmla="*/ 2166511 h 3953708"/>
              <a:gd name="connsiteX2" fmla="*/ 2630454 w 4391429"/>
              <a:gd name="connsiteY2" fmla="*/ 3721397 h 3953708"/>
              <a:gd name="connsiteX3" fmla="*/ 1733289 w 4391429"/>
              <a:gd name="connsiteY3" fmla="*/ 3794145 h 3953708"/>
              <a:gd name="connsiteX4" fmla="*/ 1095337 w 4391429"/>
              <a:gd name="connsiteY4" fmla="*/ 2254781 h 3953708"/>
              <a:gd name="connsiteX5" fmla="*/ 584973 w 4391429"/>
              <a:gd name="connsiteY5" fmla="*/ 1074024 h 3953708"/>
              <a:gd name="connsiteX6" fmla="*/ 190907 w 4391429"/>
              <a:gd name="connsiteY6" fmla="*/ 0 h 3953708"/>
              <a:gd name="connsiteX0" fmla="*/ 4391429 w 4391429"/>
              <a:gd name="connsiteY0" fmla="*/ 836444 h 3933639"/>
              <a:gd name="connsiteX1" fmla="*/ 3126154 w 4391429"/>
              <a:gd name="connsiteY1" fmla="*/ 2166511 h 3933639"/>
              <a:gd name="connsiteX2" fmla="*/ 2630454 w 4391429"/>
              <a:gd name="connsiteY2" fmla="*/ 3721397 h 3933639"/>
              <a:gd name="connsiteX3" fmla="*/ 1763206 w 4391429"/>
              <a:gd name="connsiteY3" fmla="*/ 3761841 h 3933639"/>
              <a:gd name="connsiteX4" fmla="*/ 1095337 w 4391429"/>
              <a:gd name="connsiteY4" fmla="*/ 2254781 h 3933639"/>
              <a:gd name="connsiteX5" fmla="*/ 584973 w 4391429"/>
              <a:gd name="connsiteY5" fmla="*/ 1074024 h 3933639"/>
              <a:gd name="connsiteX6" fmla="*/ 190907 w 4391429"/>
              <a:gd name="connsiteY6" fmla="*/ 0 h 3933639"/>
              <a:gd name="connsiteX0" fmla="*/ 4391429 w 4391429"/>
              <a:gd name="connsiteY0" fmla="*/ 836444 h 3933639"/>
              <a:gd name="connsiteX1" fmla="*/ 3126154 w 4391429"/>
              <a:gd name="connsiteY1" fmla="*/ 2166511 h 3933639"/>
              <a:gd name="connsiteX2" fmla="*/ 2720204 w 4391429"/>
              <a:gd name="connsiteY2" fmla="*/ 3721398 h 3933639"/>
              <a:gd name="connsiteX3" fmla="*/ 1763206 w 4391429"/>
              <a:gd name="connsiteY3" fmla="*/ 3761841 h 3933639"/>
              <a:gd name="connsiteX4" fmla="*/ 1095337 w 4391429"/>
              <a:gd name="connsiteY4" fmla="*/ 2254781 h 3933639"/>
              <a:gd name="connsiteX5" fmla="*/ 584973 w 4391429"/>
              <a:gd name="connsiteY5" fmla="*/ 1074024 h 3933639"/>
              <a:gd name="connsiteX6" fmla="*/ 190907 w 4391429"/>
              <a:gd name="connsiteY6" fmla="*/ 0 h 3933639"/>
              <a:gd name="connsiteX0" fmla="*/ 4391429 w 4391429"/>
              <a:gd name="connsiteY0" fmla="*/ 836444 h 3933639"/>
              <a:gd name="connsiteX1" fmla="*/ 3176015 w 4391429"/>
              <a:gd name="connsiteY1" fmla="*/ 2166511 h 3933639"/>
              <a:gd name="connsiteX2" fmla="*/ 2720204 w 4391429"/>
              <a:gd name="connsiteY2" fmla="*/ 3721398 h 3933639"/>
              <a:gd name="connsiteX3" fmla="*/ 1763206 w 4391429"/>
              <a:gd name="connsiteY3" fmla="*/ 3761841 h 3933639"/>
              <a:gd name="connsiteX4" fmla="*/ 1095337 w 4391429"/>
              <a:gd name="connsiteY4" fmla="*/ 2254781 h 3933639"/>
              <a:gd name="connsiteX5" fmla="*/ 584973 w 4391429"/>
              <a:gd name="connsiteY5" fmla="*/ 1074024 h 3933639"/>
              <a:gd name="connsiteX6" fmla="*/ 190907 w 4391429"/>
              <a:gd name="connsiteY6" fmla="*/ 0 h 3933639"/>
              <a:gd name="connsiteX0" fmla="*/ 4375249 w 4375249"/>
              <a:gd name="connsiteY0" fmla="*/ 836444 h 3933639"/>
              <a:gd name="connsiteX1" fmla="*/ 3159835 w 4375249"/>
              <a:gd name="connsiteY1" fmla="*/ 2166511 h 3933639"/>
              <a:gd name="connsiteX2" fmla="*/ 2704024 w 4375249"/>
              <a:gd name="connsiteY2" fmla="*/ 3721398 h 3933639"/>
              <a:gd name="connsiteX3" fmla="*/ 1747026 w 4375249"/>
              <a:gd name="connsiteY3" fmla="*/ 3761841 h 3933639"/>
              <a:gd name="connsiteX4" fmla="*/ 1079157 w 4375249"/>
              <a:gd name="connsiteY4" fmla="*/ 2254781 h 3933639"/>
              <a:gd name="connsiteX5" fmla="*/ 678487 w 4375249"/>
              <a:gd name="connsiteY5" fmla="*/ 794050 h 3933639"/>
              <a:gd name="connsiteX6" fmla="*/ 174727 w 4375249"/>
              <a:gd name="connsiteY6" fmla="*/ 0 h 3933639"/>
              <a:gd name="connsiteX0" fmla="*/ 4375249 w 4375249"/>
              <a:gd name="connsiteY0" fmla="*/ 836444 h 3893282"/>
              <a:gd name="connsiteX1" fmla="*/ 3159835 w 4375249"/>
              <a:gd name="connsiteY1" fmla="*/ 2166511 h 3893282"/>
              <a:gd name="connsiteX2" fmla="*/ 2614275 w 4375249"/>
              <a:gd name="connsiteY2" fmla="*/ 3635252 h 3893282"/>
              <a:gd name="connsiteX3" fmla="*/ 1747026 w 4375249"/>
              <a:gd name="connsiteY3" fmla="*/ 3761841 h 3893282"/>
              <a:gd name="connsiteX4" fmla="*/ 1079157 w 4375249"/>
              <a:gd name="connsiteY4" fmla="*/ 2254781 h 3893282"/>
              <a:gd name="connsiteX5" fmla="*/ 678487 w 4375249"/>
              <a:gd name="connsiteY5" fmla="*/ 794050 h 3893282"/>
              <a:gd name="connsiteX6" fmla="*/ 174727 w 4375249"/>
              <a:gd name="connsiteY6" fmla="*/ 0 h 3893282"/>
              <a:gd name="connsiteX0" fmla="*/ 4375249 w 4375249"/>
              <a:gd name="connsiteY0" fmla="*/ 836444 h 3893282"/>
              <a:gd name="connsiteX1" fmla="*/ 3279500 w 4375249"/>
              <a:gd name="connsiteY1" fmla="*/ 2166511 h 3893282"/>
              <a:gd name="connsiteX2" fmla="*/ 2614275 w 4375249"/>
              <a:gd name="connsiteY2" fmla="*/ 3635252 h 3893282"/>
              <a:gd name="connsiteX3" fmla="*/ 1747026 w 4375249"/>
              <a:gd name="connsiteY3" fmla="*/ 3761841 h 3893282"/>
              <a:gd name="connsiteX4" fmla="*/ 1079157 w 4375249"/>
              <a:gd name="connsiteY4" fmla="*/ 2254781 h 3893282"/>
              <a:gd name="connsiteX5" fmla="*/ 678487 w 4375249"/>
              <a:gd name="connsiteY5" fmla="*/ 794050 h 3893282"/>
              <a:gd name="connsiteX6" fmla="*/ 174727 w 4375249"/>
              <a:gd name="connsiteY6" fmla="*/ 0 h 3893282"/>
              <a:gd name="connsiteX0" fmla="*/ 4360394 w 4360394"/>
              <a:gd name="connsiteY0" fmla="*/ 836444 h 3893282"/>
              <a:gd name="connsiteX1" fmla="*/ 3264645 w 4360394"/>
              <a:gd name="connsiteY1" fmla="*/ 2166511 h 3893282"/>
              <a:gd name="connsiteX2" fmla="*/ 2599420 w 4360394"/>
              <a:gd name="connsiteY2" fmla="*/ 3635252 h 3893282"/>
              <a:gd name="connsiteX3" fmla="*/ 1732171 w 4360394"/>
              <a:gd name="connsiteY3" fmla="*/ 3761841 h 3893282"/>
              <a:gd name="connsiteX4" fmla="*/ 1064302 w 4360394"/>
              <a:gd name="connsiteY4" fmla="*/ 2254781 h 3893282"/>
              <a:gd name="connsiteX5" fmla="*/ 783298 w 4360394"/>
              <a:gd name="connsiteY5" fmla="*/ 1106329 h 3893282"/>
              <a:gd name="connsiteX6" fmla="*/ 159872 w 4360394"/>
              <a:gd name="connsiteY6" fmla="*/ 0 h 3893282"/>
              <a:gd name="connsiteX0" fmla="*/ 4360394 w 4360394"/>
              <a:gd name="connsiteY0" fmla="*/ 836444 h 3893282"/>
              <a:gd name="connsiteX1" fmla="*/ 3264645 w 4360394"/>
              <a:gd name="connsiteY1" fmla="*/ 2166511 h 3893282"/>
              <a:gd name="connsiteX2" fmla="*/ 2599420 w 4360394"/>
              <a:gd name="connsiteY2" fmla="*/ 3635252 h 3893282"/>
              <a:gd name="connsiteX3" fmla="*/ 1732171 w 4360394"/>
              <a:gd name="connsiteY3" fmla="*/ 3761841 h 3893282"/>
              <a:gd name="connsiteX4" fmla="*/ 1064302 w 4360394"/>
              <a:gd name="connsiteY4" fmla="*/ 2254781 h 3893282"/>
              <a:gd name="connsiteX5" fmla="*/ 783298 w 4360394"/>
              <a:gd name="connsiteY5" fmla="*/ 1106329 h 3893282"/>
              <a:gd name="connsiteX6" fmla="*/ 159872 w 4360394"/>
              <a:gd name="connsiteY6" fmla="*/ 0 h 3893282"/>
              <a:gd name="connsiteX0" fmla="*/ 4360394 w 4360394"/>
              <a:gd name="connsiteY0" fmla="*/ 836444 h 3893282"/>
              <a:gd name="connsiteX1" fmla="*/ 3264645 w 4360394"/>
              <a:gd name="connsiteY1" fmla="*/ 2166511 h 3893282"/>
              <a:gd name="connsiteX2" fmla="*/ 2599420 w 4360394"/>
              <a:gd name="connsiteY2" fmla="*/ 3635252 h 3893282"/>
              <a:gd name="connsiteX3" fmla="*/ 1732171 w 4360394"/>
              <a:gd name="connsiteY3" fmla="*/ 3761841 h 3893282"/>
              <a:gd name="connsiteX4" fmla="*/ 1064302 w 4360394"/>
              <a:gd name="connsiteY4" fmla="*/ 2254781 h 3893282"/>
              <a:gd name="connsiteX5" fmla="*/ 783298 w 4360394"/>
              <a:gd name="connsiteY5" fmla="*/ 1106329 h 3893282"/>
              <a:gd name="connsiteX6" fmla="*/ 159872 w 4360394"/>
              <a:gd name="connsiteY6" fmla="*/ 0 h 3893282"/>
              <a:gd name="connsiteX0" fmla="*/ 4063484 w 4063484"/>
              <a:gd name="connsiteY0" fmla="*/ 1102487 h 3893282"/>
              <a:gd name="connsiteX1" fmla="*/ 3264645 w 4063484"/>
              <a:gd name="connsiteY1" fmla="*/ 2166511 h 3893282"/>
              <a:gd name="connsiteX2" fmla="*/ 2599420 w 4063484"/>
              <a:gd name="connsiteY2" fmla="*/ 3635252 h 3893282"/>
              <a:gd name="connsiteX3" fmla="*/ 1732171 w 4063484"/>
              <a:gd name="connsiteY3" fmla="*/ 3761841 h 3893282"/>
              <a:gd name="connsiteX4" fmla="*/ 1064302 w 4063484"/>
              <a:gd name="connsiteY4" fmla="*/ 2254781 h 3893282"/>
              <a:gd name="connsiteX5" fmla="*/ 783298 w 4063484"/>
              <a:gd name="connsiteY5" fmla="*/ 1106329 h 3893282"/>
              <a:gd name="connsiteX6" fmla="*/ 159872 w 4063484"/>
              <a:gd name="connsiteY6" fmla="*/ 0 h 3893282"/>
              <a:gd name="connsiteX0" fmla="*/ 4063484 w 4063484"/>
              <a:gd name="connsiteY0" fmla="*/ 1102487 h 3893282"/>
              <a:gd name="connsiteX1" fmla="*/ 3264645 w 4063484"/>
              <a:gd name="connsiteY1" fmla="*/ 2166511 h 3893282"/>
              <a:gd name="connsiteX2" fmla="*/ 2599420 w 4063484"/>
              <a:gd name="connsiteY2" fmla="*/ 3635252 h 3893282"/>
              <a:gd name="connsiteX3" fmla="*/ 1732171 w 4063484"/>
              <a:gd name="connsiteY3" fmla="*/ 3761841 h 3893282"/>
              <a:gd name="connsiteX4" fmla="*/ 1064302 w 4063484"/>
              <a:gd name="connsiteY4" fmla="*/ 2254781 h 3893282"/>
              <a:gd name="connsiteX5" fmla="*/ 783298 w 4063484"/>
              <a:gd name="connsiteY5" fmla="*/ 1106329 h 3893282"/>
              <a:gd name="connsiteX6" fmla="*/ 159872 w 4063484"/>
              <a:gd name="connsiteY6" fmla="*/ 0 h 3893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063484" h="3893282">
                <a:moveTo>
                  <a:pt x="4063484" y="1102487"/>
                </a:moveTo>
                <a:cubicBezTo>
                  <a:pt x="3676813" y="1513469"/>
                  <a:pt x="3508656" y="1744384"/>
                  <a:pt x="3264645" y="2166511"/>
                </a:cubicBezTo>
                <a:cubicBezTo>
                  <a:pt x="3020634" y="2588638"/>
                  <a:pt x="2854832" y="3369364"/>
                  <a:pt x="2599420" y="3635252"/>
                </a:cubicBezTo>
                <a:cubicBezTo>
                  <a:pt x="2344008" y="3901140"/>
                  <a:pt x="1988024" y="3991920"/>
                  <a:pt x="1732171" y="3761841"/>
                </a:cubicBezTo>
                <a:cubicBezTo>
                  <a:pt x="1476318" y="3531763"/>
                  <a:pt x="1202503" y="2718902"/>
                  <a:pt x="1064302" y="2254781"/>
                </a:cubicBezTo>
                <a:cubicBezTo>
                  <a:pt x="926101" y="1790660"/>
                  <a:pt x="941015" y="1492644"/>
                  <a:pt x="783298" y="1106329"/>
                </a:cubicBezTo>
                <a:cubicBezTo>
                  <a:pt x="614949" y="741278"/>
                  <a:pt x="-382390" y="375676"/>
                  <a:pt x="159872" y="0"/>
                </a:cubicBezTo>
              </a:path>
            </a:pathLst>
          </a:custGeom>
          <a:noFill/>
          <a:ln w="28575">
            <a:solidFill>
              <a:srgbClr val="00B05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lIns="75273" tIns="37637" rIns="75273" bIns="37637" rtlCol="0" anchor="ctr"/>
          <a:lstStyle/>
          <a:p>
            <a:pPr algn="ctr" defTabSz="768014"/>
            <a:endParaRPr lang="en-US" sz="1200" dirty="0">
              <a:solidFill>
                <a:srgbClr val="FFFFFF"/>
              </a:solidFill>
            </a:endParaRPr>
          </a:p>
        </p:txBody>
      </p:sp>
      <p:cxnSp>
        <p:nvCxnSpPr>
          <p:cNvPr id="32" name="Straight Arrow Connector 31"/>
          <p:cNvCxnSpPr/>
          <p:nvPr/>
        </p:nvCxnSpPr>
        <p:spPr>
          <a:xfrm flipV="1">
            <a:off x="1311769" y="4646184"/>
            <a:ext cx="201756" cy="114579"/>
          </a:xfrm>
          <a:prstGeom prst="straightConnector1">
            <a:avLst/>
          </a:prstGeom>
          <a:ln w="28575">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H="1" flipV="1">
            <a:off x="2547640" y="5019328"/>
            <a:ext cx="156127" cy="88666"/>
          </a:xfrm>
          <a:prstGeom prst="straightConnector1">
            <a:avLst/>
          </a:prstGeom>
          <a:ln w="28575">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a:off x="3481882" y="3484134"/>
            <a:ext cx="174774" cy="198642"/>
          </a:xfrm>
          <a:prstGeom prst="straightConnector1">
            <a:avLst/>
          </a:prstGeom>
          <a:ln w="28575">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37" name="Freeform 256"/>
          <p:cNvSpPr>
            <a:spLocks/>
          </p:cNvSpPr>
          <p:nvPr/>
        </p:nvSpPr>
        <p:spPr bwMode="gray">
          <a:xfrm>
            <a:off x="2771800" y="4025659"/>
            <a:ext cx="189935" cy="193568"/>
          </a:xfrm>
          <a:custGeom>
            <a:avLst/>
            <a:gdLst>
              <a:gd name="T0" fmla="*/ 121 w 1142"/>
              <a:gd name="T1" fmla="*/ 219 h 1141"/>
              <a:gd name="T2" fmla="*/ 234 w 1142"/>
              <a:gd name="T3" fmla="*/ 111 h 1141"/>
              <a:gd name="T4" fmla="*/ 371 w 1142"/>
              <a:gd name="T5" fmla="*/ 36 h 1141"/>
              <a:gd name="T6" fmla="*/ 529 w 1142"/>
              <a:gd name="T7" fmla="*/ 1 h 1141"/>
              <a:gd name="T8" fmla="*/ 741 w 1142"/>
              <a:gd name="T9" fmla="*/ 26 h 1141"/>
              <a:gd name="T10" fmla="*/ 935 w 1142"/>
              <a:gd name="T11" fmla="*/ 131 h 1141"/>
              <a:gd name="T12" fmla="*/ 1073 w 1142"/>
              <a:gd name="T13" fmla="*/ 300 h 1141"/>
              <a:gd name="T14" fmla="*/ 1139 w 1142"/>
              <a:gd name="T15" fmla="*/ 513 h 1141"/>
              <a:gd name="T16" fmla="*/ 1117 w 1142"/>
              <a:gd name="T17" fmla="*/ 741 h 1141"/>
              <a:gd name="T18" fmla="*/ 1012 w 1142"/>
              <a:gd name="T19" fmla="*/ 934 h 1141"/>
              <a:gd name="T20" fmla="*/ 842 w 1142"/>
              <a:gd name="T21" fmla="*/ 1072 h 1141"/>
              <a:gd name="T22" fmla="*/ 629 w 1142"/>
              <a:gd name="T23" fmla="*/ 1138 h 1141"/>
              <a:gd name="T24" fmla="*/ 401 w 1142"/>
              <a:gd name="T25" fmla="*/ 1116 h 1141"/>
              <a:gd name="T26" fmla="*/ 207 w 1142"/>
              <a:gd name="T27" fmla="*/ 1011 h 1141"/>
              <a:gd name="T28" fmla="*/ 69 w 1142"/>
              <a:gd name="T29" fmla="*/ 843 h 1141"/>
              <a:gd name="T30" fmla="*/ 3 w 1142"/>
              <a:gd name="T31" fmla="*/ 630 h 1141"/>
              <a:gd name="T32" fmla="*/ 9 w 1142"/>
              <a:gd name="T33" fmla="*/ 472 h 1141"/>
              <a:gd name="T34" fmla="*/ 46 w 1142"/>
              <a:gd name="T35" fmla="*/ 347 h 1141"/>
              <a:gd name="T36" fmla="*/ 527 w 1142"/>
              <a:gd name="T37" fmla="*/ 907 h 1141"/>
              <a:gd name="T38" fmla="*/ 460 w 1142"/>
              <a:gd name="T39" fmla="*/ 891 h 1141"/>
              <a:gd name="T40" fmla="*/ 400 w 1142"/>
              <a:gd name="T41" fmla="*/ 854 h 1141"/>
              <a:gd name="T42" fmla="*/ 342 w 1142"/>
              <a:gd name="T43" fmla="*/ 799 h 1141"/>
              <a:gd name="T44" fmla="*/ 340 w 1142"/>
              <a:gd name="T45" fmla="*/ 722 h 1141"/>
              <a:gd name="T46" fmla="*/ 330 w 1142"/>
              <a:gd name="T47" fmla="*/ 696 h 1141"/>
              <a:gd name="T48" fmla="*/ 250 w 1142"/>
              <a:gd name="T49" fmla="*/ 655 h 1141"/>
              <a:gd name="T50" fmla="*/ 195 w 1142"/>
              <a:gd name="T51" fmla="*/ 638 h 1141"/>
              <a:gd name="T52" fmla="*/ 184 w 1142"/>
              <a:gd name="T53" fmla="*/ 784 h 1141"/>
              <a:gd name="T54" fmla="*/ 200 w 1142"/>
              <a:gd name="T55" fmla="*/ 805 h 1141"/>
              <a:gd name="T56" fmla="*/ 281 w 1142"/>
              <a:gd name="T57" fmla="*/ 837 h 1141"/>
              <a:gd name="T58" fmla="*/ 356 w 1142"/>
              <a:gd name="T59" fmla="*/ 906 h 1141"/>
              <a:gd name="T60" fmla="*/ 449 w 1142"/>
              <a:gd name="T61" fmla="*/ 959 h 1141"/>
              <a:gd name="T62" fmla="*/ 553 w 1142"/>
              <a:gd name="T63" fmla="*/ 986 h 1141"/>
              <a:gd name="T64" fmla="*/ 659 w 1142"/>
              <a:gd name="T65" fmla="*/ 976 h 1141"/>
              <a:gd name="T66" fmla="*/ 761 w 1142"/>
              <a:gd name="T67" fmla="*/ 935 h 1141"/>
              <a:gd name="T68" fmla="*/ 847 w 1142"/>
              <a:gd name="T69" fmla="*/ 873 h 1141"/>
              <a:gd name="T70" fmla="*/ 909 w 1142"/>
              <a:gd name="T71" fmla="*/ 799 h 1141"/>
              <a:gd name="T72" fmla="*/ 975 w 1142"/>
              <a:gd name="T73" fmla="*/ 805 h 1141"/>
              <a:gd name="T74" fmla="*/ 977 w 1142"/>
              <a:gd name="T75" fmla="*/ 693 h 1141"/>
              <a:gd name="T76" fmla="*/ 948 w 1142"/>
              <a:gd name="T77" fmla="*/ 641 h 1141"/>
              <a:gd name="T78" fmla="*/ 870 w 1142"/>
              <a:gd name="T79" fmla="*/ 675 h 1141"/>
              <a:gd name="T80" fmla="*/ 817 w 1142"/>
              <a:gd name="T81" fmla="*/ 711 h 1141"/>
              <a:gd name="T82" fmla="*/ 849 w 1142"/>
              <a:gd name="T83" fmla="*/ 764 h 1141"/>
              <a:gd name="T84" fmla="*/ 792 w 1142"/>
              <a:gd name="T85" fmla="*/ 829 h 1141"/>
              <a:gd name="T86" fmla="*/ 733 w 1142"/>
              <a:gd name="T87" fmla="*/ 875 h 1141"/>
              <a:gd name="T88" fmla="*/ 668 w 1142"/>
              <a:gd name="T89" fmla="*/ 903 h 1141"/>
              <a:gd name="T90" fmla="*/ 615 w 1142"/>
              <a:gd name="T91" fmla="*/ 405 h 1141"/>
              <a:gd name="T92" fmla="*/ 664 w 1142"/>
              <a:gd name="T93" fmla="*/ 381 h 1141"/>
              <a:gd name="T94" fmla="*/ 712 w 1142"/>
              <a:gd name="T95" fmla="*/ 277 h 1141"/>
              <a:gd name="T96" fmla="*/ 676 w 1142"/>
              <a:gd name="T97" fmla="*/ 193 h 1141"/>
              <a:gd name="T98" fmla="*/ 580 w 1142"/>
              <a:gd name="T99" fmla="*/ 155 h 1141"/>
              <a:gd name="T100" fmla="*/ 485 w 1142"/>
              <a:gd name="T101" fmla="*/ 193 h 1141"/>
              <a:gd name="T102" fmla="*/ 448 w 1142"/>
              <a:gd name="T103" fmla="*/ 277 h 1141"/>
              <a:gd name="T104" fmla="*/ 470 w 1142"/>
              <a:gd name="T105" fmla="*/ 358 h 1141"/>
              <a:gd name="T106" fmla="*/ 501 w 1142"/>
              <a:gd name="T107" fmla="*/ 386 h 1141"/>
              <a:gd name="T108" fmla="*/ 545 w 1142"/>
              <a:gd name="T109" fmla="*/ 405 h 1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2" h="1141">
                <a:moveTo>
                  <a:pt x="59" y="318"/>
                </a:moveTo>
                <a:lnTo>
                  <a:pt x="77" y="284"/>
                </a:lnTo>
                <a:lnTo>
                  <a:pt x="98" y="250"/>
                </a:lnTo>
                <a:lnTo>
                  <a:pt x="121" y="219"/>
                </a:lnTo>
                <a:lnTo>
                  <a:pt x="146" y="189"/>
                </a:lnTo>
                <a:lnTo>
                  <a:pt x="174" y="161"/>
                </a:lnTo>
                <a:lnTo>
                  <a:pt x="203" y="135"/>
                </a:lnTo>
                <a:lnTo>
                  <a:pt x="234" y="111"/>
                </a:lnTo>
                <a:lnTo>
                  <a:pt x="266" y="88"/>
                </a:lnTo>
                <a:lnTo>
                  <a:pt x="300" y="68"/>
                </a:lnTo>
                <a:lnTo>
                  <a:pt x="335" y="51"/>
                </a:lnTo>
                <a:lnTo>
                  <a:pt x="371" y="36"/>
                </a:lnTo>
                <a:lnTo>
                  <a:pt x="409" y="23"/>
                </a:lnTo>
                <a:lnTo>
                  <a:pt x="448" y="13"/>
                </a:lnTo>
                <a:lnTo>
                  <a:pt x="489" y="6"/>
                </a:lnTo>
                <a:lnTo>
                  <a:pt x="529" y="1"/>
                </a:lnTo>
                <a:lnTo>
                  <a:pt x="570" y="0"/>
                </a:lnTo>
                <a:lnTo>
                  <a:pt x="629" y="4"/>
                </a:lnTo>
                <a:lnTo>
                  <a:pt x="686" y="12"/>
                </a:lnTo>
                <a:lnTo>
                  <a:pt x="741" y="26"/>
                </a:lnTo>
                <a:lnTo>
                  <a:pt x="793" y="45"/>
                </a:lnTo>
                <a:lnTo>
                  <a:pt x="842" y="69"/>
                </a:lnTo>
                <a:lnTo>
                  <a:pt x="890" y="98"/>
                </a:lnTo>
                <a:lnTo>
                  <a:pt x="935" y="131"/>
                </a:lnTo>
                <a:lnTo>
                  <a:pt x="975" y="167"/>
                </a:lnTo>
                <a:lnTo>
                  <a:pt x="1012" y="208"/>
                </a:lnTo>
                <a:lnTo>
                  <a:pt x="1044" y="253"/>
                </a:lnTo>
                <a:lnTo>
                  <a:pt x="1073" y="300"/>
                </a:lnTo>
                <a:lnTo>
                  <a:pt x="1097" y="350"/>
                </a:lnTo>
                <a:lnTo>
                  <a:pt x="1117" y="401"/>
                </a:lnTo>
                <a:lnTo>
                  <a:pt x="1131" y="457"/>
                </a:lnTo>
                <a:lnTo>
                  <a:pt x="1139" y="513"/>
                </a:lnTo>
                <a:lnTo>
                  <a:pt x="1142" y="572"/>
                </a:lnTo>
                <a:lnTo>
                  <a:pt x="1139" y="630"/>
                </a:lnTo>
                <a:lnTo>
                  <a:pt x="1131" y="686"/>
                </a:lnTo>
                <a:lnTo>
                  <a:pt x="1117" y="741"/>
                </a:lnTo>
                <a:lnTo>
                  <a:pt x="1097" y="793"/>
                </a:lnTo>
                <a:lnTo>
                  <a:pt x="1073" y="843"/>
                </a:lnTo>
                <a:lnTo>
                  <a:pt x="1044" y="890"/>
                </a:lnTo>
                <a:lnTo>
                  <a:pt x="1012" y="934"/>
                </a:lnTo>
                <a:lnTo>
                  <a:pt x="975" y="974"/>
                </a:lnTo>
                <a:lnTo>
                  <a:pt x="935" y="1011"/>
                </a:lnTo>
                <a:lnTo>
                  <a:pt x="890" y="1043"/>
                </a:lnTo>
                <a:lnTo>
                  <a:pt x="842" y="1072"/>
                </a:lnTo>
                <a:lnTo>
                  <a:pt x="793" y="1096"/>
                </a:lnTo>
                <a:lnTo>
                  <a:pt x="741" y="1116"/>
                </a:lnTo>
                <a:lnTo>
                  <a:pt x="686" y="1130"/>
                </a:lnTo>
                <a:lnTo>
                  <a:pt x="629" y="1138"/>
                </a:lnTo>
                <a:lnTo>
                  <a:pt x="570" y="1141"/>
                </a:lnTo>
                <a:lnTo>
                  <a:pt x="512" y="1138"/>
                </a:lnTo>
                <a:lnTo>
                  <a:pt x="455" y="1130"/>
                </a:lnTo>
                <a:lnTo>
                  <a:pt x="401" y="1116"/>
                </a:lnTo>
                <a:lnTo>
                  <a:pt x="348" y="1096"/>
                </a:lnTo>
                <a:lnTo>
                  <a:pt x="298" y="1072"/>
                </a:lnTo>
                <a:lnTo>
                  <a:pt x="251" y="1043"/>
                </a:lnTo>
                <a:lnTo>
                  <a:pt x="207" y="1011"/>
                </a:lnTo>
                <a:lnTo>
                  <a:pt x="167" y="974"/>
                </a:lnTo>
                <a:lnTo>
                  <a:pt x="130" y="934"/>
                </a:lnTo>
                <a:lnTo>
                  <a:pt x="98" y="890"/>
                </a:lnTo>
                <a:lnTo>
                  <a:pt x="69" y="843"/>
                </a:lnTo>
                <a:lnTo>
                  <a:pt x="45" y="793"/>
                </a:lnTo>
                <a:lnTo>
                  <a:pt x="25" y="741"/>
                </a:lnTo>
                <a:lnTo>
                  <a:pt x="11" y="686"/>
                </a:lnTo>
                <a:lnTo>
                  <a:pt x="3" y="630"/>
                </a:lnTo>
                <a:lnTo>
                  <a:pt x="0" y="572"/>
                </a:lnTo>
                <a:lnTo>
                  <a:pt x="1" y="539"/>
                </a:lnTo>
                <a:lnTo>
                  <a:pt x="3" y="505"/>
                </a:lnTo>
                <a:lnTo>
                  <a:pt x="9" y="472"/>
                </a:lnTo>
                <a:lnTo>
                  <a:pt x="16" y="439"/>
                </a:lnTo>
                <a:lnTo>
                  <a:pt x="24" y="408"/>
                </a:lnTo>
                <a:lnTo>
                  <a:pt x="35" y="377"/>
                </a:lnTo>
                <a:lnTo>
                  <a:pt x="46" y="347"/>
                </a:lnTo>
                <a:lnTo>
                  <a:pt x="59" y="318"/>
                </a:lnTo>
                <a:lnTo>
                  <a:pt x="545" y="527"/>
                </a:lnTo>
                <a:lnTo>
                  <a:pt x="545" y="908"/>
                </a:lnTo>
                <a:lnTo>
                  <a:pt x="527" y="907"/>
                </a:lnTo>
                <a:lnTo>
                  <a:pt x="509" y="906"/>
                </a:lnTo>
                <a:lnTo>
                  <a:pt x="492" y="903"/>
                </a:lnTo>
                <a:lnTo>
                  <a:pt x="476" y="897"/>
                </a:lnTo>
                <a:lnTo>
                  <a:pt x="460" y="891"/>
                </a:lnTo>
                <a:lnTo>
                  <a:pt x="444" y="884"/>
                </a:lnTo>
                <a:lnTo>
                  <a:pt x="429" y="875"/>
                </a:lnTo>
                <a:lnTo>
                  <a:pt x="414" y="865"/>
                </a:lnTo>
                <a:lnTo>
                  <a:pt x="400" y="854"/>
                </a:lnTo>
                <a:lnTo>
                  <a:pt x="385" y="842"/>
                </a:lnTo>
                <a:lnTo>
                  <a:pt x="370" y="829"/>
                </a:lnTo>
                <a:lnTo>
                  <a:pt x="356" y="814"/>
                </a:lnTo>
                <a:lnTo>
                  <a:pt x="342" y="799"/>
                </a:lnTo>
                <a:lnTo>
                  <a:pt x="327" y="782"/>
                </a:lnTo>
                <a:lnTo>
                  <a:pt x="313" y="764"/>
                </a:lnTo>
                <a:lnTo>
                  <a:pt x="298" y="746"/>
                </a:lnTo>
                <a:lnTo>
                  <a:pt x="340" y="722"/>
                </a:lnTo>
                <a:lnTo>
                  <a:pt x="346" y="716"/>
                </a:lnTo>
                <a:lnTo>
                  <a:pt x="346" y="711"/>
                </a:lnTo>
                <a:lnTo>
                  <a:pt x="340" y="706"/>
                </a:lnTo>
                <a:lnTo>
                  <a:pt x="330" y="696"/>
                </a:lnTo>
                <a:lnTo>
                  <a:pt x="312" y="686"/>
                </a:lnTo>
                <a:lnTo>
                  <a:pt x="293" y="675"/>
                </a:lnTo>
                <a:lnTo>
                  <a:pt x="271" y="664"/>
                </a:lnTo>
                <a:lnTo>
                  <a:pt x="250" y="655"/>
                </a:lnTo>
                <a:lnTo>
                  <a:pt x="230" y="647"/>
                </a:lnTo>
                <a:lnTo>
                  <a:pt x="213" y="641"/>
                </a:lnTo>
                <a:lnTo>
                  <a:pt x="202" y="638"/>
                </a:lnTo>
                <a:lnTo>
                  <a:pt x="195" y="638"/>
                </a:lnTo>
                <a:lnTo>
                  <a:pt x="190" y="655"/>
                </a:lnTo>
                <a:lnTo>
                  <a:pt x="185" y="693"/>
                </a:lnTo>
                <a:lnTo>
                  <a:pt x="183" y="740"/>
                </a:lnTo>
                <a:lnTo>
                  <a:pt x="184" y="784"/>
                </a:lnTo>
                <a:lnTo>
                  <a:pt x="185" y="797"/>
                </a:lnTo>
                <a:lnTo>
                  <a:pt x="188" y="805"/>
                </a:lnTo>
                <a:lnTo>
                  <a:pt x="192" y="808"/>
                </a:lnTo>
                <a:lnTo>
                  <a:pt x="200" y="805"/>
                </a:lnTo>
                <a:lnTo>
                  <a:pt x="243" y="781"/>
                </a:lnTo>
                <a:lnTo>
                  <a:pt x="253" y="799"/>
                </a:lnTo>
                <a:lnTo>
                  <a:pt x="266" y="819"/>
                </a:lnTo>
                <a:lnTo>
                  <a:pt x="281" y="837"/>
                </a:lnTo>
                <a:lnTo>
                  <a:pt x="297" y="855"/>
                </a:lnTo>
                <a:lnTo>
                  <a:pt x="316" y="873"/>
                </a:lnTo>
                <a:lnTo>
                  <a:pt x="335" y="890"/>
                </a:lnTo>
                <a:lnTo>
                  <a:pt x="356" y="906"/>
                </a:lnTo>
                <a:lnTo>
                  <a:pt x="378" y="921"/>
                </a:lnTo>
                <a:lnTo>
                  <a:pt x="401" y="935"/>
                </a:lnTo>
                <a:lnTo>
                  <a:pt x="425" y="948"/>
                </a:lnTo>
                <a:lnTo>
                  <a:pt x="449" y="959"/>
                </a:lnTo>
                <a:lnTo>
                  <a:pt x="475" y="968"/>
                </a:lnTo>
                <a:lnTo>
                  <a:pt x="501" y="976"/>
                </a:lnTo>
                <a:lnTo>
                  <a:pt x="527" y="982"/>
                </a:lnTo>
                <a:lnTo>
                  <a:pt x="553" y="986"/>
                </a:lnTo>
                <a:lnTo>
                  <a:pt x="580" y="987"/>
                </a:lnTo>
                <a:lnTo>
                  <a:pt x="606" y="986"/>
                </a:lnTo>
                <a:lnTo>
                  <a:pt x="633" y="982"/>
                </a:lnTo>
                <a:lnTo>
                  <a:pt x="659" y="976"/>
                </a:lnTo>
                <a:lnTo>
                  <a:pt x="686" y="968"/>
                </a:lnTo>
                <a:lnTo>
                  <a:pt x="712" y="959"/>
                </a:lnTo>
                <a:lnTo>
                  <a:pt x="736" y="948"/>
                </a:lnTo>
                <a:lnTo>
                  <a:pt x="761" y="935"/>
                </a:lnTo>
                <a:lnTo>
                  <a:pt x="785" y="921"/>
                </a:lnTo>
                <a:lnTo>
                  <a:pt x="807" y="906"/>
                </a:lnTo>
                <a:lnTo>
                  <a:pt x="827" y="890"/>
                </a:lnTo>
                <a:lnTo>
                  <a:pt x="847" y="873"/>
                </a:lnTo>
                <a:lnTo>
                  <a:pt x="865" y="855"/>
                </a:lnTo>
                <a:lnTo>
                  <a:pt x="882" y="837"/>
                </a:lnTo>
                <a:lnTo>
                  <a:pt x="897" y="819"/>
                </a:lnTo>
                <a:lnTo>
                  <a:pt x="909" y="799"/>
                </a:lnTo>
                <a:lnTo>
                  <a:pt x="920" y="781"/>
                </a:lnTo>
                <a:lnTo>
                  <a:pt x="962" y="805"/>
                </a:lnTo>
                <a:lnTo>
                  <a:pt x="970" y="808"/>
                </a:lnTo>
                <a:lnTo>
                  <a:pt x="975" y="805"/>
                </a:lnTo>
                <a:lnTo>
                  <a:pt x="977" y="797"/>
                </a:lnTo>
                <a:lnTo>
                  <a:pt x="978" y="784"/>
                </a:lnTo>
                <a:lnTo>
                  <a:pt x="980" y="740"/>
                </a:lnTo>
                <a:lnTo>
                  <a:pt x="977" y="693"/>
                </a:lnTo>
                <a:lnTo>
                  <a:pt x="973" y="655"/>
                </a:lnTo>
                <a:lnTo>
                  <a:pt x="968" y="638"/>
                </a:lnTo>
                <a:lnTo>
                  <a:pt x="961" y="638"/>
                </a:lnTo>
                <a:lnTo>
                  <a:pt x="948" y="641"/>
                </a:lnTo>
                <a:lnTo>
                  <a:pt x="932" y="647"/>
                </a:lnTo>
                <a:lnTo>
                  <a:pt x="913" y="655"/>
                </a:lnTo>
                <a:lnTo>
                  <a:pt x="891" y="664"/>
                </a:lnTo>
                <a:lnTo>
                  <a:pt x="870" y="675"/>
                </a:lnTo>
                <a:lnTo>
                  <a:pt x="850" y="686"/>
                </a:lnTo>
                <a:lnTo>
                  <a:pt x="833" y="696"/>
                </a:lnTo>
                <a:lnTo>
                  <a:pt x="823" y="706"/>
                </a:lnTo>
                <a:lnTo>
                  <a:pt x="817" y="711"/>
                </a:lnTo>
                <a:lnTo>
                  <a:pt x="817" y="716"/>
                </a:lnTo>
                <a:lnTo>
                  <a:pt x="823" y="722"/>
                </a:lnTo>
                <a:lnTo>
                  <a:pt x="864" y="746"/>
                </a:lnTo>
                <a:lnTo>
                  <a:pt x="849" y="764"/>
                </a:lnTo>
                <a:lnTo>
                  <a:pt x="834" y="782"/>
                </a:lnTo>
                <a:lnTo>
                  <a:pt x="821" y="799"/>
                </a:lnTo>
                <a:lnTo>
                  <a:pt x="806" y="814"/>
                </a:lnTo>
                <a:lnTo>
                  <a:pt x="792" y="829"/>
                </a:lnTo>
                <a:lnTo>
                  <a:pt x="777" y="842"/>
                </a:lnTo>
                <a:lnTo>
                  <a:pt x="763" y="854"/>
                </a:lnTo>
                <a:lnTo>
                  <a:pt x="748" y="865"/>
                </a:lnTo>
                <a:lnTo>
                  <a:pt x="733" y="875"/>
                </a:lnTo>
                <a:lnTo>
                  <a:pt x="717" y="884"/>
                </a:lnTo>
                <a:lnTo>
                  <a:pt x="702" y="891"/>
                </a:lnTo>
                <a:lnTo>
                  <a:pt x="686" y="897"/>
                </a:lnTo>
                <a:lnTo>
                  <a:pt x="668" y="903"/>
                </a:lnTo>
                <a:lnTo>
                  <a:pt x="651" y="906"/>
                </a:lnTo>
                <a:lnTo>
                  <a:pt x="634" y="907"/>
                </a:lnTo>
                <a:lnTo>
                  <a:pt x="615" y="908"/>
                </a:lnTo>
                <a:lnTo>
                  <a:pt x="615" y="405"/>
                </a:lnTo>
                <a:lnTo>
                  <a:pt x="620" y="404"/>
                </a:lnTo>
                <a:lnTo>
                  <a:pt x="630" y="400"/>
                </a:lnTo>
                <a:lnTo>
                  <a:pt x="646" y="392"/>
                </a:lnTo>
                <a:lnTo>
                  <a:pt x="664" y="381"/>
                </a:lnTo>
                <a:lnTo>
                  <a:pt x="681" y="365"/>
                </a:lnTo>
                <a:lnTo>
                  <a:pt x="697" y="341"/>
                </a:lnTo>
                <a:lnTo>
                  <a:pt x="708" y="313"/>
                </a:lnTo>
                <a:lnTo>
                  <a:pt x="712" y="277"/>
                </a:lnTo>
                <a:lnTo>
                  <a:pt x="710" y="254"/>
                </a:lnTo>
                <a:lnTo>
                  <a:pt x="703" y="232"/>
                </a:lnTo>
                <a:lnTo>
                  <a:pt x="691" y="211"/>
                </a:lnTo>
                <a:lnTo>
                  <a:pt x="676" y="193"/>
                </a:lnTo>
                <a:lnTo>
                  <a:pt x="657" y="178"/>
                </a:lnTo>
                <a:lnTo>
                  <a:pt x="635" y="165"/>
                </a:lnTo>
                <a:lnTo>
                  <a:pt x="608" y="157"/>
                </a:lnTo>
                <a:lnTo>
                  <a:pt x="580" y="155"/>
                </a:lnTo>
                <a:lnTo>
                  <a:pt x="551" y="157"/>
                </a:lnTo>
                <a:lnTo>
                  <a:pt x="525" y="165"/>
                </a:lnTo>
                <a:lnTo>
                  <a:pt x="504" y="178"/>
                </a:lnTo>
                <a:lnTo>
                  <a:pt x="485" y="193"/>
                </a:lnTo>
                <a:lnTo>
                  <a:pt x="469" y="211"/>
                </a:lnTo>
                <a:lnTo>
                  <a:pt x="459" y="232"/>
                </a:lnTo>
                <a:lnTo>
                  <a:pt x="451" y="254"/>
                </a:lnTo>
                <a:lnTo>
                  <a:pt x="448" y="277"/>
                </a:lnTo>
                <a:lnTo>
                  <a:pt x="449" y="300"/>
                </a:lnTo>
                <a:lnTo>
                  <a:pt x="453" y="321"/>
                </a:lnTo>
                <a:lnTo>
                  <a:pt x="460" y="340"/>
                </a:lnTo>
                <a:lnTo>
                  <a:pt x="470" y="358"/>
                </a:lnTo>
                <a:lnTo>
                  <a:pt x="477" y="366"/>
                </a:lnTo>
                <a:lnTo>
                  <a:pt x="484" y="373"/>
                </a:lnTo>
                <a:lnTo>
                  <a:pt x="493" y="379"/>
                </a:lnTo>
                <a:lnTo>
                  <a:pt x="501" y="386"/>
                </a:lnTo>
                <a:lnTo>
                  <a:pt x="512" y="392"/>
                </a:lnTo>
                <a:lnTo>
                  <a:pt x="522" y="397"/>
                </a:lnTo>
                <a:lnTo>
                  <a:pt x="532" y="401"/>
                </a:lnTo>
                <a:lnTo>
                  <a:pt x="545" y="405"/>
                </a:lnTo>
                <a:lnTo>
                  <a:pt x="545" y="527"/>
                </a:lnTo>
                <a:lnTo>
                  <a:pt x="59" y="318"/>
                </a:lnTo>
                <a:close/>
              </a:path>
            </a:pathLst>
          </a:custGeom>
          <a:solidFill>
            <a:schemeClr val="accent5"/>
          </a:solidFill>
          <a:ln>
            <a:noFill/>
          </a:ln>
        </p:spPr>
        <p:txBody>
          <a:bodyPr vert="horz" wrap="none" lIns="75268" tIns="37634" rIns="75268" bIns="37634" numCol="1" anchor="t" anchorCtr="0" compatLnSpc="1">
            <a:prstTxWarp prst="textNoShape">
              <a:avLst/>
            </a:prstTxWarp>
          </a:bodyPr>
          <a:lstStyle/>
          <a:p>
            <a:pPr defTabSz="768014"/>
            <a:endParaRPr lang="en-US" sz="1200" dirty="0">
              <a:solidFill>
                <a:srgbClr val="000000"/>
              </a:solidFill>
            </a:endParaRPr>
          </a:p>
        </p:txBody>
      </p:sp>
      <p:sp>
        <p:nvSpPr>
          <p:cNvPr id="38" name="Freeform 256"/>
          <p:cNvSpPr>
            <a:spLocks/>
          </p:cNvSpPr>
          <p:nvPr/>
        </p:nvSpPr>
        <p:spPr bwMode="gray">
          <a:xfrm>
            <a:off x="3326364" y="3353147"/>
            <a:ext cx="189935" cy="193568"/>
          </a:xfrm>
          <a:custGeom>
            <a:avLst/>
            <a:gdLst>
              <a:gd name="T0" fmla="*/ 121 w 1142"/>
              <a:gd name="T1" fmla="*/ 219 h 1141"/>
              <a:gd name="T2" fmla="*/ 234 w 1142"/>
              <a:gd name="T3" fmla="*/ 111 h 1141"/>
              <a:gd name="T4" fmla="*/ 371 w 1142"/>
              <a:gd name="T5" fmla="*/ 36 h 1141"/>
              <a:gd name="T6" fmla="*/ 529 w 1142"/>
              <a:gd name="T7" fmla="*/ 1 h 1141"/>
              <a:gd name="T8" fmla="*/ 741 w 1142"/>
              <a:gd name="T9" fmla="*/ 26 h 1141"/>
              <a:gd name="T10" fmla="*/ 935 w 1142"/>
              <a:gd name="T11" fmla="*/ 131 h 1141"/>
              <a:gd name="T12" fmla="*/ 1073 w 1142"/>
              <a:gd name="T13" fmla="*/ 300 h 1141"/>
              <a:gd name="T14" fmla="*/ 1139 w 1142"/>
              <a:gd name="T15" fmla="*/ 513 h 1141"/>
              <a:gd name="T16" fmla="*/ 1117 w 1142"/>
              <a:gd name="T17" fmla="*/ 741 h 1141"/>
              <a:gd name="T18" fmla="*/ 1012 w 1142"/>
              <a:gd name="T19" fmla="*/ 934 h 1141"/>
              <a:gd name="T20" fmla="*/ 842 w 1142"/>
              <a:gd name="T21" fmla="*/ 1072 h 1141"/>
              <a:gd name="T22" fmla="*/ 629 w 1142"/>
              <a:gd name="T23" fmla="*/ 1138 h 1141"/>
              <a:gd name="T24" fmla="*/ 401 w 1142"/>
              <a:gd name="T25" fmla="*/ 1116 h 1141"/>
              <a:gd name="T26" fmla="*/ 207 w 1142"/>
              <a:gd name="T27" fmla="*/ 1011 h 1141"/>
              <a:gd name="T28" fmla="*/ 69 w 1142"/>
              <a:gd name="T29" fmla="*/ 843 h 1141"/>
              <a:gd name="T30" fmla="*/ 3 w 1142"/>
              <a:gd name="T31" fmla="*/ 630 h 1141"/>
              <a:gd name="T32" fmla="*/ 9 w 1142"/>
              <a:gd name="T33" fmla="*/ 472 h 1141"/>
              <a:gd name="T34" fmla="*/ 46 w 1142"/>
              <a:gd name="T35" fmla="*/ 347 h 1141"/>
              <a:gd name="T36" fmla="*/ 527 w 1142"/>
              <a:gd name="T37" fmla="*/ 907 h 1141"/>
              <a:gd name="T38" fmla="*/ 460 w 1142"/>
              <a:gd name="T39" fmla="*/ 891 h 1141"/>
              <a:gd name="T40" fmla="*/ 400 w 1142"/>
              <a:gd name="T41" fmla="*/ 854 h 1141"/>
              <a:gd name="T42" fmla="*/ 342 w 1142"/>
              <a:gd name="T43" fmla="*/ 799 h 1141"/>
              <a:gd name="T44" fmla="*/ 340 w 1142"/>
              <a:gd name="T45" fmla="*/ 722 h 1141"/>
              <a:gd name="T46" fmla="*/ 330 w 1142"/>
              <a:gd name="T47" fmla="*/ 696 h 1141"/>
              <a:gd name="T48" fmla="*/ 250 w 1142"/>
              <a:gd name="T49" fmla="*/ 655 h 1141"/>
              <a:gd name="T50" fmla="*/ 195 w 1142"/>
              <a:gd name="T51" fmla="*/ 638 h 1141"/>
              <a:gd name="T52" fmla="*/ 184 w 1142"/>
              <a:gd name="T53" fmla="*/ 784 h 1141"/>
              <a:gd name="T54" fmla="*/ 200 w 1142"/>
              <a:gd name="T55" fmla="*/ 805 h 1141"/>
              <a:gd name="T56" fmla="*/ 281 w 1142"/>
              <a:gd name="T57" fmla="*/ 837 h 1141"/>
              <a:gd name="T58" fmla="*/ 356 w 1142"/>
              <a:gd name="T59" fmla="*/ 906 h 1141"/>
              <a:gd name="T60" fmla="*/ 449 w 1142"/>
              <a:gd name="T61" fmla="*/ 959 h 1141"/>
              <a:gd name="T62" fmla="*/ 553 w 1142"/>
              <a:gd name="T63" fmla="*/ 986 h 1141"/>
              <a:gd name="T64" fmla="*/ 659 w 1142"/>
              <a:gd name="T65" fmla="*/ 976 h 1141"/>
              <a:gd name="T66" fmla="*/ 761 w 1142"/>
              <a:gd name="T67" fmla="*/ 935 h 1141"/>
              <a:gd name="T68" fmla="*/ 847 w 1142"/>
              <a:gd name="T69" fmla="*/ 873 h 1141"/>
              <a:gd name="T70" fmla="*/ 909 w 1142"/>
              <a:gd name="T71" fmla="*/ 799 h 1141"/>
              <a:gd name="T72" fmla="*/ 975 w 1142"/>
              <a:gd name="T73" fmla="*/ 805 h 1141"/>
              <a:gd name="T74" fmla="*/ 977 w 1142"/>
              <a:gd name="T75" fmla="*/ 693 h 1141"/>
              <a:gd name="T76" fmla="*/ 948 w 1142"/>
              <a:gd name="T77" fmla="*/ 641 h 1141"/>
              <a:gd name="T78" fmla="*/ 870 w 1142"/>
              <a:gd name="T79" fmla="*/ 675 h 1141"/>
              <a:gd name="T80" fmla="*/ 817 w 1142"/>
              <a:gd name="T81" fmla="*/ 711 h 1141"/>
              <a:gd name="T82" fmla="*/ 849 w 1142"/>
              <a:gd name="T83" fmla="*/ 764 h 1141"/>
              <a:gd name="T84" fmla="*/ 792 w 1142"/>
              <a:gd name="T85" fmla="*/ 829 h 1141"/>
              <a:gd name="T86" fmla="*/ 733 w 1142"/>
              <a:gd name="T87" fmla="*/ 875 h 1141"/>
              <a:gd name="T88" fmla="*/ 668 w 1142"/>
              <a:gd name="T89" fmla="*/ 903 h 1141"/>
              <a:gd name="T90" fmla="*/ 615 w 1142"/>
              <a:gd name="T91" fmla="*/ 405 h 1141"/>
              <a:gd name="T92" fmla="*/ 664 w 1142"/>
              <a:gd name="T93" fmla="*/ 381 h 1141"/>
              <a:gd name="T94" fmla="*/ 712 w 1142"/>
              <a:gd name="T95" fmla="*/ 277 h 1141"/>
              <a:gd name="T96" fmla="*/ 676 w 1142"/>
              <a:gd name="T97" fmla="*/ 193 h 1141"/>
              <a:gd name="T98" fmla="*/ 580 w 1142"/>
              <a:gd name="T99" fmla="*/ 155 h 1141"/>
              <a:gd name="T100" fmla="*/ 485 w 1142"/>
              <a:gd name="T101" fmla="*/ 193 h 1141"/>
              <a:gd name="T102" fmla="*/ 448 w 1142"/>
              <a:gd name="T103" fmla="*/ 277 h 1141"/>
              <a:gd name="T104" fmla="*/ 470 w 1142"/>
              <a:gd name="T105" fmla="*/ 358 h 1141"/>
              <a:gd name="T106" fmla="*/ 501 w 1142"/>
              <a:gd name="T107" fmla="*/ 386 h 1141"/>
              <a:gd name="T108" fmla="*/ 545 w 1142"/>
              <a:gd name="T109" fmla="*/ 405 h 1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2" h="1141">
                <a:moveTo>
                  <a:pt x="59" y="318"/>
                </a:moveTo>
                <a:lnTo>
                  <a:pt x="77" y="284"/>
                </a:lnTo>
                <a:lnTo>
                  <a:pt x="98" y="250"/>
                </a:lnTo>
                <a:lnTo>
                  <a:pt x="121" y="219"/>
                </a:lnTo>
                <a:lnTo>
                  <a:pt x="146" y="189"/>
                </a:lnTo>
                <a:lnTo>
                  <a:pt x="174" y="161"/>
                </a:lnTo>
                <a:lnTo>
                  <a:pt x="203" y="135"/>
                </a:lnTo>
                <a:lnTo>
                  <a:pt x="234" y="111"/>
                </a:lnTo>
                <a:lnTo>
                  <a:pt x="266" y="88"/>
                </a:lnTo>
                <a:lnTo>
                  <a:pt x="300" y="68"/>
                </a:lnTo>
                <a:lnTo>
                  <a:pt x="335" y="51"/>
                </a:lnTo>
                <a:lnTo>
                  <a:pt x="371" y="36"/>
                </a:lnTo>
                <a:lnTo>
                  <a:pt x="409" y="23"/>
                </a:lnTo>
                <a:lnTo>
                  <a:pt x="448" y="13"/>
                </a:lnTo>
                <a:lnTo>
                  <a:pt x="489" y="6"/>
                </a:lnTo>
                <a:lnTo>
                  <a:pt x="529" y="1"/>
                </a:lnTo>
                <a:lnTo>
                  <a:pt x="570" y="0"/>
                </a:lnTo>
                <a:lnTo>
                  <a:pt x="629" y="4"/>
                </a:lnTo>
                <a:lnTo>
                  <a:pt x="686" y="12"/>
                </a:lnTo>
                <a:lnTo>
                  <a:pt x="741" y="26"/>
                </a:lnTo>
                <a:lnTo>
                  <a:pt x="793" y="45"/>
                </a:lnTo>
                <a:lnTo>
                  <a:pt x="842" y="69"/>
                </a:lnTo>
                <a:lnTo>
                  <a:pt x="890" y="98"/>
                </a:lnTo>
                <a:lnTo>
                  <a:pt x="935" y="131"/>
                </a:lnTo>
                <a:lnTo>
                  <a:pt x="975" y="167"/>
                </a:lnTo>
                <a:lnTo>
                  <a:pt x="1012" y="208"/>
                </a:lnTo>
                <a:lnTo>
                  <a:pt x="1044" y="253"/>
                </a:lnTo>
                <a:lnTo>
                  <a:pt x="1073" y="300"/>
                </a:lnTo>
                <a:lnTo>
                  <a:pt x="1097" y="350"/>
                </a:lnTo>
                <a:lnTo>
                  <a:pt x="1117" y="401"/>
                </a:lnTo>
                <a:lnTo>
                  <a:pt x="1131" y="457"/>
                </a:lnTo>
                <a:lnTo>
                  <a:pt x="1139" y="513"/>
                </a:lnTo>
                <a:lnTo>
                  <a:pt x="1142" y="572"/>
                </a:lnTo>
                <a:lnTo>
                  <a:pt x="1139" y="630"/>
                </a:lnTo>
                <a:lnTo>
                  <a:pt x="1131" y="686"/>
                </a:lnTo>
                <a:lnTo>
                  <a:pt x="1117" y="741"/>
                </a:lnTo>
                <a:lnTo>
                  <a:pt x="1097" y="793"/>
                </a:lnTo>
                <a:lnTo>
                  <a:pt x="1073" y="843"/>
                </a:lnTo>
                <a:lnTo>
                  <a:pt x="1044" y="890"/>
                </a:lnTo>
                <a:lnTo>
                  <a:pt x="1012" y="934"/>
                </a:lnTo>
                <a:lnTo>
                  <a:pt x="975" y="974"/>
                </a:lnTo>
                <a:lnTo>
                  <a:pt x="935" y="1011"/>
                </a:lnTo>
                <a:lnTo>
                  <a:pt x="890" y="1043"/>
                </a:lnTo>
                <a:lnTo>
                  <a:pt x="842" y="1072"/>
                </a:lnTo>
                <a:lnTo>
                  <a:pt x="793" y="1096"/>
                </a:lnTo>
                <a:lnTo>
                  <a:pt x="741" y="1116"/>
                </a:lnTo>
                <a:lnTo>
                  <a:pt x="686" y="1130"/>
                </a:lnTo>
                <a:lnTo>
                  <a:pt x="629" y="1138"/>
                </a:lnTo>
                <a:lnTo>
                  <a:pt x="570" y="1141"/>
                </a:lnTo>
                <a:lnTo>
                  <a:pt x="512" y="1138"/>
                </a:lnTo>
                <a:lnTo>
                  <a:pt x="455" y="1130"/>
                </a:lnTo>
                <a:lnTo>
                  <a:pt x="401" y="1116"/>
                </a:lnTo>
                <a:lnTo>
                  <a:pt x="348" y="1096"/>
                </a:lnTo>
                <a:lnTo>
                  <a:pt x="298" y="1072"/>
                </a:lnTo>
                <a:lnTo>
                  <a:pt x="251" y="1043"/>
                </a:lnTo>
                <a:lnTo>
                  <a:pt x="207" y="1011"/>
                </a:lnTo>
                <a:lnTo>
                  <a:pt x="167" y="974"/>
                </a:lnTo>
                <a:lnTo>
                  <a:pt x="130" y="934"/>
                </a:lnTo>
                <a:lnTo>
                  <a:pt x="98" y="890"/>
                </a:lnTo>
                <a:lnTo>
                  <a:pt x="69" y="843"/>
                </a:lnTo>
                <a:lnTo>
                  <a:pt x="45" y="793"/>
                </a:lnTo>
                <a:lnTo>
                  <a:pt x="25" y="741"/>
                </a:lnTo>
                <a:lnTo>
                  <a:pt x="11" y="686"/>
                </a:lnTo>
                <a:lnTo>
                  <a:pt x="3" y="630"/>
                </a:lnTo>
                <a:lnTo>
                  <a:pt x="0" y="572"/>
                </a:lnTo>
                <a:lnTo>
                  <a:pt x="1" y="539"/>
                </a:lnTo>
                <a:lnTo>
                  <a:pt x="3" y="505"/>
                </a:lnTo>
                <a:lnTo>
                  <a:pt x="9" y="472"/>
                </a:lnTo>
                <a:lnTo>
                  <a:pt x="16" y="439"/>
                </a:lnTo>
                <a:lnTo>
                  <a:pt x="24" y="408"/>
                </a:lnTo>
                <a:lnTo>
                  <a:pt x="35" y="377"/>
                </a:lnTo>
                <a:lnTo>
                  <a:pt x="46" y="347"/>
                </a:lnTo>
                <a:lnTo>
                  <a:pt x="59" y="318"/>
                </a:lnTo>
                <a:lnTo>
                  <a:pt x="545" y="527"/>
                </a:lnTo>
                <a:lnTo>
                  <a:pt x="545" y="908"/>
                </a:lnTo>
                <a:lnTo>
                  <a:pt x="527" y="907"/>
                </a:lnTo>
                <a:lnTo>
                  <a:pt x="509" y="906"/>
                </a:lnTo>
                <a:lnTo>
                  <a:pt x="492" y="903"/>
                </a:lnTo>
                <a:lnTo>
                  <a:pt x="476" y="897"/>
                </a:lnTo>
                <a:lnTo>
                  <a:pt x="460" y="891"/>
                </a:lnTo>
                <a:lnTo>
                  <a:pt x="444" y="884"/>
                </a:lnTo>
                <a:lnTo>
                  <a:pt x="429" y="875"/>
                </a:lnTo>
                <a:lnTo>
                  <a:pt x="414" y="865"/>
                </a:lnTo>
                <a:lnTo>
                  <a:pt x="400" y="854"/>
                </a:lnTo>
                <a:lnTo>
                  <a:pt x="385" y="842"/>
                </a:lnTo>
                <a:lnTo>
                  <a:pt x="370" y="829"/>
                </a:lnTo>
                <a:lnTo>
                  <a:pt x="356" y="814"/>
                </a:lnTo>
                <a:lnTo>
                  <a:pt x="342" y="799"/>
                </a:lnTo>
                <a:lnTo>
                  <a:pt x="327" y="782"/>
                </a:lnTo>
                <a:lnTo>
                  <a:pt x="313" y="764"/>
                </a:lnTo>
                <a:lnTo>
                  <a:pt x="298" y="746"/>
                </a:lnTo>
                <a:lnTo>
                  <a:pt x="340" y="722"/>
                </a:lnTo>
                <a:lnTo>
                  <a:pt x="346" y="716"/>
                </a:lnTo>
                <a:lnTo>
                  <a:pt x="346" y="711"/>
                </a:lnTo>
                <a:lnTo>
                  <a:pt x="340" y="706"/>
                </a:lnTo>
                <a:lnTo>
                  <a:pt x="330" y="696"/>
                </a:lnTo>
                <a:lnTo>
                  <a:pt x="312" y="686"/>
                </a:lnTo>
                <a:lnTo>
                  <a:pt x="293" y="675"/>
                </a:lnTo>
                <a:lnTo>
                  <a:pt x="271" y="664"/>
                </a:lnTo>
                <a:lnTo>
                  <a:pt x="250" y="655"/>
                </a:lnTo>
                <a:lnTo>
                  <a:pt x="230" y="647"/>
                </a:lnTo>
                <a:lnTo>
                  <a:pt x="213" y="641"/>
                </a:lnTo>
                <a:lnTo>
                  <a:pt x="202" y="638"/>
                </a:lnTo>
                <a:lnTo>
                  <a:pt x="195" y="638"/>
                </a:lnTo>
                <a:lnTo>
                  <a:pt x="190" y="655"/>
                </a:lnTo>
                <a:lnTo>
                  <a:pt x="185" y="693"/>
                </a:lnTo>
                <a:lnTo>
                  <a:pt x="183" y="740"/>
                </a:lnTo>
                <a:lnTo>
                  <a:pt x="184" y="784"/>
                </a:lnTo>
                <a:lnTo>
                  <a:pt x="185" y="797"/>
                </a:lnTo>
                <a:lnTo>
                  <a:pt x="188" y="805"/>
                </a:lnTo>
                <a:lnTo>
                  <a:pt x="192" y="808"/>
                </a:lnTo>
                <a:lnTo>
                  <a:pt x="200" y="805"/>
                </a:lnTo>
                <a:lnTo>
                  <a:pt x="243" y="781"/>
                </a:lnTo>
                <a:lnTo>
                  <a:pt x="253" y="799"/>
                </a:lnTo>
                <a:lnTo>
                  <a:pt x="266" y="819"/>
                </a:lnTo>
                <a:lnTo>
                  <a:pt x="281" y="837"/>
                </a:lnTo>
                <a:lnTo>
                  <a:pt x="297" y="855"/>
                </a:lnTo>
                <a:lnTo>
                  <a:pt x="316" y="873"/>
                </a:lnTo>
                <a:lnTo>
                  <a:pt x="335" y="890"/>
                </a:lnTo>
                <a:lnTo>
                  <a:pt x="356" y="906"/>
                </a:lnTo>
                <a:lnTo>
                  <a:pt x="378" y="921"/>
                </a:lnTo>
                <a:lnTo>
                  <a:pt x="401" y="935"/>
                </a:lnTo>
                <a:lnTo>
                  <a:pt x="425" y="948"/>
                </a:lnTo>
                <a:lnTo>
                  <a:pt x="449" y="959"/>
                </a:lnTo>
                <a:lnTo>
                  <a:pt x="475" y="968"/>
                </a:lnTo>
                <a:lnTo>
                  <a:pt x="501" y="976"/>
                </a:lnTo>
                <a:lnTo>
                  <a:pt x="527" y="982"/>
                </a:lnTo>
                <a:lnTo>
                  <a:pt x="553" y="986"/>
                </a:lnTo>
                <a:lnTo>
                  <a:pt x="580" y="987"/>
                </a:lnTo>
                <a:lnTo>
                  <a:pt x="606" y="986"/>
                </a:lnTo>
                <a:lnTo>
                  <a:pt x="633" y="982"/>
                </a:lnTo>
                <a:lnTo>
                  <a:pt x="659" y="976"/>
                </a:lnTo>
                <a:lnTo>
                  <a:pt x="686" y="968"/>
                </a:lnTo>
                <a:lnTo>
                  <a:pt x="712" y="959"/>
                </a:lnTo>
                <a:lnTo>
                  <a:pt x="736" y="948"/>
                </a:lnTo>
                <a:lnTo>
                  <a:pt x="761" y="935"/>
                </a:lnTo>
                <a:lnTo>
                  <a:pt x="785" y="921"/>
                </a:lnTo>
                <a:lnTo>
                  <a:pt x="807" y="906"/>
                </a:lnTo>
                <a:lnTo>
                  <a:pt x="827" y="890"/>
                </a:lnTo>
                <a:lnTo>
                  <a:pt x="847" y="873"/>
                </a:lnTo>
                <a:lnTo>
                  <a:pt x="865" y="855"/>
                </a:lnTo>
                <a:lnTo>
                  <a:pt x="882" y="837"/>
                </a:lnTo>
                <a:lnTo>
                  <a:pt x="897" y="819"/>
                </a:lnTo>
                <a:lnTo>
                  <a:pt x="909" y="799"/>
                </a:lnTo>
                <a:lnTo>
                  <a:pt x="920" y="781"/>
                </a:lnTo>
                <a:lnTo>
                  <a:pt x="962" y="805"/>
                </a:lnTo>
                <a:lnTo>
                  <a:pt x="970" y="808"/>
                </a:lnTo>
                <a:lnTo>
                  <a:pt x="975" y="805"/>
                </a:lnTo>
                <a:lnTo>
                  <a:pt x="977" y="797"/>
                </a:lnTo>
                <a:lnTo>
                  <a:pt x="978" y="784"/>
                </a:lnTo>
                <a:lnTo>
                  <a:pt x="980" y="740"/>
                </a:lnTo>
                <a:lnTo>
                  <a:pt x="977" y="693"/>
                </a:lnTo>
                <a:lnTo>
                  <a:pt x="973" y="655"/>
                </a:lnTo>
                <a:lnTo>
                  <a:pt x="968" y="638"/>
                </a:lnTo>
                <a:lnTo>
                  <a:pt x="961" y="638"/>
                </a:lnTo>
                <a:lnTo>
                  <a:pt x="948" y="641"/>
                </a:lnTo>
                <a:lnTo>
                  <a:pt x="932" y="647"/>
                </a:lnTo>
                <a:lnTo>
                  <a:pt x="913" y="655"/>
                </a:lnTo>
                <a:lnTo>
                  <a:pt x="891" y="664"/>
                </a:lnTo>
                <a:lnTo>
                  <a:pt x="870" y="675"/>
                </a:lnTo>
                <a:lnTo>
                  <a:pt x="850" y="686"/>
                </a:lnTo>
                <a:lnTo>
                  <a:pt x="833" y="696"/>
                </a:lnTo>
                <a:lnTo>
                  <a:pt x="823" y="706"/>
                </a:lnTo>
                <a:lnTo>
                  <a:pt x="817" y="711"/>
                </a:lnTo>
                <a:lnTo>
                  <a:pt x="817" y="716"/>
                </a:lnTo>
                <a:lnTo>
                  <a:pt x="823" y="722"/>
                </a:lnTo>
                <a:lnTo>
                  <a:pt x="864" y="746"/>
                </a:lnTo>
                <a:lnTo>
                  <a:pt x="849" y="764"/>
                </a:lnTo>
                <a:lnTo>
                  <a:pt x="834" y="782"/>
                </a:lnTo>
                <a:lnTo>
                  <a:pt x="821" y="799"/>
                </a:lnTo>
                <a:lnTo>
                  <a:pt x="806" y="814"/>
                </a:lnTo>
                <a:lnTo>
                  <a:pt x="792" y="829"/>
                </a:lnTo>
                <a:lnTo>
                  <a:pt x="777" y="842"/>
                </a:lnTo>
                <a:lnTo>
                  <a:pt x="763" y="854"/>
                </a:lnTo>
                <a:lnTo>
                  <a:pt x="748" y="865"/>
                </a:lnTo>
                <a:lnTo>
                  <a:pt x="733" y="875"/>
                </a:lnTo>
                <a:lnTo>
                  <a:pt x="717" y="884"/>
                </a:lnTo>
                <a:lnTo>
                  <a:pt x="702" y="891"/>
                </a:lnTo>
                <a:lnTo>
                  <a:pt x="686" y="897"/>
                </a:lnTo>
                <a:lnTo>
                  <a:pt x="668" y="903"/>
                </a:lnTo>
                <a:lnTo>
                  <a:pt x="651" y="906"/>
                </a:lnTo>
                <a:lnTo>
                  <a:pt x="634" y="907"/>
                </a:lnTo>
                <a:lnTo>
                  <a:pt x="615" y="908"/>
                </a:lnTo>
                <a:lnTo>
                  <a:pt x="615" y="405"/>
                </a:lnTo>
                <a:lnTo>
                  <a:pt x="620" y="404"/>
                </a:lnTo>
                <a:lnTo>
                  <a:pt x="630" y="400"/>
                </a:lnTo>
                <a:lnTo>
                  <a:pt x="646" y="392"/>
                </a:lnTo>
                <a:lnTo>
                  <a:pt x="664" y="381"/>
                </a:lnTo>
                <a:lnTo>
                  <a:pt x="681" y="365"/>
                </a:lnTo>
                <a:lnTo>
                  <a:pt x="697" y="341"/>
                </a:lnTo>
                <a:lnTo>
                  <a:pt x="708" y="313"/>
                </a:lnTo>
                <a:lnTo>
                  <a:pt x="712" y="277"/>
                </a:lnTo>
                <a:lnTo>
                  <a:pt x="710" y="254"/>
                </a:lnTo>
                <a:lnTo>
                  <a:pt x="703" y="232"/>
                </a:lnTo>
                <a:lnTo>
                  <a:pt x="691" y="211"/>
                </a:lnTo>
                <a:lnTo>
                  <a:pt x="676" y="193"/>
                </a:lnTo>
                <a:lnTo>
                  <a:pt x="657" y="178"/>
                </a:lnTo>
                <a:lnTo>
                  <a:pt x="635" y="165"/>
                </a:lnTo>
                <a:lnTo>
                  <a:pt x="608" y="157"/>
                </a:lnTo>
                <a:lnTo>
                  <a:pt x="580" y="155"/>
                </a:lnTo>
                <a:lnTo>
                  <a:pt x="551" y="157"/>
                </a:lnTo>
                <a:lnTo>
                  <a:pt x="525" y="165"/>
                </a:lnTo>
                <a:lnTo>
                  <a:pt x="504" y="178"/>
                </a:lnTo>
                <a:lnTo>
                  <a:pt x="485" y="193"/>
                </a:lnTo>
                <a:lnTo>
                  <a:pt x="469" y="211"/>
                </a:lnTo>
                <a:lnTo>
                  <a:pt x="459" y="232"/>
                </a:lnTo>
                <a:lnTo>
                  <a:pt x="451" y="254"/>
                </a:lnTo>
                <a:lnTo>
                  <a:pt x="448" y="277"/>
                </a:lnTo>
                <a:lnTo>
                  <a:pt x="449" y="300"/>
                </a:lnTo>
                <a:lnTo>
                  <a:pt x="453" y="321"/>
                </a:lnTo>
                <a:lnTo>
                  <a:pt x="460" y="340"/>
                </a:lnTo>
                <a:lnTo>
                  <a:pt x="470" y="358"/>
                </a:lnTo>
                <a:lnTo>
                  <a:pt x="477" y="366"/>
                </a:lnTo>
                <a:lnTo>
                  <a:pt x="484" y="373"/>
                </a:lnTo>
                <a:lnTo>
                  <a:pt x="493" y="379"/>
                </a:lnTo>
                <a:lnTo>
                  <a:pt x="501" y="386"/>
                </a:lnTo>
                <a:lnTo>
                  <a:pt x="512" y="392"/>
                </a:lnTo>
                <a:lnTo>
                  <a:pt x="522" y="397"/>
                </a:lnTo>
                <a:lnTo>
                  <a:pt x="532" y="401"/>
                </a:lnTo>
                <a:lnTo>
                  <a:pt x="545" y="405"/>
                </a:lnTo>
                <a:lnTo>
                  <a:pt x="545" y="527"/>
                </a:lnTo>
                <a:lnTo>
                  <a:pt x="59" y="318"/>
                </a:lnTo>
                <a:close/>
              </a:path>
            </a:pathLst>
          </a:custGeom>
          <a:solidFill>
            <a:schemeClr val="accent5"/>
          </a:solidFill>
          <a:ln>
            <a:noFill/>
          </a:ln>
        </p:spPr>
        <p:txBody>
          <a:bodyPr vert="horz" wrap="none" lIns="75268" tIns="37634" rIns="75268" bIns="37634" numCol="1" anchor="t" anchorCtr="0" compatLnSpc="1">
            <a:prstTxWarp prst="textNoShape">
              <a:avLst/>
            </a:prstTxWarp>
          </a:bodyPr>
          <a:lstStyle/>
          <a:p>
            <a:pPr defTabSz="768014"/>
            <a:endParaRPr lang="en-US" sz="1200" dirty="0">
              <a:solidFill>
                <a:srgbClr val="000000"/>
              </a:solidFill>
            </a:endParaRPr>
          </a:p>
        </p:txBody>
      </p:sp>
      <p:sp>
        <p:nvSpPr>
          <p:cNvPr id="39" name="Freeform 256"/>
          <p:cNvSpPr>
            <a:spLocks/>
          </p:cNvSpPr>
          <p:nvPr/>
        </p:nvSpPr>
        <p:spPr bwMode="gray">
          <a:xfrm>
            <a:off x="1524552" y="4524722"/>
            <a:ext cx="189935" cy="193568"/>
          </a:xfrm>
          <a:custGeom>
            <a:avLst/>
            <a:gdLst>
              <a:gd name="T0" fmla="*/ 121 w 1142"/>
              <a:gd name="T1" fmla="*/ 219 h 1141"/>
              <a:gd name="T2" fmla="*/ 234 w 1142"/>
              <a:gd name="T3" fmla="*/ 111 h 1141"/>
              <a:gd name="T4" fmla="*/ 371 w 1142"/>
              <a:gd name="T5" fmla="*/ 36 h 1141"/>
              <a:gd name="T6" fmla="*/ 529 w 1142"/>
              <a:gd name="T7" fmla="*/ 1 h 1141"/>
              <a:gd name="T8" fmla="*/ 741 w 1142"/>
              <a:gd name="T9" fmla="*/ 26 h 1141"/>
              <a:gd name="T10" fmla="*/ 935 w 1142"/>
              <a:gd name="T11" fmla="*/ 131 h 1141"/>
              <a:gd name="T12" fmla="*/ 1073 w 1142"/>
              <a:gd name="T13" fmla="*/ 300 h 1141"/>
              <a:gd name="T14" fmla="*/ 1139 w 1142"/>
              <a:gd name="T15" fmla="*/ 513 h 1141"/>
              <a:gd name="T16" fmla="*/ 1117 w 1142"/>
              <a:gd name="T17" fmla="*/ 741 h 1141"/>
              <a:gd name="T18" fmla="*/ 1012 w 1142"/>
              <a:gd name="T19" fmla="*/ 934 h 1141"/>
              <a:gd name="T20" fmla="*/ 842 w 1142"/>
              <a:gd name="T21" fmla="*/ 1072 h 1141"/>
              <a:gd name="T22" fmla="*/ 629 w 1142"/>
              <a:gd name="T23" fmla="*/ 1138 h 1141"/>
              <a:gd name="T24" fmla="*/ 401 w 1142"/>
              <a:gd name="T25" fmla="*/ 1116 h 1141"/>
              <a:gd name="T26" fmla="*/ 207 w 1142"/>
              <a:gd name="T27" fmla="*/ 1011 h 1141"/>
              <a:gd name="T28" fmla="*/ 69 w 1142"/>
              <a:gd name="T29" fmla="*/ 843 h 1141"/>
              <a:gd name="T30" fmla="*/ 3 w 1142"/>
              <a:gd name="T31" fmla="*/ 630 h 1141"/>
              <a:gd name="T32" fmla="*/ 9 w 1142"/>
              <a:gd name="T33" fmla="*/ 472 h 1141"/>
              <a:gd name="T34" fmla="*/ 46 w 1142"/>
              <a:gd name="T35" fmla="*/ 347 h 1141"/>
              <a:gd name="T36" fmla="*/ 527 w 1142"/>
              <a:gd name="T37" fmla="*/ 907 h 1141"/>
              <a:gd name="T38" fmla="*/ 460 w 1142"/>
              <a:gd name="T39" fmla="*/ 891 h 1141"/>
              <a:gd name="T40" fmla="*/ 400 w 1142"/>
              <a:gd name="T41" fmla="*/ 854 h 1141"/>
              <a:gd name="T42" fmla="*/ 342 w 1142"/>
              <a:gd name="T43" fmla="*/ 799 h 1141"/>
              <a:gd name="T44" fmla="*/ 340 w 1142"/>
              <a:gd name="T45" fmla="*/ 722 h 1141"/>
              <a:gd name="T46" fmla="*/ 330 w 1142"/>
              <a:gd name="T47" fmla="*/ 696 h 1141"/>
              <a:gd name="T48" fmla="*/ 250 w 1142"/>
              <a:gd name="T49" fmla="*/ 655 h 1141"/>
              <a:gd name="T50" fmla="*/ 195 w 1142"/>
              <a:gd name="T51" fmla="*/ 638 h 1141"/>
              <a:gd name="T52" fmla="*/ 184 w 1142"/>
              <a:gd name="T53" fmla="*/ 784 h 1141"/>
              <a:gd name="T54" fmla="*/ 200 w 1142"/>
              <a:gd name="T55" fmla="*/ 805 h 1141"/>
              <a:gd name="T56" fmla="*/ 281 w 1142"/>
              <a:gd name="T57" fmla="*/ 837 h 1141"/>
              <a:gd name="T58" fmla="*/ 356 w 1142"/>
              <a:gd name="T59" fmla="*/ 906 h 1141"/>
              <a:gd name="T60" fmla="*/ 449 w 1142"/>
              <a:gd name="T61" fmla="*/ 959 h 1141"/>
              <a:gd name="T62" fmla="*/ 553 w 1142"/>
              <a:gd name="T63" fmla="*/ 986 h 1141"/>
              <a:gd name="T64" fmla="*/ 659 w 1142"/>
              <a:gd name="T65" fmla="*/ 976 h 1141"/>
              <a:gd name="T66" fmla="*/ 761 w 1142"/>
              <a:gd name="T67" fmla="*/ 935 h 1141"/>
              <a:gd name="T68" fmla="*/ 847 w 1142"/>
              <a:gd name="T69" fmla="*/ 873 h 1141"/>
              <a:gd name="T70" fmla="*/ 909 w 1142"/>
              <a:gd name="T71" fmla="*/ 799 h 1141"/>
              <a:gd name="T72" fmla="*/ 975 w 1142"/>
              <a:gd name="T73" fmla="*/ 805 h 1141"/>
              <a:gd name="T74" fmla="*/ 977 w 1142"/>
              <a:gd name="T75" fmla="*/ 693 h 1141"/>
              <a:gd name="T76" fmla="*/ 948 w 1142"/>
              <a:gd name="T77" fmla="*/ 641 h 1141"/>
              <a:gd name="T78" fmla="*/ 870 w 1142"/>
              <a:gd name="T79" fmla="*/ 675 h 1141"/>
              <a:gd name="T80" fmla="*/ 817 w 1142"/>
              <a:gd name="T81" fmla="*/ 711 h 1141"/>
              <a:gd name="T82" fmla="*/ 849 w 1142"/>
              <a:gd name="T83" fmla="*/ 764 h 1141"/>
              <a:gd name="T84" fmla="*/ 792 w 1142"/>
              <a:gd name="T85" fmla="*/ 829 h 1141"/>
              <a:gd name="T86" fmla="*/ 733 w 1142"/>
              <a:gd name="T87" fmla="*/ 875 h 1141"/>
              <a:gd name="T88" fmla="*/ 668 w 1142"/>
              <a:gd name="T89" fmla="*/ 903 h 1141"/>
              <a:gd name="T90" fmla="*/ 615 w 1142"/>
              <a:gd name="T91" fmla="*/ 405 h 1141"/>
              <a:gd name="T92" fmla="*/ 664 w 1142"/>
              <a:gd name="T93" fmla="*/ 381 h 1141"/>
              <a:gd name="T94" fmla="*/ 712 w 1142"/>
              <a:gd name="T95" fmla="*/ 277 h 1141"/>
              <a:gd name="T96" fmla="*/ 676 w 1142"/>
              <a:gd name="T97" fmla="*/ 193 h 1141"/>
              <a:gd name="T98" fmla="*/ 580 w 1142"/>
              <a:gd name="T99" fmla="*/ 155 h 1141"/>
              <a:gd name="T100" fmla="*/ 485 w 1142"/>
              <a:gd name="T101" fmla="*/ 193 h 1141"/>
              <a:gd name="T102" fmla="*/ 448 w 1142"/>
              <a:gd name="T103" fmla="*/ 277 h 1141"/>
              <a:gd name="T104" fmla="*/ 470 w 1142"/>
              <a:gd name="T105" fmla="*/ 358 h 1141"/>
              <a:gd name="T106" fmla="*/ 501 w 1142"/>
              <a:gd name="T107" fmla="*/ 386 h 1141"/>
              <a:gd name="T108" fmla="*/ 545 w 1142"/>
              <a:gd name="T109" fmla="*/ 405 h 1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2" h="1141">
                <a:moveTo>
                  <a:pt x="59" y="318"/>
                </a:moveTo>
                <a:lnTo>
                  <a:pt x="77" y="284"/>
                </a:lnTo>
                <a:lnTo>
                  <a:pt x="98" y="250"/>
                </a:lnTo>
                <a:lnTo>
                  <a:pt x="121" y="219"/>
                </a:lnTo>
                <a:lnTo>
                  <a:pt x="146" y="189"/>
                </a:lnTo>
                <a:lnTo>
                  <a:pt x="174" y="161"/>
                </a:lnTo>
                <a:lnTo>
                  <a:pt x="203" y="135"/>
                </a:lnTo>
                <a:lnTo>
                  <a:pt x="234" y="111"/>
                </a:lnTo>
                <a:lnTo>
                  <a:pt x="266" y="88"/>
                </a:lnTo>
                <a:lnTo>
                  <a:pt x="300" y="68"/>
                </a:lnTo>
                <a:lnTo>
                  <a:pt x="335" y="51"/>
                </a:lnTo>
                <a:lnTo>
                  <a:pt x="371" y="36"/>
                </a:lnTo>
                <a:lnTo>
                  <a:pt x="409" y="23"/>
                </a:lnTo>
                <a:lnTo>
                  <a:pt x="448" y="13"/>
                </a:lnTo>
                <a:lnTo>
                  <a:pt x="489" y="6"/>
                </a:lnTo>
                <a:lnTo>
                  <a:pt x="529" y="1"/>
                </a:lnTo>
                <a:lnTo>
                  <a:pt x="570" y="0"/>
                </a:lnTo>
                <a:lnTo>
                  <a:pt x="629" y="4"/>
                </a:lnTo>
                <a:lnTo>
                  <a:pt x="686" y="12"/>
                </a:lnTo>
                <a:lnTo>
                  <a:pt x="741" y="26"/>
                </a:lnTo>
                <a:lnTo>
                  <a:pt x="793" y="45"/>
                </a:lnTo>
                <a:lnTo>
                  <a:pt x="842" y="69"/>
                </a:lnTo>
                <a:lnTo>
                  <a:pt x="890" y="98"/>
                </a:lnTo>
                <a:lnTo>
                  <a:pt x="935" y="131"/>
                </a:lnTo>
                <a:lnTo>
                  <a:pt x="975" y="167"/>
                </a:lnTo>
                <a:lnTo>
                  <a:pt x="1012" y="208"/>
                </a:lnTo>
                <a:lnTo>
                  <a:pt x="1044" y="253"/>
                </a:lnTo>
                <a:lnTo>
                  <a:pt x="1073" y="300"/>
                </a:lnTo>
                <a:lnTo>
                  <a:pt x="1097" y="350"/>
                </a:lnTo>
                <a:lnTo>
                  <a:pt x="1117" y="401"/>
                </a:lnTo>
                <a:lnTo>
                  <a:pt x="1131" y="457"/>
                </a:lnTo>
                <a:lnTo>
                  <a:pt x="1139" y="513"/>
                </a:lnTo>
                <a:lnTo>
                  <a:pt x="1142" y="572"/>
                </a:lnTo>
                <a:lnTo>
                  <a:pt x="1139" y="630"/>
                </a:lnTo>
                <a:lnTo>
                  <a:pt x="1131" y="686"/>
                </a:lnTo>
                <a:lnTo>
                  <a:pt x="1117" y="741"/>
                </a:lnTo>
                <a:lnTo>
                  <a:pt x="1097" y="793"/>
                </a:lnTo>
                <a:lnTo>
                  <a:pt x="1073" y="843"/>
                </a:lnTo>
                <a:lnTo>
                  <a:pt x="1044" y="890"/>
                </a:lnTo>
                <a:lnTo>
                  <a:pt x="1012" y="934"/>
                </a:lnTo>
                <a:lnTo>
                  <a:pt x="975" y="974"/>
                </a:lnTo>
                <a:lnTo>
                  <a:pt x="935" y="1011"/>
                </a:lnTo>
                <a:lnTo>
                  <a:pt x="890" y="1043"/>
                </a:lnTo>
                <a:lnTo>
                  <a:pt x="842" y="1072"/>
                </a:lnTo>
                <a:lnTo>
                  <a:pt x="793" y="1096"/>
                </a:lnTo>
                <a:lnTo>
                  <a:pt x="741" y="1116"/>
                </a:lnTo>
                <a:lnTo>
                  <a:pt x="686" y="1130"/>
                </a:lnTo>
                <a:lnTo>
                  <a:pt x="629" y="1138"/>
                </a:lnTo>
                <a:lnTo>
                  <a:pt x="570" y="1141"/>
                </a:lnTo>
                <a:lnTo>
                  <a:pt x="512" y="1138"/>
                </a:lnTo>
                <a:lnTo>
                  <a:pt x="455" y="1130"/>
                </a:lnTo>
                <a:lnTo>
                  <a:pt x="401" y="1116"/>
                </a:lnTo>
                <a:lnTo>
                  <a:pt x="348" y="1096"/>
                </a:lnTo>
                <a:lnTo>
                  <a:pt x="298" y="1072"/>
                </a:lnTo>
                <a:lnTo>
                  <a:pt x="251" y="1043"/>
                </a:lnTo>
                <a:lnTo>
                  <a:pt x="207" y="1011"/>
                </a:lnTo>
                <a:lnTo>
                  <a:pt x="167" y="974"/>
                </a:lnTo>
                <a:lnTo>
                  <a:pt x="130" y="934"/>
                </a:lnTo>
                <a:lnTo>
                  <a:pt x="98" y="890"/>
                </a:lnTo>
                <a:lnTo>
                  <a:pt x="69" y="843"/>
                </a:lnTo>
                <a:lnTo>
                  <a:pt x="45" y="793"/>
                </a:lnTo>
                <a:lnTo>
                  <a:pt x="25" y="741"/>
                </a:lnTo>
                <a:lnTo>
                  <a:pt x="11" y="686"/>
                </a:lnTo>
                <a:lnTo>
                  <a:pt x="3" y="630"/>
                </a:lnTo>
                <a:lnTo>
                  <a:pt x="0" y="572"/>
                </a:lnTo>
                <a:lnTo>
                  <a:pt x="1" y="539"/>
                </a:lnTo>
                <a:lnTo>
                  <a:pt x="3" y="505"/>
                </a:lnTo>
                <a:lnTo>
                  <a:pt x="9" y="472"/>
                </a:lnTo>
                <a:lnTo>
                  <a:pt x="16" y="439"/>
                </a:lnTo>
                <a:lnTo>
                  <a:pt x="24" y="408"/>
                </a:lnTo>
                <a:lnTo>
                  <a:pt x="35" y="377"/>
                </a:lnTo>
                <a:lnTo>
                  <a:pt x="46" y="347"/>
                </a:lnTo>
                <a:lnTo>
                  <a:pt x="59" y="318"/>
                </a:lnTo>
                <a:lnTo>
                  <a:pt x="545" y="527"/>
                </a:lnTo>
                <a:lnTo>
                  <a:pt x="545" y="908"/>
                </a:lnTo>
                <a:lnTo>
                  <a:pt x="527" y="907"/>
                </a:lnTo>
                <a:lnTo>
                  <a:pt x="509" y="906"/>
                </a:lnTo>
                <a:lnTo>
                  <a:pt x="492" y="903"/>
                </a:lnTo>
                <a:lnTo>
                  <a:pt x="476" y="897"/>
                </a:lnTo>
                <a:lnTo>
                  <a:pt x="460" y="891"/>
                </a:lnTo>
                <a:lnTo>
                  <a:pt x="444" y="884"/>
                </a:lnTo>
                <a:lnTo>
                  <a:pt x="429" y="875"/>
                </a:lnTo>
                <a:lnTo>
                  <a:pt x="414" y="865"/>
                </a:lnTo>
                <a:lnTo>
                  <a:pt x="400" y="854"/>
                </a:lnTo>
                <a:lnTo>
                  <a:pt x="385" y="842"/>
                </a:lnTo>
                <a:lnTo>
                  <a:pt x="370" y="829"/>
                </a:lnTo>
                <a:lnTo>
                  <a:pt x="356" y="814"/>
                </a:lnTo>
                <a:lnTo>
                  <a:pt x="342" y="799"/>
                </a:lnTo>
                <a:lnTo>
                  <a:pt x="327" y="782"/>
                </a:lnTo>
                <a:lnTo>
                  <a:pt x="313" y="764"/>
                </a:lnTo>
                <a:lnTo>
                  <a:pt x="298" y="746"/>
                </a:lnTo>
                <a:lnTo>
                  <a:pt x="340" y="722"/>
                </a:lnTo>
                <a:lnTo>
                  <a:pt x="346" y="716"/>
                </a:lnTo>
                <a:lnTo>
                  <a:pt x="346" y="711"/>
                </a:lnTo>
                <a:lnTo>
                  <a:pt x="340" y="706"/>
                </a:lnTo>
                <a:lnTo>
                  <a:pt x="330" y="696"/>
                </a:lnTo>
                <a:lnTo>
                  <a:pt x="312" y="686"/>
                </a:lnTo>
                <a:lnTo>
                  <a:pt x="293" y="675"/>
                </a:lnTo>
                <a:lnTo>
                  <a:pt x="271" y="664"/>
                </a:lnTo>
                <a:lnTo>
                  <a:pt x="250" y="655"/>
                </a:lnTo>
                <a:lnTo>
                  <a:pt x="230" y="647"/>
                </a:lnTo>
                <a:lnTo>
                  <a:pt x="213" y="641"/>
                </a:lnTo>
                <a:lnTo>
                  <a:pt x="202" y="638"/>
                </a:lnTo>
                <a:lnTo>
                  <a:pt x="195" y="638"/>
                </a:lnTo>
                <a:lnTo>
                  <a:pt x="190" y="655"/>
                </a:lnTo>
                <a:lnTo>
                  <a:pt x="185" y="693"/>
                </a:lnTo>
                <a:lnTo>
                  <a:pt x="183" y="740"/>
                </a:lnTo>
                <a:lnTo>
                  <a:pt x="184" y="784"/>
                </a:lnTo>
                <a:lnTo>
                  <a:pt x="185" y="797"/>
                </a:lnTo>
                <a:lnTo>
                  <a:pt x="188" y="805"/>
                </a:lnTo>
                <a:lnTo>
                  <a:pt x="192" y="808"/>
                </a:lnTo>
                <a:lnTo>
                  <a:pt x="200" y="805"/>
                </a:lnTo>
                <a:lnTo>
                  <a:pt x="243" y="781"/>
                </a:lnTo>
                <a:lnTo>
                  <a:pt x="253" y="799"/>
                </a:lnTo>
                <a:lnTo>
                  <a:pt x="266" y="819"/>
                </a:lnTo>
                <a:lnTo>
                  <a:pt x="281" y="837"/>
                </a:lnTo>
                <a:lnTo>
                  <a:pt x="297" y="855"/>
                </a:lnTo>
                <a:lnTo>
                  <a:pt x="316" y="873"/>
                </a:lnTo>
                <a:lnTo>
                  <a:pt x="335" y="890"/>
                </a:lnTo>
                <a:lnTo>
                  <a:pt x="356" y="906"/>
                </a:lnTo>
                <a:lnTo>
                  <a:pt x="378" y="921"/>
                </a:lnTo>
                <a:lnTo>
                  <a:pt x="401" y="935"/>
                </a:lnTo>
                <a:lnTo>
                  <a:pt x="425" y="948"/>
                </a:lnTo>
                <a:lnTo>
                  <a:pt x="449" y="959"/>
                </a:lnTo>
                <a:lnTo>
                  <a:pt x="475" y="968"/>
                </a:lnTo>
                <a:lnTo>
                  <a:pt x="501" y="976"/>
                </a:lnTo>
                <a:lnTo>
                  <a:pt x="527" y="982"/>
                </a:lnTo>
                <a:lnTo>
                  <a:pt x="553" y="986"/>
                </a:lnTo>
                <a:lnTo>
                  <a:pt x="580" y="987"/>
                </a:lnTo>
                <a:lnTo>
                  <a:pt x="606" y="986"/>
                </a:lnTo>
                <a:lnTo>
                  <a:pt x="633" y="982"/>
                </a:lnTo>
                <a:lnTo>
                  <a:pt x="659" y="976"/>
                </a:lnTo>
                <a:lnTo>
                  <a:pt x="686" y="968"/>
                </a:lnTo>
                <a:lnTo>
                  <a:pt x="712" y="959"/>
                </a:lnTo>
                <a:lnTo>
                  <a:pt x="736" y="948"/>
                </a:lnTo>
                <a:lnTo>
                  <a:pt x="761" y="935"/>
                </a:lnTo>
                <a:lnTo>
                  <a:pt x="785" y="921"/>
                </a:lnTo>
                <a:lnTo>
                  <a:pt x="807" y="906"/>
                </a:lnTo>
                <a:lnTo>
                  <a:pt x="827" y="890"/>
                </a:lnTo>
                <a:lnTo>
                  <a:pt x="847" y="873"/>
                </a:lnTo>
                <a:lnTo>
                  <a:pt x="865" y="855"/>
                </a:lnTo>
                <a:lnTo>
                  <a:pt x="882" y="837"/>
                </a:lnTo>
                <a:lnTo>
                  <a:pt x="897" y="819"/>
                </a:lnTo>
                <a:lnTo>
                  <a:pt x="909" y="799"/>
                </a:lnTo>
                <a:lnTo>
                  <a:pt x="920" y="781"/>
                </a:lnTo>
                <a:lnTo>
                  <a:pt x="962" y="805"/>
                </a:lnTo>
                <a:lnTo>
                  <a:pt x="970" y="808"/>
                </a:lnTo>
                <a:lnTo>
                  <a:pt x="975" y="805"/>
                </a:lnTo>
                <a:lnTo>
                  <a:pt x="977" y="797"/>
                </a:lnTo>
                <a:lnTo>
                  <a:pt x="978" y="784"/>
                </a:lnTo>
                <a:lnTo>
                  <a:pt x="980" y="740"/>
                </a:lnTo>
                <a:lnTo>
                  <a:pt x="977" y="693"/>
                </a:lnTo>
                <a:lnTo>
                  <a:pt x="973" y="655"/>
                </a:lnTo>
                <a:lnTo>
                  <a:pt x="968" y="638"/>
                </a:lnTo>
                <a:lnTo>
                  <a:pt x="961" y="638"/>
                </a:lnTo>
                <a:lnTo>
                  <a:pt x="948" y="641"/>
                </a:lnTo>
                <a:lnTo>
                  <a:pt x="932" y="647"/>
                </a:lnTo>
                <a:lnTo>
                  <a:pt x="913" y="655"/>
                </a:lnTo>
                <a:lnTo>
                  <a:pt x="891" y="664"/>
                </a:lnTo>
                <a:lnTo>
                  <a:pt x="870" y="675"/>
                </a:lnTo>
                <a:lnTo>
                  <a:pt x="850" y="686"/>
                </a:lnTo>
                <a:lnTo>
                  <a:pt x="833" y="696"/>
                </a:lnTo>
                <a:lnTo>
                  <a:pt x="823" y="706"/>
                </a:lnTo>
                <a:lnTo>
                  <a:pt x="817" y="711"/>
                </a:lnTo>
                <a:lnTo>
                  <a:pt x="817" y="716"/>
                </a:lnTo>
                <a:lnTo>
                  <a:pt x="823" y="722"/>
                </a:lnTo>
                <a:lnTo>
                  <a:pt x="864" y="746"/>
                </a:lnTo>
                <a:lnTo>
                  <a:pt x="849" y="764"/>
                </a:lnTo>
                <a:lnTo>
                  <a:pt x="834" y="782"/>
                </a:lnTo>
                <a:lnTo>
                  <a:pt x="821" y="799"/>
                </a:lnTo>
                <a:lnTo>
                  <a:pt x="806" y="814"/>
                </a:lnTo>
                <a:lnTo>
                  <a:pt x="792" y="829"/>
                </a:lnTo>
                <a:lnTo>
                  <a:pt x="777" y="842"/>
                </a:lnTo>
                <a:lnTo>
                  <a:pt x="763" y="854"/>
                </a:lnTo>
                <a:lnTo>
                  <a:pt x="748" y="865"/>
                </a:lnTo>
                <a:lnTo>
                  <a:pt x="733" y="875"/>
                </a:lnTo>
                <a:lnTo>
                  <a:pt x="717" y="884"/>
                </a:lnTo>
                <a:lnTo>
                  <a:pt x="702" y="891"/>
                </a:lnTo>
                <a:lnTo>
                  <a:pt x="686" y="897"/>
                </a:lnTo>
                <a:lnTo>
                  <a:pt x="668" y="903"/>
                </a:lnTo>
                <a:lnTo>
                  <a:pt x="651" y="906"/>
                </a:lnTo>
                <a:lnTo>
                  <a:pt x="634" y="907"/>
                </a:lnTo>
                <a:lnTo>
                  <a:pt x="615" y="908"/>
                </a:lnTo>
                <a:lnTo>
                  <a:pt x="615" y="405"/>
                </a:lnTo>
                <a:lnTo>
                  <a:pt x="620" y="404"/>
                </a:lnTo>
                <a:lnTo>
                  <a:pt x="630" y="400"/>
                </a:lnTo>
                <a:lnTo>
                  <a:pt x="646" y="392"/>
                </a:lnTo>
                <a:lnTo>
                  <a:pt x="664" y="381"/>
                </a:lnTo>
                <a:lnTo>
                  <a:pt x="681" y="365"/>
                </a:lnTo>
                <a:lnTo>
                  <a:pt x="697" y="341"/>
                </a:lnTo>
                <a:lnTo>
                  <a:pt x="708" y="313"/>
                </a:lnTo>
                <a:lnTo>
                  <a:pt x="712" y="277"/>
                </a:lnTo>
                <a:lnTo>
                  <a:pt x="710" y="254"/>
                </a:lnTo>
                <a:lnTo>
                  <a:pt x="703" y="232"/>
                </a:lnTo>
                <a:lnTo>
                  <a:pt x="691" y="211"/>
                </a:lnTo>
                <a:lnTo>
                  <a:pt x="676" y="193"/>
                </a:lnTo>
                <a:lnTo>
                  <a:pt x="657" y="178"/>
                </a:lnTo>
                <a:lnTo>
                  <a:pt x="635" y="165"/>
                </a:lnTo>
                <a:lnTo>
                  <a:pt x="608" y="157"/>
                </a:lnTo>
                <a:lnTo>
                  <a:pt x="580" y="155"/>
                </a:lnTo>
                <a:lnTo>
                  <a:pt x="551" y="157"/>
                </a:lnTo>
                <a:lnTo>
                  <a:pt x="525" y="165"/>
                </a:lnTo>
                <a:lnTo>
                  <a:pt x="504" y="178"/>
                </a:lnTo>
                <a:lnTo>
                  <a:pt x="485" y="193"/>
                </a:lnTo>
                <a:lnTo>
                  <a:pt x="469" y="211"/>
                </a:lnTo>
                <a:lnTo>
                  <a:pt x="459" y="232"/>
                </a:lnTo>
                <a:lnTo>
                  <a:pt x="451" y="254"/>
                </a:lnTo>
                <a:lnTo>
                  <a:pt x="448" y="277"/>
                </a:lnTo>
                <a:lnTo>
                  <a:pt x="449" y="300"/>
                </a:lnTo>
                <a:lnTo>
                  <a:pt x="453" y="321"/>
                </a:lnTo>
                <a:lnTo>
                  <a:pt x="460" y="340"/>
                </a:lnTo>
                <a:lnTo>
                  <a:pt x="470" y="358"/>
                </a:lnTo>
                <a:lnTo>
                  <a:pt x="477" y="366"/>
                </a:lnTo>
                <a:lnTo>
                  <a:pt x="484" y="373"/>
                </a:lnTo>
                <a:lnTo>
                  <a:pt x="493" y="379"/>
                </a:lnTo>
                <a:lnTo>
                  <a:pt x="501" y="386"/>
                </a:lnTo>
                <a:lnTo>
                  <a:pt x="512" y="392"/>
                </a:lnTo>
                <a:lnTo>
                  <a:pt x="522" y="397"/>
                </a:lnTo>
                <a:lnTo>
                  <a:pt x="532" y="401"/>
                </a:lnTo>
                <a:lnTo>
                  <a:pt x="545" y="405"/>
                </a:lnTo>
                <a:lnTo>
                  <a:pt x="545" y="527"/>
                </a:lnTo>
                <a:lnTo>
                  <a:pt x="59" y="318"/>
                </a:lnTo>
                <a:close/>
              </a:path>
            </a:pathLst>
          </a:custGeom>
          <a:solidFill>
            <a:schemeClr val="accent5"/>
          </a:solidFill>
          <a:ln>
            <a:noFill/>
          </a:ln>
        </p:spPr>
        <p:txBody>
          <a:bodyPr vert="horz" wrap="none" lIns="75268" tIns="37634" rIns="75268" bIns="37634" numCol="1" anchor="t" anchorCtr="0" compatLnSpc="1">
            <a:prstTxWarp prst="textNoShape">
              <a:avLst/>
            </a:prstTxWarp>
          </a:bodyPr>
          <a:lstStyle/>
          <a:p>
            <a:pPr defTabSz="768014"/>
            <a:endParaRPr lang="en-US" sz="1200" dirty="0">
              <a:solidFill>
                <a:srgbClr val="000000"/>
              </a:solidFill>
            </a:endParaRPr>
          </a:p>
        </p:txBody>
      </p:sp>
      <p:sp>
        <p:nvSpPr>
          <p:cNvPr id="40" name="Freeform 256"/>
          <p:cNvSpPr>
            <a:spLocks/>
          </p:cNvSpPr>
          <p:nvPr/>
        </p:nvSpPr>
        <p:spPr bwMode="gray">
          <a:xfrm>
            <a:off x="1302302" y="3856385"/>
            <a:ext cx="189935" cy="193568"/>
          </a:xfrm>
          <a:custGeom>
            <a:avLst/>
            <a:gdLst>
              <a:gd name="T0" fmla="*/ 121 w 1142"/>
              <a:gd name="T1" fmla="*/ 219 h 1141"/>
              <a:gd name="T2" fmla="*/ 234 w 1142"/>
              <a:gd name="T3" fmla="*/ 111 h 1141"/>
              <a:gd name="T4" fmla="*/ 371 w 1142"/>
              <a:gd name="T5" fmla="*/ 36 h 1141"/>
              <a:gd name="T6" fmla="*/ 529 w 1142"/>
              <a:gd name="T7" fmla="*/ 1 h 1141"/>
              <a:gd name="T8" fmla="*/ 741 w 1142"/>
              <a:gd name="T9" fmla="*/ 26 h 1141"/>
              <a:gd name="T10" fmla="*/ 935 w 1142"/>
              <a:gd name="T11" fmla="*/ 131 h 1141"/>
              <a:gd name="T12" fmla="*/ 1073 w 1142"/>
              <a:gd name="T13" fmla="*/ 300 h 1141"/>
              <a:gd name="T14" fmla="*/ 1139 w 1142"/>
              <a:gd name="T15" fmla="*/ 513 h 1141"/>
              <a:gd name="T16" fmla="*/ 1117 w 1142"/>
              <a:gd name="T17" fmla="*/ 741 h 1141"/>
              <a:gd name="T18" fmla="*/ 1012 w 1142"/>
              <a:gd name="T19" fmla="*/ 934 h 1141"/>
              <a:gd name="T20" fmla="*/ 842 w 1142"/>
              <a:gd name="T21" fmla="*/ 1072 h 1141"/>
              <a:gd name="T22" fmla="*/ 629 w 1142"/>
              <a:gd name="T23" fmla="*/ 1138 h 1141"/>
              <a:gd name="T24" fmla="*/ 401 w 1142"/>
              <a:gd name="T25" fmla="*/ 1116 h 1141"/>
              <a:gd name="T26" fmla="*/ 207 w 1142"/>
              <a:gd name="T27" fmla="*/ 1011 h 1141"/>
              <a:gd name="T28" fmla="*/ 69 w 1142"/>
              <a:gd name="T29" fmla="*/ 843 h 1141"/>
              <a:gd name="T30" fmla="*/ 3 w 1142"/>
              <a:gd name="T31" fmla="*/ 630 h 1141"/>
              <a:gd name="T32" fmla="*/ 9 w 1142"/>
              <a:gd name="T33" fmla="*/ 472 h 1141"/>
              <a:gd name="T34" fmla="*/ 46 w 1142"/>
              <a:gd name="T35" fmla="*/ 347 h 1141"/>
              <a:gd name="T36" fmla="*/ 527 w 1142"/>
              <a:gd name="T37" fmla="*/ 907 h 1141"/>
              <a:gd name="T38" fmla="*/ 460 w 1142"/>
              <a:gd name="T39" fmla="*/ 891 h 1141"/>
              <a:gd name="T40" fmla="*/ 400 w 1142"/>
              <a:gd name="T41" fmla="*/ 854 h 1141"/>
              <a:gd name="T42" fmla="*/ 342 w 1142"/>
              <a:gd name="T43" fmla="*/ 799 h 1141"/>
              <a:gd name="T44" fmla="*/ 340 w 1142"/>
              <a:gd name="T45" fmla="*/ 722 h 1141"/>
              <a:gd name="T46" fmla="*/ 330 w 1142"/>
              <a:gd name="T47" fmla="*/ 696 h 1141"/>
              <a:gd name="T48" fmla="*/ 250 w 1142"/>
              <a:gd name="T49" fmla="*/ 655 h 1141"/>
              <a:gd name="T50" fmla="*/ 195 w 1142"/>
              <a:gd name="T51" fmla="*/ 638 h 1141"/>
              <a:gd name="T52" fmla="*/ 184 w 1142"/>
              <a:gd name="T53" fmla="*/ 784 h 1141"/>
              <a:gd name="T54" fmla="*/ 200 w 1142"/>
              <a:gd name="T55" fmla="*/ 805 h 1141"/>
              <a:gd name="T56" fmla="*/ 281 w 1142"/>
              <a:gd name="T57" fmla="*/ 837 h 1141"/>
              <a:gd name="T58" fmla="*/ 356 w 1142"/>
              <a:gd name="T59" fmla="*/ 906 h 1141"/>
              <a:gd name="T60" fmla="*/ 449 w 1142"/>
              <a:gd name="T61" fmla="*/ 959 h 1141"/>
              <a:gd name="T62" fmla="*/ 553 w 1142"/>
              <a:gd name="T63" fmla="*/ 986 h 1141"/>
              <a:gd name="T64" fmla="*/ 659 w 1142"/>
              <a:gd name="T65" fmla="*/ 976 h 1141"/>
              <a:gd name="T66" fmla="*/ 761 w 1142"/>
              <a:gd name="T67" fmla="*/ 935 h 1141"/>
              <a:gd name="T68" fmla="*/ 847 w 1142"/>
              <a:gd name="T69" fmla="*/ 873 h 1141"/>
              <a:gd name="T70" fmla="*/ 909 w 1142"/>
              <a:gd name="T71" fmla="*/ 799 h 1141"/>
              <a:gd name="T72" fmla="*/ 975 w 1142"/>
              <a:gd name="T73" fmla="*/ 805 h 1141"/>
              <a:gd name="T74" fmla="*/ 977 w 1142"/>
              <a:gd name="T75" fmla="*/ 693 h 1141"/>
              <a:gd name="T76" fmla="*/ 948 w 1142"/>
              <a:gd name="T77" fmla="*/ 641 h 1141"/>
              <a:gd name="T78" fmla="*/ 870 w 1142"/>
              <a:gd name="T79" fmla="*/ 675 h 1141"/>
              <a:gd name="T80" fmla="*/ 817 w 1142"/>
              <a:gd name="T81" fmla="*/ 711 h 1141"/>
              <a:gd name="T82" fmla="*/ 849 w 1142"/>
              <a:gd name="T83" fmla="*/ 764 h 1141"/>
              <a:gd name="T84" fmla="*/ 792 w 1142"/>
              <a:gd name="T85" fmla="*/ 829 h 1141"/>
              <a:gd name="T86" fmla="*/ 733 w 1142"/>
              <a:gd name="T87" fmla="*/ 875 h 1141"/>
              <a:gd name="T88" fmla="*/ 668 w 1142"/>
              <a:gd name="T89" fmla="*/ 903 h 1141"/>
              <a:gd name="T90" fmla="*/ 615 w 1142"/>
              <a:gd name="T91" fmla="*/ 405 h 1141"/>
              <a:gd name="T92" fmla="*/ 664 w 1142"/>
              <a:gd name="T93" fmla="*/ 381 h 1141"/>
              <a:gd name="T94" fmla="*/ 712 w 1142"/>
              <a:gd name="T95" fmla="*/ 277 h 1141"/>
              <a:gd name="T96" fmla="*/ 676 w 1142"/>
              <a:gd name="T97" fmla="*/ 193 h 1141"/>
              <a:gd name="T98" fmla="*/ 580 w 1142"/>
              <a:gd name="T99" fmla="*/ 155 h 1141"/>
              <a:gd name="T100" fmla="*/ 485 w 1142"/>
              <a:gd name="T101" fmla="*/ 193 h 1141"/>
              <a:gd name="T102" fmla="*/ 448 w 1142"/>
              <a:gd name="T103" fmla="*/ 277 h 1141"/>
              <a:gd name="T104" fmla="*/ 470 w 1142"/>
              <a:gd name="T105" fmla="*/ 358 h 1141"/>
              <a:gd name="T106" fmla="*/ 501 w 1142"/>
              <a:gd name="T107" fmla="*/ 386 h 1141"/>
              <a:gd name="T108" fmla="*/ 545 w 1142"/>
              <a:gd name="T109" fmla="*/ 405 h 1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2" h="1141">
                <a:moveTo>
                  <a:pt x="59" y="318"/>
                </a:moveTo>
                <a:lnTo>
                  <a:pt x="77" y="284"/>
                </a:lnTo>
                <a:lnTo>
                  <a:pt x="98" y="250"/>
                </a:lnTo>
                <a:lnTo>
                  <a:pt x="121" y="219"/>
                </a:lnTo>
                <a:lnTo>
                  <a:pt x="146" y="189"/>
                </a:lnTo>
                <a:lnTo>
                  <a:pt x="174" y="161"/>
                </a:lnTo>
                <a:lnTo>
                  <a:pt x="203" y="135"/>
                </a:lnTo>
                <a:lnTo>
                  <a:pt x="234" y="111"/>
                </a:lnTo>
                <a:lnTo>
                  <a:pt x="266" y="88"/>
                </a:lnTo>
                <a:lnTo>
                  <a:pt x="300" y="68"/>
                </a:lnTo>
                <a:lnTo>
                  <a:pt x="335" y="51"/>
                </a:lnTo>
                <a:lnTo>
                  <a:pt x="371" y="36"/>
                </a:lnTo>
                <a:lnTo>
                  <a:pt x="409" y="23"/>
                </a:lnTo>
                <a:lnTo>
                  <a:pt x="448" y="13"/>
                </a:lnTo>
                <a:lnTo>
                  <a:pt x="489" y="6"/>
                </a:lnTo>
                <a:lnTo>
                  <a:pt x="529" y="1"/>
                </a:lnTo>
                <a:lnTo>
                  <a:pt x="570" y="0"/>
                </a:lnTo>
                <a:lnTo>
                  <a:pt x="629" y="4"/>
                </a:lnTo>
                <a:lnTo>
                  <a:pt x="686" y="12"/>
                </a:lnTo>
                <a:lnTo>
                  <a:pt x="741" y="26"/>
                </a:lnTo>
                <a:lnTo>
                  <a:pt x="793" y="45"/>
                </a:lnTo>
                <a:lnTo>
                  <a:pt x="842" y="69"/>
                </a:lnTo>
                <a:lnTo>
                  <a:pt x="890" y="98"/>
                </a:lnTo>
                <a:lnTo>
                  <a:pt x="935" y="131"/>
                </a:lnTo>
                <a:lnTo>
                  <a:pt x="975" y="167"/>
                </a:lnTo>
                <a:lnTo>
                  <a:pt x="1012" y="208"/>
                </a:lnTo>
                <a:lnTo>
                  <a:pt x="1044" y="253"/>
                </a:lnTo>
                <a:lnTo>
                  <a:pt x="1073" y="300"/>
                </a:lnTo>
                <a:lnTo>
                  <a:pt x="1097" y="350"/>
                </a:lnTo>
                <a:lnTo>
                  <a:pt x="1117" y="401"/>
                </a:lnTo>
                <a:lnTo>
                  <a:pt x="1131" y="457"/>
                </a:lnTo>
                <a:lnTo>
                  <a:pt x="1139" y="513"/>
                </a:lnTo>
                <a:lnTo>
                  <a:pt x="1142" y="572"/>
                </a:lnTo>
                <a:lnTo>
                  <a:pt x="1139" y="630"/>
                </a:lnTo>
                <a:lnTo>
                  <a:pt x="1131" y="686"/>
                </a:lnTo>
                <a:lnTo>
                  <a:pt x="1117" y="741"/>
                </a:lnTo>
                <a:lnTo>
                  <a:pt x="1097" y="793"/>
                </a:lnTo>
                <a:lnTo>
                  <a:pt x="1073" y="843"/>
                </a:lnTo>
                <a:lnTo>
                  <a:pt x="1044" y="890"/>
                </a:lnTo>
                <a:lnTo>
                  <a:pt x="1012" y="934"/>
                </a:lnTo>
                <a:lnTo>
                  <a:pt x="975" y="974"/>
                </a:lnTo>
                <a:lnTo>
                  <a:pt x="935" y="1011"/>
                </a:lnTo>
                <a:lnTo>
                  <a:pt x="890" y="1043"/>
                </a:lnTo>
                <a:lnTo>
                  <a:pt x="842" y="1072"/>
                </a:lnTo>
                <a:lnTo>
                  <a:pt x="793" y="1096"/>
                </a:lnTo>
                <a:lnTo>
                  <a:pt x="741" y="1116"/>
                </a:lnTo>
                <a:lnTo>
                  <a:pt x="686" y="1130"/>
                </a:lnTo>
                <a:lnTo>
                  <a:pt x="629" y="1138"/>
                </a:lnTo>
                <a:lnTo>
                  <a:pt x="570" y="1141"/>
                </a:lnTo>
                <a:lnTo>
                  <a:pt x="512" y="1138"/>
                </a:lnTo>
                <a:lnTo>
                  <a:pt x="455" y="1130"/>
                </a:lnTo>
                <a:lnTo>
                  <a:pt x="401" y="1116"/>
                </a:lnTo>
                <a:lnTo>
                  <a:pt x="348" y="1096"/>
                </a:lnTo>
                <a:lnTo>
                  <a:pt x="298" y="1072"/>
                </a:lnTo>
                <a:lnTo>
                  <a:pt x="251" y="1043"/>
                </a:lnTo>
                <a:lnTo>
                  <a:pt x="207" y="1011"/>
                </a:lnTo>
                <a:lnTo>
                  <a:pt x="167" y="974"/>
                </a:lnTo>
                <a:lnTo>
                  <a:pt x="130" y="934"/>
                </a:lnTo>
                <a:lnTo>
                  <a:pt x="98" y="890"/>
                </a:lnTo>
                <a:lnTo>
                  <a:pt x="69" y="843"/>
                </a:lnTo>
                <a:lnTo>
                  <a:pt x="45" y="793"/>
                </a:lnTo>
                <a:lnTo>
                  <a:pt x="25" y="741"/>
                </a:lnTo>
                <a:lnTo>
                  <a:pt x="11" y="686"/>
                </a:lnTo>
                <a:lnTo>
                  <a:pt x="3" y="630"/>
                </a:lnTo>
                <a:lnTo>
                  <a:pt x="0" y="572"/>
                </a:lnTo>
                <a:lnTo>
                  <a:pt x="1" y="539"/>
                </a:lnTo>
                <a:lnTo>
                  <a:pt x="3" y="505"/>
                </a:lnTo>
                <a:lnTo>
                  <a:pt x="9" y="472"/>
                </a:lnTo>
                <a:lnTo>
                  <a:pt x="16" y="439"/>
                </a:lnTo>
                <a:lnTo>
                  <a:pt x="24" y="408"/>
                </a:lnTo>
                <a:lnTo>
                  <a:pt x="35" y="377"/>
                </a:lnTo>
                <a:lnTo>
                  <a:pt x="46" y="347"/>
                </a:lnTo>
                <a:lnTo>
                  <a:pt x="59" y="318"/>
                </a:lnTo>
                <a:lnTo>
                  <a:pt x="545" y="527"/>
                </a:lnTo>
                <a:lnTo>
                  <a:pt x="545" y="908"/>
                </a:lnTo>
                <a:lnTo>
                  <a:pt x="527" y="907"/>
                </a:lnTo>
                <a:lnTo>
                  <a:pt x="509" y="906"/>
                </a:lnTo>
                <a:lnTo>
                  <a:pt x="492" y="903"/>
                </a:lnTo>
                <a:lnTo>
                  <a:pt x="476" y="897"/>
                </a:lnTo>
                <a:lnTo>
                  <a:pt x="460" y="891"/>
                </a:lnTo>
                <a:lnTo>
                  <a:pt x="444" y="884"/>
                </a:lnTo>
                <a:lnTo>
                  <a:pt x="429" y="875"/>
                </a:lnTo>
                <a:lnTo>
                  <a:pt x="414" y="865"/>
                </a:lnTo>
                <a:lnTo>
                  <a:pt x="400" y="854"/>
                </a:lnTo>
                <a:lnTo>
                  <a:pt x="385" y="842"/>
                </a:lnTo>
                <a:lnTo>
                  <a:pt x="370" y="829"/>
                </a:lnTo>
                <a:lnTo>
                  <a:pt x="356" y="814"/>
                </a:lnTo>
                <a:lnTo>
                  <a:pt x="342" y="799"/>
                </a:lnTo>
                <a:lnTo>
                  <a:pt x="327" y="782"/>
                </a:lnTo>
                <a:lnTo>
                  <a:pt x="313" y="764"/>
                </a:lnTo>
                <a:lnTo>
                  <a:pt x="298" y="746"/>
                </a:lnTo>
                <a:lnTo>
                  <a:pt x="340" y="722"/>
                </a:lnTo>
                <a:lnTo>
                  <a:pt x="346" y="716"/>
                </a:lnTo>
                <a:lnTo>
                  <a:pt x="346" y="711"/>
                </a:lnTo>
                <a:lnTo>
                  <a:pt x="340" y="706"/>
                </a:lnTo>
                <a:lnTo>
                  <a:pt x="330" y="696"/>
                </a:lnTo>
                <a:lnTo>
                  <a:pt x="312" y="686"/>
                </a:lnTo>
                <a:lnTo>
                  <a:pt x="293" y="675"/>
                </a:lnTo>
                <a:lnTo>
                  <a:pt x="271" y="664"/>
                </a:lnTo>
                <a:lnTo>
                  <a:pt x="250" y="655"/>
                </a:lnTo>
                <a:lnTo>
                  <a:pt x="230" y="647"/>
                </a:lnTo>
                <a:lnTo>
                  <a:pt x="213" y="641"/>
                </a:lnTo>
                <a:lnTo>
                  <a:pt x="202" y="638"/>
                </a:lnTo>
                <a:lnTo>
                  <a:pt x="195" y="638"/>
                </a:lnTo>
                <a:lnTo>
                  <a:pt x="190" y="655"/>
                </a:lnTo>
                <a:lnTo>
                  <a:pt x="185" y="693"/>
                </a:lnTo>
                <a:lnTo>
                  <a:pt x="183" y="740"/>
                </a:lnTo>
                <a:lnTo>
                  <a:pt x="184" y="784"/>
                </a:lnTo>
                <a:lnTo>
                  <a:pt x="185" y="797"/>
                </a:lnTo>
                <a:lnTo>
                  <a:pt x="188" y="805"/>
                </a:lnTo>
                <a:lnTo>
                  <a:pt x="192" y="808"/>
                </a:lnTo>
                <a:lnTo>
                  <a:pt x="200" y="805"/>
                </a:lnTo>
                <a:lnTo>
                  <a:pt x="243" y="781"/>
                </a:lnTo>
                <a:lnTo>
                  <a:pt x="253" y="799"/>
                </a:lnTo>
                <a:lnTo>
                  <a:pt x="266" y="819"/>
                </a:lnTo>
                <a:lnTo>
                  <a:pt x="281" y="837"/>
                </a:lnTo>
                <a:lnTo>
                  <a:pt x="297" y="855"/>
                </a:lnTo>
                <a:lnTo>
                  <a:pt x="316" y="873"/>
                </a:lnTo>
                <a:lnTo>
                  <a:pt x="335" y="890"/>
                </a:lnTo>
                <a:lnTo>
                  <a:pt x="356" y="906"/>
                </a:lnTo>
                <a:lnTo>
                  <a:pt x="378" y="921"/>
                </a:lnTo>
                <a:lnTo>
                  <a:pt x="401" y="935"/>
                </a:lnTo>
                <a:lnTo>
                  <a:pt x="425" y="948"/>
                </a:lnTo>
                <a:lnTo>
                  <a:pt x="449" y="959"/>
                </a:lnTo>
                <a:lnTo>
                  <a:pt x="475" y="968"/>
                </a:lnTo>
                <a:lnTo>
                  <a:pt x="501" y="976"/>
                </a:lnTo>
                <a:lnTo>
                  <a:pt x="527" y="982"/>
                </a:lnTo>
                <a:lnTo>
                  <a:pt x="553" y="986"/>
                </a:lnTo>
                <a:lnTo>
                  <a:pt x="580" y="987"/>
                </a:lnTo>
                <a:lnTo>
                  <a:pt x="606" y="986"/>
                </a:lnTo>
                <a:lnTo>
                  <a:pt x="633" y="982"/>
                </a:lnTo>
                <a:lnTo>
                  <a:pt x="659" y="976"/>
                </a:lnTo>
                <a:lnTo>
                  <a:pt x="686" y="968"/>
                </a:lnTo>
                <a:lnTo>
                  <a:pt x="712" y="959"/>
                </a:lnTo>
                <a:lnTo>
                  <a:pt x="736" y="948"/>
                </a:lnTo>
                <a:lnTo>
                  <a:pt x="761" y="935"/>
                </a:lnTo>
                <a:lnTo>
                  <a:pt x="785" y="921"/>
                </a:lnTo>
                <a:lnTo>
                  <a:pt x="807" y="906"/>
                </a:lnTo>
                <a:lnTo>
                  <a:pt x="827" y="890"/>
                </a:lnTo>
                <a:lnTo>
                  <a:pt x="847" y="873"/>
                </a:lnTo>
                <a:lnTo>
                  <a:pt x="865" y="855"/>
                </a:lnTo>
                <a:lnTo>
                  <a:pt x="882" y="837"/>
                </a:lnTo>
                <a:lnTo>
                  <a:pt x="897" y="819"/>
                </a:lnTo>
                <a:lnTo>
                  <a:pt x="909" y="799"/>
                </a:lnTo>
                <a:lnTo>
                  <a:pt x="920" y="781"/>
                </a:lnTo>
                <a:lnTo>
                  <a:pt x="962" y="805"/>
                </a:lnTo>
                <a:lnTo>
                  <a:pt x="970" y="808"/>
                </a:lnTo>
                <a:lnTo>
                  <a:pt x="975" y="805"/>
                </a:lnTo>
                <a:lnTo>
                  <a:pt x="977" y="797"/>
                </a:lnTo>
                <a:lnTo>
                  <a:pt x="978" y="784"/>
                </a:lnTo>
                <a:lnTo>
                  <a:pt x="980" y="740"/>
                </a:lnTo>
                <a:lnTo>
                  <a:pt x="977" y="693"/>
                </a:lnTo>
                <a:lnTo>
                  <a:pt x="973" y="655"/>
                </a:lnTo>
                <a:lnTo>
                  <a:pt x="968" y="638"/>
                </a:lnTo>
                <a:lnTo>
                  <a:pt x="961" y="638"/>
                </a:lnTo>
                <a:lnTo>
                  <a:pt x="948" y="641"/>
                </a:lnTo>
                <a:lnTo>
                  <a:pt x="932" y="647"/>
                </a:lnTo>
                <a:lnTo>
                  <a:pt x="913" y="655"/>
                </a:lnTo>
                <a:lnTo>
                  <a:pt x="891" y="664"/>
                </a:lnTo>
                <a:lnTo>
                  <a:pt x="870" y="675"/>
                </a:lnTo>
                <a:lnTo>
                  <a:pt x="850" y="686"/>
                </a:lnTo>
                <a:lnTo>
                  <a:pt x="833" y="696"/>
                </a:lnTo>
                <a:lnTo>
                  <a:pt x="823" y="706"/>
                </a:lnTo>
                <a:lnTo>
                  <a:pt x="817" y="711"/>
                </a:lnTo>
                <a:lnTo>
                  <a:pt x="817" y="716"/>
                </a:lnTo>
                <a:lnTo>
                  <a:pt x="823" y="722"/>
                </a:lnTo>
                <a:lnTo>
                  <a:pt x="864" y="746"/>
                </a:lnTo>
                <a:lnTo>
                  <a:pt x="849" y="764"/>
                </a:lnTo>
                <a:lnTo>
                  <a:pt x="834" y="782"/>
                </a:lnTo>
                <a:lnTo>
                  <a:pt x="821" y="799"/>
                </a:lnTo>
                <a:lnTo>
                  <a:pt x="806" y="814"/>
                </a:lnTo>
                <a:lnTo>
                  <a:pt x="792" y="829"/>
                </a:lnTo>
                <a:lnTo>
                  <a:pt x="777" y="842"/>
                </a:lnTo>
                <a:lnTo>
                  <a:pt x="763" y="854"/>
                </a:lnTo>
                <a:lnTo>
                  <a:pt x="748" y="865"/>
                </a:lnTo>
                <a:lnTo>
                  <a:pt x="733" y="875"/>
                </a:lnTo>
                <a:lnTo>
                  <a:pt x="717" y="884"/>
                </a:lnTo>
                <a:lnTo>
                  <a:pt x="702" y="891"/>
                </a:lnTo>
                <a:lnTo>
                  <a:pt x="686" y="897"/>
                </a:lnTo>
                <a:lnTo>
                  <a:pt x="668" y="903"/>
                </a:lnTo>
                <a:lnTo>
                  <a:pt x="651" y="906"/>
                </a:lnTo>
                <a:lnTo>
                  <a:pt x="634" y="907"/>
                </a:lnTo>
                <a:lnTo>
                  <a:pt x="615" y="908"/>
                </a:lnTo>
                <a:lnTo>
                  <a:pt x="615" y="405"/>
                </a:lnTo>
                <a:lnTo>
                  <a:pt x="620" y="404"/>
                </a:lnTo>
                <a:lnTo>
                  <a:pt x="630" y="400"/>
                </a:lnTo>
                <a:lnTo>
                  <a:pt x="646" y="392"/>
                </a:lnTo>
                <a:lnTo>
                  <a:pt x="664" y="381"/>
                </a:lnTo>
                <a:lnTo>
                  <a:pt x="681" y="365"/>
                </a:lnTo>
                <a:lnTo>
                  <a:pt x="697" y="341"/>
                </a:lnTo>
                <a:lnTo>
                  <a:pt x="708" y="313"/>
                </a:lnTo>
                <a:lnTo>
                  <a:pt x="712" y="277"/>
                </a:lnTo>
                <a:lnTo>
                  <a:pt x="710" y="254"/>
                </a:lnTo>
                <a:lnTo>
                  <a:pt x="703" y="232"/>
                </a:lnTo>
                <a:lnTo>
                  <a:pt x="691" y="211"/>
                </a:lnTo>
                <a:lnTo>
                  <a:pt x="676" y="193"/>
                </a:lnTo>
                <a:lnTo>
                  <a:pt x="657" y="178"/>
                </a:lnTo>
                <a:lnTo>
                  <a:pt x="635" y="165"/>
                </a:lnTo>
                <a:lnTo>
                  <a:pt x="608" y="157"/>
                </a:lnTo>
                <a:lnTo>
                  <a:pt x="580" y="155"/>
                </a:lnTo>
                <a:lnTo>
                  <a:pt x="551" y="157"/>
                </a:lnTo>
                <a:lnTo>
                  <a:pt x="525" y="165"/>
                </a:lnTo>
                <a:lnTo>
                  <a:pt x="504" y="178"/>
                </a:lnTo>
                <a:lnTo>
                  <a:pt x="485" y="193"/>
                </a:lnTo>
                <a:lnTo>
                  <a:pt x="469" y="211"/>
                </a:lnTo>
                <a:lnTo>
                  <a:pt x="459" y="232"/>
                </a:lnTo>
                <a:lnTo>
                  <a:pt x="451" y="254"/>
                </a:lnTo>
                <a:lnTo>
                  <a:pt x="448" y="277"/>
                </a:lnTo>
                <a:lnTo>
                  <a:pt x="449" y="300"/>
                </a:lnTo>
                <a:lnTo>
                  <a:pt x="453" y="321"/>
                </a:lnTo>
                <a:lnTo>
                  <a:pt x="460" y="340"/>
                </a:lnTo>
                <a:lnTo>
                  <a:pt x="470" y="358"/>
                </a:lnTo>
                <a:lnTo>
                  <a:pt x="477" y="366"/>
                </a:lnTo>
                <a:lnTo>
                  <a:pt x="484" y="373"/>
                </a:lnTo>
                <a:lnTo>
                  <a:pt x="493" y="379"/>
                </a:lnTo>
                <a:lnTo>
                  <a:pt x="501" y="386"/>
                </a:lnTo>
                <a:lnTo>
                  <a:pt x="512" y="392"/>
                </a:lnTo>
                <a:lnTo>
                  <a:pt x="522" y="397"/>
                </a:lnTo>
                <a:lnTo>
                  <a:pt x="532" y="401"/>
                </a:lnTo>
                <a:lnTo>
                  <a:pt x="545" y="405"/>
                </a:lnTo>
                <a:lnTo>
                  <a:pt x="545" y="527"/>
                </a:lnTo>
                <a:lnTo>
                  <a:pt x="59" y="318"/>
                </a:lnTo>
                <a:close/>
              </a:path>
            </a:pathLst>
          </a:custGeom>
          <a:solidFill>
            <a:schemeClr val="accent5"/>
          </a:solidFill>
          <a:ln>
            <a:noFill/>
          </a:ln>
        </p:spPr>
        <p:txBody>
          <a:bodyPr vert="horz" wrap="none" lIns="75268" tIns="37634" rIns="75268" bIns="37634" numCol="1" anchor="t" anchorCtr="0" compatLnSpc="1">
            <a:prstTxWarp prst="textNoShape">
              <a:avLst/>
            </a:prstTxWarp>
          </a:bodyPr>
          <a:lstStyle/>
          <a:p>
            <a:pPr defTabSz="768014"/>
            <a:endParaRPr lang="en-US" sz="1200" dirty="0">
              <a:solidFill>
                <a:srgbClr val="000000"/>
              </a:solidFill>
            </a:endParaRPr>
          </a:p>
        </p:txBody>
      </p:sp>
      <p:sp>
        <p:nvSpPr>
          <p:cNvPr id="41" name="Freeform 256"/>
          <p:cNvSpPr>
            <a:spLocks/>
          </p:cNvSpPr>
          <p:nvPr/>
        </p:nvSpPr>
        <p:spPr bwMode="gray">
          <a:xfrm>
            <a:off x="2411760" y="4795291"/>
            <a:ext cx="189935" cy="193568"/>
          </a:xfrm>
          <a:custGeom>
            <a:avLst/>
            <a:gdLst>
              <a:gd name="T0" fmla="*/ 121 w 1142"/>
              <a:gd name="T1" fmla="*/ 219 h 1141"/>
              <a:gd name="T2" fmla="*/ 234 w 1142"/>
              <a:gd name="T3" fmla="*/ 111 h 1141"/>
              <a:gd name="T4" fmla="*/ 371 w 1142"/>
              <a:gd name="T5" fmla="*/ 36 h 1141"/>
              <a:gd name="T6" fmla="*/ 529 w 1142"/>
              <a:gd name="T7" fmla="*/ 1 h 1141"/>
              <a:gd name="T8" fmla="*/ 741 w 1142"/>
              <a:gd name="T9" fmla="*/ 26 h 1141"/>
              <a:gd name="T10" fmla="*/ 935 w 1142"/>
              <a:gd name="T11" fmla="*/ 131 h 1141"/>
              <a:gd name="T12" fmla="*/ 1073 w 1142"/>
              <a:gd name="T13" fmla="*/ 300 h 1141"/>
              <a:gd name="T14" fmla="*/ 1139 w 1142"/>
              <a:gd name="T15" fmla="*/ 513 h 1141"/>
              <a:gd name="T16" fmla="*/ 1117 w 1142"/>
              <a:gd name="T17" fmla="*/ 741 h 1141"/>
              <a:gd name="T18" fmla="*/ 1012 w 1142"/>
              <a:gd name="T19" fmla="*/ 934 h 1141"/>
              <a:gd name="T20" fmla="*/ 842 w 1142"/>
              <a:gd name="T21" fmla="*/ 1072 h 1141"/>
              <a:gd name="T22" fmla="*/ 629 w 1142"/>
              <a:gd name="T23" fmla="*/ 1138 h 1141"/>
              <a:gd name="T24" fmla="*/ 401 w 1142"/>
              <a:gd name="T25" fmla="*/ 1116 h 1141"/>
              <a:gd name="T26" fmla="*/ 207 w 1142"/>
              <a:gd name="T27" fmla="*/ 1011 h 1141"/>
              <a:gd name="T28" fmla="*/ 69 w 1142"/>
              <a:gd name="T29" fmla="*/ 843 h 1141"/>
              <a:gd name="T30" fmla="*/ 3 w 1142"/>
              <a:gd name="T31" fmla="*/ 630 h 1141"/>
              <a:gd name="T32" fmla="*/ 9 w 1142"/>
              <a:gd name="T33" fmla="*/ 472 h 1141"/>
              <a:gd name="T34" fmla="*/ 46 w 1142"/>
              <a:gd name="T35" fmla="*/ 347 h 1141"/>
              <a:gd name="T36" fmla="*/ 527 w 1142"/>
              <a:gd name="T37" fmla="*/ 907 h 1141"/>
              <a:gd name="T38" fmla="*/ 460 w 1142"/>
              <a:gd name="T39" fmla="*/ 891 h 1141"/>
              <a:gd name="T40" fmla="*/ 400 w 1142"/>
              <a:gd name="T41" fmla="*/ 854 h 1141"/>
              <a:gd name="T42" fmla="*/ 342 w 1142"/>
              <a:gd name="T43" fmla="*/ 799 h 1141"/>
              <a:gd name="T44" fmla="*/ 340 w 1142"/>
              <a:gd name="T45" fmla="*/ 722 h 1141"/>
              <a:gd name="T46" fmla="*/ 330 w 1142"/>
              <a:gd name="T47" fmla="*/ 696 h 1141"/>
              <a:gd name="T48" fmla="*/ 250 w 1142"/>
              <a:gd name="T49" fmla="*/ 655 h 1141"/>
              <a:gd name="T50" fmla="*/ 195 w 1142"/>
              <a:gd name="T51" fmla="*/ 638 h 1141"/>
              <a:gd name="T52" fmla="*/ 184 w 1142"/>
              <a:gd name="T53" fmla="*/ 784 h 1141"/>
              <a:gd name="T54" fmla="*/ 200 w 1142"/>
              <a:gd name="T55" fmla="*/ 805 h 1141"/>
              <a:gd name="T56" fmla="*/ 281 w 1142"/>
              <a:gd name="T57" fmla="*/ 837 h 1141"/>
              <a:gd name="T58" fmla="*/ 356 w 1142"/>
              <a:gd name="T59" fmla="*/ 906 h 1141"/>
              <a:gd name="T60" fmla="*/ 449 w 1142"/>
              <a:gd name="T61" fmla="*/ 959 h 1141"/>
              <a:gd name="T62" fmla="*/ 553 w 1142"/>
              <a:gd name="T63" fmla="*/ 986 h 1141"/>
              <a:gd name="T64" fmla="*/ 659 w 1142"/>
              <a:gd name="T65" fmla="*/ 976 h 1141"/>
              <a:gd name="T66" fmla="*/ 761 w 1142"/>
              <a:gd name="T67" fmla="*/ 935 h 1141"/>
              <a:gd name="T68" fmla="*/ 847 w 1142"/>
              <a:gd name="T69" fmla="*/ 873 h 1141"/>
              <a:gd name="T70" fmla="*/ 909 w 1142"/>
              <a:gd name="T71" fmla="*/ 799 h 1141"/>
              <a:gd name="T72" fmla="*/ 975 w 1142"/>
              <a:gd name="T73" fmla="*/ 805 h 1141"/>
              <a:gd name="T74" fmla="*/ 977 w 1142"/>
              <a:gd name="T75" fmla="*/ 693 h 1141"/>
              <a:gd name="T76" fmla="*/ 948 w 1142"/>
              <a:gd name="T77" fmla="*/ 641 h 1141"/>
              <a:gd name="T78" fmla="*/ 870 w 1142"/>
              <a:gd name="T79" fmla="*/ 675 h 1141"/>
              <a:gd name="T80" fmla="*/ 817 w 1142"/>
              <a:gd name="T81" fmla="*/ 711 h 1141"/>
              <a:gd name="T82" fmla="*/ 849 w 1142"/>
              <a:gd name="T83" fmla="*/ 764 h 1141"/>
              <a:gd name="T84" fmla="*/ 792 w 1142"/>
              <a:gd name="T85" fmla="*/ 829 h 1141"/>
              <a:gd name="T86" fmla="*/ 733 w 1142"/>
              <a:gd name="T87" fmla="*/ 875 h 1141"/>
              <a:gd name="T88" fmla="*/ 668 w 1142"/>
              <a:gd name="T89" fmla="*/ 903 h 1141"/>
              <a:gd name="T90" fmla="*/ 615 w 1142"/>
              <a:gd name="T91" fmla="*/ 405 h 1141"/>
              <a:gd name="T92" fmla="*/ 664 w 1142"/>
              <a:gd name="T93" fmla="*/ 381 h 1141"/>
              <a:gd name="T94" fmla="*/ 712 w 1142"/>
              <a:gd name="T95" fmla="*/ 277 h 1141"/>
              <a:gd name="T96" fmla="*/ 676 w 1142"/>
              <a:gd name="T97" fmla="*/ 193 h 1141"/>
              <a:gd name="T98" fmla="*/ 580 w 1142"/>
              <a:gd name="T99" fmla="*/ 155 h 1141"/>
              <a:gd name="T100" fmla="*/ 485 w 1142"/>
              <a:gd name="T101" fmla="*/ 193 h 1141"/>
              <a:gd name="T102" fmla="*/ 448 w 1142"/>
              <a:gd name="T103" fmla="*/ 277 h 1141"/>
              <a:gd name="T104" fmla="*/ 470 w 1142"/>
              <a:gd name="T105" fmla="*/ 358 h 1141"/>
              <a:gd name="T106" fmla="*/ 501 w 1142"/>
              <a:gd name="T107" fmla="*/ 386 h 1141"/>
              <a:gd name="T108" fmla="*/ 545 w 1142"/>
              <a:gd name="T109" fmla="*/ 405 h 1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2" h="1141">
                <a:moveTo>
                  <a:pt x="59" y="318"/>
                </a:moveTo>
                <a:lnTo>
                  <a:pt x="77" y="284"/>
                </a:lnTo>
                <a:lnTo>
                  <a:pt x="98" y="250"/>
                </a:lnTo>
                <a:lnTo>
                  <a:pt x="121" y="219"/>
                </a:lnTo>
                <a:lnTo>
                  <a:pt x="146" y="189"/>
                </a:lnTo>
                <a:lnTo>
                  <a:pt x="174" y="161"/>
                </a:lnTo>
                <a:lnTo>
                  <a:pt x="203" y="135"/>
                </a:lnTo>
                <a:lnTo>
                  <a:pt x="234" y="111"/>
                </a:lnTo>
                <a:lnTo>
                  <a:pt x="266" y="88"/>
                </a:lnTo>
                <a:lnTo>
                  <a:pt x="300" y="68"/>
                </a:lnTo>
                <a:lnTo>
                  <a:pt x="335" y="51"/>
                </a:lnTo>
                <a:lnTo>
                  <a:pt x="371" y="36"/>
                </a:lnTo>
                <a:lnTo>
                  <a:pt x="409" y="23"/>
                </a:lnTo>
                <a:lnTo>
                  <a:pt x="448" y="13"/>
                </a:lnTo>
                <a:lnTo>
                  <a:pt x="489" y="6"/>
                </a:lnTo>
                <a:lnTo>
                  <a:pt x="529" y="1"/>
                </a:lnTo>
                <a:lnTo>
                  <a:pt x="570" y="0"/>
                </a:lnTo>
                <a:lnTo>
                  <a:pt x="629" y="4"/>
                </a:lnTo>
                <a:lnTo>
                  <a:pt x="686" y="12"/>
                </a:lnTo>
                <a:lnTo>
                  <a:pt x="741" y="26"/>
                </a:lnTo>
                <a:lnTo>
                  <a:pt x="793" y="45"/>
                </a:lnTo>
                <a:lnTo>
                  <a:pt x="842" y="69"/>
                </a:lnTo>
                <a:lnTo>
                  <a:pt x="890" y="98"/>
                </a:lnTo>
                <a:lnTo>
                  <a:pt x="935" y="131"/>
                </a:lnTo>
                <a:lnTo>
                  <a:pt x="975" y="167"/>
                </a:lnTo>
                <a:lnTo>
                  <a:pt x="1012" y="208"/>
                </a:lnTo>
                <a:lnTo>
                  <a:pt x="1044" y="253"/>
                </a:lnTo>
                <a:lnTo>
                  <a:pt x="1073" y="300"/>
                </a:lnTo>
                <a:lnTo>
                  <a:pt x="1097" y="350"/>
                </a:lnTo>
                <a:lnTo>
                  <a:pt x="1117" y="401"/>
                </a:lnTo>
                <a:lnTo>
                  <a:pt x="1131" y="457"/>
                </a:lnTo>
                <a:lnTo>
                  <a:pt x="1139" y="513"/>
                </a:lnTo>
                <a:lnTo>
                  <a:pt x="1142" y="572"/>
                </a:lnTo>
                <a:lnTo>
                  <a:pt x="1139" y="630"/>
                </a:lnTo>
                <a:lnTo>
                  <a:pt x="1131" y="686"/>
                </a:lnTo>
                <a:lnTo>
                  <a:pt x="1117" y="741"/>
                </a:lnTo>
                <a:lnTo>
                  <a:pt x="1097" y="793"/>
                </a:lnTo>
                <a:lnTo>
                  <a:pt x="1073" y="843"/>
                </a:lnTo>
                <a:lnTo>
                  <a:pt x="1044" y="890"/>
                </a:lnTo>
                <a:lnTo>
                  <a:pt x="1012" y="934"/>
                </a:lnTo>
                <a:lnTo>
                  <a:pt x="975" y="974"/>
                </a:lnTo>
                <a:lnTo>
                  <a:pt x="935" y="1011"/>
                </a:lnTo>
                <a:lnTo>
                  <a:pt x="890" y="1043"/>
                </a:lnTo>
                <a:lnTo>
                  <a:pt x="842" y="1072"/>
                </a:lnTo>
                <a:lnTo>
                  <a:pt x="793" y="1096"/>
                </a:lnTo>
                <a:lnTo>
                  <a:pt x="741" y="1116"/>
                </a:lnTo>
                <a:lnTo>
                  <a:pt x="686" y="1130"/>
                </a:lnTo>
                <a:lnTo>
                  <a:pt x="629" y="1138"/>
                </a:lnTo>
                <a:lnTo>
                  <a:pt x="570" y="1141"/>
                </a:lnTo>
                <a:lnTo>
                  <a:pt x="512" y="1138"/>
                </a:lnTo>
                <a:lnTo>
                  <a:pt x="455" y="1130"/>
                </a:lnTo>
                <a:lnTo>
                  <a:pt x="401" y="1116"/>
                </a:lnTo>
                <a:lnTo>
                  <a:pt x="348" y="1096"/>
                </a:lnTo>
                <a:lnTo>
                  <a:pt x="298" y="1072"/>
                </a:lnTo>
                <a:lnTo>
                  <a:pt x="251" y="1043"/>
                </a:lnTo>
                <a:lnTo>
                  <a:pt x="207" y="1011"/>
                </a:lnTo>
                <a:lnTo>
                  <a:pt x="167" y="974"/>
                </a:lnTo>
                <a:lnTo>
                  <a:pt x="130" y="934"/>
                </a:lnTo>
                <a:lnTo>
                  <a:pt x="98" y="890"/>
                </a:lnTo>
                <a:lnTo>
                  <a:pt x="69" y="843"/>
                </a:lnTo>
                <a:lnTo>
                  <a:pt x="45" y="793"/>
                </a:lnTo>
                <a:lnTo>
                  <a:pt x="25" y="741"/>
                </a:lnTo>
                <a:lnTo>
                  <a:pt x="11" y="686"/>
                </a:lnTo>
                <a:lnTo>
                  <a:pt x="3" y="630"/>
                </a:lnTo>
                <a:lnTo>
                  <a:pt x="0" y="572"/>
                </a:lnTo>
                <a:lnTo>
                  <a:pt x="1" y="539"/>
                </a:lnTo>
                <a:lnTo>
                  <a:pt x="3" y="505"/>
                </a:lnTo>
                <a:lnTo>
                  <a:pt x="9" y="472"/>
                </a:lnTo>
                <a:lnTo>
                  <a:pt x="16" y="439"/>
                </a:lnTo>
                <a:lnTo>
                  <a:pt x="24" y="408"/>
                </a:lnTo>
                <a:lnTo>
                  <a:pt x="35" y="377"/>
                </a:lnTo>
                <a:lnTo>
                  <a:pt x="46" y="347"/>
                </a:lnTo>
                <a:lnTo>
                  <a:pt x="59" y="318"/>
                </a:lnTo>
                <a:lnTo>
                  <a:pt x="545" y="527"/>
                </a:lnTo>
                <a:lnTo>
                  <a:pt x="545" y="908"/>
                </a:lnTo>
                <a:lnTo>
                  <a:pt x="527" y="907"/>
                </a:lnTo>
                <a:lnTo>
                  <a:pt x="509" y="906"/>
                </a:lnTo>
                <a:lnTo>
                  <a:pt x="492" y="903"/>
                </a:lnTo>
                <a:lnTo>
                  <a:pt x="476" y="897"/>
                </a:lnTo>
                <a:lnTo>
                  <a:pt x="460" y="891"/>
                </a:lnTo>
                <a:lnTo>
                  <a:pt x="444" y="884"/>
                </a:lnTo>
                <a:lnTo>
                  <a:pt x="429" y="875"/>
                </a:lnTo>
                <a:lnTo>
                  <a:pt x="414" y="865"/>
                </a:lnTo>
                <a:lnTo>
                  <a:pt x="400" y="854"/>
                </a:lnTo>
                <a:lnTo>
                  <a:pt x="385" y="842"/>
                </a:lnTo>
                <a:lnTo>
                  <a:pt x="370" y="829"/>
                </a:lnTo>
                <a:lnTo>
                  <a:pt x="356" y="814"/>
                </a:lnTo>
                <a:lnTo>
                  <a:pt x="342" y="799"/>
                </a:lnTo>
                <a:lnTo>
                  <a:pt x="327" y="782"/>
                </a:lnTo>
                <a:lnTo>
                  <a:pt x="313" y="764"/>
                </a:lnTo>
                <a:lnTo>
                  <a:pt x="298" y="746"/>
                </a:lnTo>
                <a:lnTo>
                  <a:pt x="340" y="722"/>
                </a:lnTo>
                <a:lnTo>
                  <a:pt x="346" y="716"/>
                </a:lnTo>
                <a:lnTo>
                  <a:pt x="346" y="711"/>
                </a:lnTo>
                <a:lnTo>
                  <a:pt x="340" y="706"/>
                </a:lnTo>
                <a:lnTo>
                  <a:pt x="330" y="696"/>
                </a:lnTo>
                <a:lnTo>
                  <a:pt x="312" y="686"/>
                </a:lnTo>
                <a:lnTo>
                  <a:pt x="293" y="675"/>
                </a:lnTo>
                <a:lnTo>
                  <a:pt x="271" y="664"/>
                </a:lnTo>
                <a:lnTo>
                  <a:pt x="250" y="655"/>
                </a:lnTo>
                <a:lnTo>
                  <a:pt x="230" y="647"/>
                </a:lnTo>
                <a:lnTo>
                  <a:pt x="213" y="641"/>
                </a:lnTo>
                <a:lnTo>
                  <a:pt x="202" y="638"/>
                </a:lnTo>
                <a:lnTo>
                  <a:pt x="195" y="638"/>
                </a:lnTo>
                <a:lnTo>
                  <a:pt x="190" y="655"/>
                </a:lnTo>
                <a:lnTo>
                  <a:pt x="185" y="693"/>
                </a:lnTo>
                <a:lnTo>
                  <a:pt x="183" y="740"/>
                </a:lnTo>
                <a:lnTo>
                  <a:pt x="184" y="784"/>
                </a:lnTo>
                <a:lnTo>
                  <a:pt x="185" y="797"/>
                </a:lnTo>
                <a:lnTo>
                  <a:pt x="188" y="805"/>
                </a:lnTo>
                <a:lnTo>
                  <a:pt x="192" y="808"/>
                </a:lnTo>
                <a:lnTo>
                  <a:pt x="200" y="805"/>
                </a:lnTo>
                <a:lnTo>
                  <a:pt x="243" y="781"/>
                </a:lnTo>
                <a:lnTo>
                  <a:pt x="253" y="799"/>
                </a:lnTo>
                <a:lnTo>
                  <a:pt x="266" y="819"/>
                </a:lnTo>
                <a:lnTo>
                  <a:pt x="281" y="837"/>
                </a:lnTo>
                <a:lnTo>
                  <a:pt x="297" y="855"/>
                </a:lnTo>
                <a:lnTo>
                  <a:pt x="316" y="873"/>
                </a:lnTo>
                <a:lnTo>
                  <a:pt x="335" y="890"/>
                </a:lnTo>
                <a:lnTo>
                  <a:pt x="356" y="906"/>
                </a:lnTo>
                <a:lnTo>
                  <a:pt x="378" y="921"/>
                </a:lnTo>
                <a:lnTo>
                  <a:pt x="401" y="935"/>
                </a:lnTo>
                <a:lnTo>
                  <a:pt x="425" y="948"/>
                </a:lnTo>
                <a:lnTo>
                  <a:pt x="449" y="959"/>
                </a:lnTo>
                <a:lnTo>
                  <a:pt x="475" y="968"/>
                </a:lnTo>
                <a:lnTo>
                  <a:pt x="501" y="976"/>
                </a:lnTo>
                <a:lnTo>
                  <a:pt x="527" y="982"/>
                </a:lnTo>
                <a:lnTo>
                  <a:pt x="553" y="986"/>
                </a:lnTo>
                <a:lnTo>
                  <a:pt x="580" y="987"/>
                </a:lnTo>
                <a:lnTo>
                  <a:pt x="606" y="986"/>
                </a:lnTo>
                <a:lnTo>
                  <a:pt x="633" y="982"/>
                </a:lnTo>
                <a:lnTo>
                  <a:pt x="659" y="976"/>
                </a:lnTo>
                <a:lnTo>
                  <a:pt x="686" y="968"/>
                </a:lnTo>
                <a:lnTo>
                  <a:pt x="712" y="959"/>
                </a:lnTo>
                <a:lnTo>
                  <a:pt x="736" y="948"/>
                </a:lnTo>
                <a:lnTo>
                  <a:pt x="761" y="935"/>
                </a:lnTo>
                <a:lnTo>
                  <a:pt x="785" y="921"/>
                </a:lnTo>
                <a:lnTo>
                  <a:pt x="807" y="906"/>
                </a:lnTo>
                <a:lnTo>
                  <a:pt x="827" y="890"/>
                </a:lnTo>
                <a:lnTo>
                  <a:pt x="847" y="873"/>
                </a:lnTo>
                <a:lnTo>
                  <a:pt x="865" y="855"/>
                </a:lnTo>
                <a:lnTo>
                  <a:pt x="882" y="837"/>
                </a:lnTo>
                <a:lnTo>
                  <a:pt x="897" y="819"/>
                </a:lnTo>
                <a:lnTo>
                  <a:pt x="909" y="799"/>
                </a:lnTo>
                <a:lnTo>
                  <a:pt x="920" y="781"/>
                </a:lnTo>
                <a:lnTo>
                  <a:pt x="962" y="805"/>
                </a:lnTo>
                <a:lnTo>
                  <a:pt x="970" y="808"/>
                </a:lnTo>
                <a:lnTo>
                  <a:pt x="975" y="805"/>
                </a:lnTo>
                <a:lnTo>
                  <a:pt x="977" y="797"/>
                </a:lnTo>
                <a:lnTo>
                  <a:pt x="978" y="784"/>
                </a:lnTo>
                <a:lnTo>
                  <a:pt x="980" y="740"/>
                </a:lnTo>
                <a:lnTo>
                  <a:pt x="977" y="693"/>
                </a:lnTo>
                <a:lnTo>
                  <a:pt x="973" y="655"/>
                </a:lnTo>
                <a:lnTo>
                  <a:pt x="968" y="638"/>
                </a:lnTo>
                <a:lnTo>
                  <a:pt x="961" y="638"/>
                </a:lnTo>
                <a:lnTo>
                  <a:pt x="948" y="641"/>
                </a:lnTo>
                <a:lnTo>
                  <a:pt x="932" y="647"/>
                </a:lnTo>
                <a:lnTo>
                  <a:pt x="913" y="655"/>
                </a:lnTo>
                <a:lnTo>
                  <a:pt x="891" y="664"/>
                </a:lnTo>
                <a:lnTo>
                  <a:pt x="870" y="675"/>
                </a:lnTo>
                <a:lnTo>
                  <a:pt x="850" y="686"/>
                </a:lnTo>
                <a:lnTo>
                  <a:pt x="833" y="696"/>
                </a:lnTo>
                <a:lnTo>
                  <a:pt x="823" y="706"/>
                </a:lnTo>
                <a:lnTo>
                  <a:pt x="817" y="711"/>
                </a:lnTo>
                <a:lnTo>
                  <a:pt x="817" y="716"/>
                </a:lnTo>
                <a:lnTo>
                  <a:pt x="823" y="722"/>
                </a:lnTo>
                <a:lnTo>
                  <a:pt x="864" y="746"/>
                </a:lnTo>
                <a:lnTo>
                  <a:pt x="849" y="764"/>
                </a:lnTo>
                <a:lnTo>
                  <a:pt x="834" y="782"/>
                </a:lnTo>
                <a:lnTo>
                  <a:pt x="821" y="799"/>
                </a:lnTo>
                <a:lnTo>
                  <a:pt x="806" y="814"/>
                </a:lnTo>
                <a:lnTo>
                  <a:pt x="792" y="829"/>
                </a:lnTo>
                <a:lnTo>
                  <a:pt x="777" y="842"/>
                </a:lnTo>
                <a:lnTo>
                  <a:pt x="763" y="854"/>
                </a:lnTo>
                <a:lnTo>
                  <a:pt x="748" y="865"/>
                </a:lnTo>
                <a:lnTo>
                  <a:pt x="733" y="875"/>
                </a:lnTo>
                <a:lnTo>
                  <a:pt x="717" y="884"/>
                </a:lnTo>
                <a:lnTo>
                  <a:pt x="702" y="891"/>
                </a:lnTo>
                <a:lnTo>
                  <a:pt x="686" y="897"/>
                </a:lnTo>
                <a:lnTo>
                  <a:pt x="668" y="903"/>
                </a:lnTo>
                <a:lnTo>
                  <a:pt x="651" y="906"/>
                </a:lnTo>
                <a:lnTo>
                  <a:pt x="634" y="907"/>
                </a:lnTo>
                <a:lnTo>
                  <a:pt x="615" y="908"/>
                </a:lnTo>
                <a:lnTo>
                  <a:pt x="615" y="405"/>
                </a:lnTo>
                <a:lnTo>
                  <a:pt x="620" y="404"/>
                </a:lnTo>
                <a:lnTo>
                  <a:pt x="630" y="400"/>
                </a:lnTo>
                <a:lnTo>
                  <a:pt x="646" y="392"/>
                </a:lnTo>
                <a:lnTo>
                  <a:pt x="664" y="381"/>
                </a:lnTo>
                <a:lnTo>
                  <a:pt x="681" y="365"/>
                </a:lnTo>
                <a:lnTo>
                  <a:pt x="697" y="341"/>
                </a:lnTo>
                <a:lnTo>
                  <a:pt x="708" y="313"/>
                </a:lnTo>
                <a:lnTo>
                  <a:pt x="712" y="277"/>
                </a:lnTo>
                <a:lnTo>
                  <a:pt x="710" y="254"/>
                </a:lnTo>
                <a:lnTo>
                  <a:pt x="703" y="232"/>
                </a:lnTo>
                <a:lnTo>
                  <a:pt x="691" y="211"/>
                </a:lnTo>
                <a:lnTo>
                  <a:pt x="676" y="193"/>
                </a:lnTo>
                <a:lnTo>
                  <a:pt x="657" y="178"/>
                </a:lnTo>
                <a:lnTo>
                  <a:pt x="635" y="165"/>
                </a:lnTo>
                <a:lnTo>
                  <a:pt x="608" y="157"/>
                </a:lnTo>
                <a:lnTo>
                  <a:pt x="580" y="155"/>
                </a:lnTo>
                <a:lnTo>
                  <a:pt x="551" y="157"/>
                </a:lnTo>
                <a:lnTo>
                  <a:pt x="525" y="165"/>
                </a:lnTo>
                <a:lnTo>
                  <a:pt x="504" y="178"/>
                </a:lnTo>
                <a:lnTo>
                  <a:pt x="485" y="193"/>
                </a:lnTo>
                <a:lnTo>
                  <a:pt x="469" y="211"/>
                </a:lnTo>
                <a:lnTo>
                  <a:pt x="459" y="232"/>
                </a:lnTo>
                <a:lnTo>
                  <a:pt x="451" y="254"/>
                </a:lnTo>
                <a:lnTo>
                  <a:pt x="448" y="277"/>
                </a:lnTo>
                <a:lnTo>
                  <a:pt x="449" y="300"/>
                </a:lnTo>
                <a:lnTo>
                  <a:pt x="453" y="321"/>
                </a:lnTo>
                <a:lnTo>
                  <a:pt x="460" y="340"/>
                </a:lnTo>
                <a:lnTo>
                  <a:pt x="470" y="358"/>
                </a:lnTo>
                <a:lnTo>
                  <a:pt x="477" y="366"/>
                </a:lnTo>
                <a:lnTo>
                  <a:pt x="484" y="373"/>
                </a:lnTo>
                <a:lnTo>
                  <a:pt x="493" y="379"/>
                </a:lnTo>
                <a:lnTo>
                  <a:pt x="501" y="386"/>
                </a:lnTo>
                <a:lnTo>
                  <a:pt x="512" y="392"/>
                </a:lnTo>
                <a:lnTo>
                  <a:pt x="522" y="397"/>
                </a:lnTo>
                <a:lnTo>
                  <a:pt x="532" y="401"/>
                </a:lnTo>
                <a:lnTo>
                  <a:pt x="545" y="405"/>
                </a:lnTo>
                <a:lnTo>
                  <a:pt x="545" y="527"/>
                </a:lnTo>
                <a:lnTo>
                  <a:pt x="59" y="318"/>
                </a:lnTo>
                <a:close/>
              </a:path>
            </a:pathLst>
          </a:custGeom>
          <a:solidFill>
            <a:schemeClr val="accent5"/>
          </a:solidFill>
          <a:ln>
            <a:noFill/>
          </a:ln>
        </p:spPr>
        <p:txBody>
          <a:bodyPr vert="horz" wrap="none" lIns="75268" tIns="37634" rIns="75268" bIns="37634" numCol="1" anchor="t" anchorCtr="0" compatLnSpc="1">
            <a:prstTxWarp prst="textNoShape">
              <a:avLst/>
            </a:prstTxWarp>
          </a:bodyPr>
          <a:lstStyle/>
          <a:p>
            <a:pPr defTabSz="768014"/>
            <a:endParaRPr lang="en-US" sz="1200" dirty="0">
              <a:solidFill>
                <a:srgbClr val="000000"/>
              </a:solidFill>
            </a:endParaRPr>
          </a:p>
        </p:txBody>
      </p:sp>
      <p:sp>
        <p:nvSpPr>
          <p:cNvPr id="42" name="Freeform 256"/>
          <p:cNvSpPr>
            <a:spLocks/>
          </p:cNvSpPr>
          <p:nvPr/>
        </p:nvSpPr>
        <p:spPr bwMode="gray">
          <a:xfrm>
            <a:off x="653932" y="2766922"/>
            <a:ext cx="189935" cy="193568"/>
          </a:xfrm>
          <a:custGeom>
            <a:avLst/>
            <a:gdLst>
              <a:gd name="T0" fmla="*/ 121 w 1142"/>
              <a:gd name="T1" fmla="*/ 219 h 1141"/>
              <a:gd name="T2" fmla="*/ 234 w 1142"/>
              <a:gd name="T3" fmla="*/ 111 h 1141"/>
              <a:gd name="T4" fmla="*/ 371 w 1142"/>
              <a:gd name="T5" fmla="*/ 36 h 1141"/>
              <a:gd name="T6" fmla="*/ 529 w 1142"/>
              <a:gd name="T7" fmla="*/ 1 h 1141"/>
              <a:gd name="T8" fmla="*/ 741 w 1142"/>
              <a:gd name="T9" fmla="*/ 26 h 1141"/>
              <a:gd name="T10" fmla="*/ 935 w 1142"/>
              <a:gd name="T11" fmla="*/ 131 h 1141"/>
              <a:gd name="T12" fmla="*/ 1073 w 1142"/>
              <a:gd name="T13" fmla="*/ 300 h 1141"/>
              <a:gd name="T14" fmla="*/ 1139 w 1142"/>
              <a:gd name="T15" fmla="*/ 513 h 1141"/>
              <a:gd name="T16" fmla="*/ 1117 w 1142"/>
              <a:gd name="T17" fmla="*/ 741 h 1141"/>
              <a:gd name="T18" fmla="*/ 1012 w 1142"/>
              <a:gd name="T19" fmla="*/ 934 h 1141"/>
              <a:gd name="T20" fmla="*/ 842 w 1142"/>
              <a:gd name="T21" fmla="*/ 1072 h 1141"/>
              <a:gd name="T22" fmla="*/ 629 w 1142"/>
              <a:gd name="T23" fmla="*/ 1138 h 1141"/>
              <a:gd name="T24" fmla="*/ 401 w 1142"/>
              <a:gd name="T25" fmla="*/ 1116 h 1141"/>
              <a:gd name="T26" fmla="*/ 207 w 1142"/>
              <a:gd name="T27" fmla="*/ 1011 h 1141"/>
              <a:gd name="T28" fmla="*/ 69 w 1142"/>
              <a:gd name="T29" fmla="*/ 843 h 1141"/>
              <a:gd name="T30" fmla="*/ 3 w 1142"/>
              <a:gd name="T31" fmla="*/ 630 h 1141"/>
              <a:gd name="T32" fmla="*/ 9 w 1142"/>
              <a:gd name="T33" fmla="*/ 472 h 1141"/>
              <a:gd name="T34" fmla="*/ 46 w 1142"/>
              <a:gd name="T35" fmla="*/ 347 h 1141"/>
              <a:gd name="T36" fmla="*/ 527 w 1142"/>
              <a:gd name="T37" fmla="*/ 907 h 1141"/>
              <a:gd name="T38" fmla="*/ 460 w 1142"/>
              <a:gd name="T39" fmla="*/ 891 h 1141"/>
              <a:gd name="T40" fmla="*/ 400 w 1142"/>
              <a:gd name="T41" fmla="*/ 854 h 1141"/>
              <a:gd name="T42" fmla="*/ 342 w 1142"/>
              <a:gd name="T43" fmla="*/ 799 h 1141"/>
              <a:gd name="T44" fmla="*/ 340 w 1142"/>
              <a:gd name="T45" fmla="*/ 722 h 1141"/>
              <a:gd name="T46" fmla="*/ 330 w 1142"/>
              <a:gd name="T47" fmla="*/ 696 h 1141"/>
              <a:gd name="T48" fmla="*/ 250 w 1142"/>
              <a:gd name="T49" fmla="*/ 655 h 1141"/>
              <a:gd name="T50" fmla="*/ 195 w 1142"/>
              <a:gd name="T51" fmla="*/ 638 h 1141"/>
              <a:gd name="T52" fmla="*/ 184 w 1142"/>
              <a:gd name="T53" fmla="*/ 784 h 1141"/>
              <a:gd name="T54" fmla="*/ 200 w 1142"/>
              <a:gd name="T55" fmla="*/ 805 h 1141"/>
              <a:gd name="T56" fmla="*/ 281 w 1142"/>
              <a:gd name="T57" fmla="*/ 837 h 1141"/>
              <a:gd name="T58" fmla="*/ 356 w 1142"/>
              <a:gd name="T59" fmla="*/ 906 h 1141"/>
              <a:gd name="T60" fmla="*/ 449 w 1142"/>
              <a:gd name="T61" fmla="*/ 959 h 1141"/>
              <a:gd name="T62" fmla="*/ 553 w 1142"/>
              <a:gd name="T63" fmla="*/ 986 h 1141"/>
              <a:gd name="T64" fmla="*/ 659 w 1142"/>
              <a:gd name="T65" fmla="*/ 976 h 1141"/>
              <a:gd name="T66" fmla="*/ 761 w 1142"/>
              <a:gd name="T67" fmla="*/ 935 h 1141"/>
              <a:gd name="T68" fmla="*/ 847 w 1142"/>
              <a:gd name="T69" fmla="*/ 873 h 1141"/>
              <a:gd name="T70" fmla="*/ 909 w 1142"/>
              <a:gd name="T71" fmla="*/ 799 h 1141"/>
              <a:gd name="T72" fmla="*/ 975 w 1142"/>
              <a:gd name="T73" fmla="*/ 805 h 1141"/>
              <a:gd name="T74" fmla="*/ 977 w 1142"/>
              <a:gd name="T75" fmla="*/ 693 h 1141"/>
              <a:gd name="T76" fmla="*/ 948 w 1142"/>
              <a:gd name="T77" fmla="*/ 641 h 1141"/>
              <a:gd name="T78" fmla="*/ 870 w 1142"/>
              <a:gd name="T79" fmla="*/ 675 h 1141"/>
              <a:gd name="T80" fmla="*/ 817 w 1142"/>
              <a:gd name="T81" fmla="*/ 711 h 1141"/>
              <a:gd name="T82" fmla="*/ 849 w 1142"/>
              <a:gd name="T83" fmla="*/ 764 h 1141"/>
              <a:gd name="T84" fmla="*/ 792 w 1142"/>
              <a:gd name="T85" fmla="*/ 829 h 1141"/>
              <a:gd name="T86" fmla="*/ 733 w 1142"/>
              <a:gd name="T87" fmla="*/ 875 h 1141"/>
              <a:gd name="T88" fmla="*/ 668 w 1142"/>
              <a:gd name="T89" fmla="*/ 903 h 1141"/>
              <a:gd name="T90" fmla="*/ 615 w 1142"/>
              <a:gd name="T91" fmla="*/ 405 h 1141"/>
              <a:gd name="T92" fmla="*/ 664 w 1142"/>
              <a:gd name="T93" fmla="*/ 381 h 1141"/>
              <a:gd name="T94" fmla="*/ 712 w 1142"/>
              <a:gd name="T95" fmla="*/ 277 h 1141"/>
              <a:gd name="T96" fmla="*/ 676 w 1142"/>
              <a:gd name="T97" fmla="*/ 193 h 1141"/>
              <a:gd name="T98" fmla="*/ 580 w 1142"/>
              <a:gd name="T99" fmla="*/ 155 h 1141"/>
              <a:gd name="T100" fmla="*/ 485 w 1142"/>
              <a:gd name="T101" fmla="*/ 193 h 1141"/>
              <a:gd name="T102" fmla="*/ 448 w 1142"/>
              <a:gd name="T103" fmla="*/ 277 h 1141"/>
              <a:gd name="T104" fmla="*/ 470 w 1142"/>
              <a:gd name="T105" fmla="*/ 358 h 1141"/>
              <a:gd name="T106" fmla="*/ 501 w 1142"/>
              <a:gd name="T107" fmla="*/ 386 h 1141"/>
              <a:gd name="T108" fmla="*/ 545 w 1142"/>
              <a:gd name="T109" fmla="*/ 405 h 1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2" h="1141">
                <a:moveTo>
                  <a:pt x="59" y="318"/>
                </a:moveTo>
                <a:lnTo>
                  <a:pt x="77" y="284"/>
                </a:lnTo>
                <a:lnTo>
                  <a:pt x="98" y="250"/>
                </a:lnTo>
                <a:lnTo>
                  <a:pt x="121" y="219"/>
                </a:lnTo>
                <a:lnTo>
                  <a:pt x="146" y="189"/>
                </a:lnTo>
                <a:lnTo>
                  <a:pt x="174" y="161"/>
                </a:lnTo>
                <a:lnTo>
                  <a:pt x="203" y="135"/>
                </a:lnTo>
                <a:lnTo>
                  <a:pt x="234" y="111"/>
                </a:lnTo>
                <a:lnTo>
                  <a:pt x="266" y="88"/>
                </a:lnTo>
                <a:lnTo>
                  <a:pt x="300" y="68"/>
                </a:lnTo>
                <a:lnTo>
                  <a:pt x="335" y="51"/>
                </a:lnTo>
                <a:lnTo>
                  <a:pt x="371" y="36"/>
                </a:lnTo>
                <a:lnTo>
                  <a:pt x="409" y="23"/>
                </a:lnTo>
                <a:lnTo>
                  <a:pt x="448" y="13"/>
                </a:lnTo>
                <a:lnTo>
                  <a:pt x="489" y="6"/>
                </a:lnTo>
                <a:lnTo>
                  <a:pt x="529" y="1"/>
                </a:lnTo>
                <a:lnTo>
                  <a:pt x="570" y="0"/>
                </a:lnTo>
                <a:lnTo>
                  <a:pt x="629" y="4"/>
                </a:lnTo>
                <a:lnTo>
                  <a:pt x="686" y="12"/>
                </a:lnTo>
                <a:lnTo>
                  <a:pt x="741" y="26"/>
                </a:lnTo>
                <a:lnTo>
                  <a:pt x="793" y="45"/>
                </a:lnTo>
                <a:lnTo>
                  <a:pt x="842" y="69"/>
                </a:lnTo>
                <a:lnTo>
                  <a:pt x="890" y="98"/>
                </a:lnTo>
                <a:lnTo>
                  <a:pt x="935" y="131"/>
                </a:lnTo>
                <a:lnTo>
                  <a:pt x="975" y="167"/>
                </a:lnTo>
                <a:lnTo>
                  <a:pt x="1012" y="208"/>
                </a:lnTo>
                <a:lnTo>
                  <a:pt x="1044" y="253"/>
                </a:lnTo>
                <a:lnTo>
                  <a:pt x="1073" y="300"/>
                </a:lnTo>
                <a:lnTo>
                  <a:pt x="1097" y="350"/>
                </a:lnTo>
                <a:lnTo>
                  <a:pt x="1117" y="401"/>
                </a:lnTo>
                <a:lnTo>
                  <a:pt x="1131" y="457"/>
                </a:lnTo>
                <a:lnTo>
                  <a:pt x="1139" y="513"/>
                </a:lnTo>
                <a:lnTo>
                  <a:pt x="1142" y="572"/>
                </a:lnTo>
                <a:lnTo>
                  <a:pt x="1139" y="630"/>
                </a:lnTo>
                <a:lnTo>
                  <a:pt x="1131" y="686"/>
                </a:lnTo>
                <a:lnTo>
                  <a:pt x="1117" y="741"/>
                </a:lnTo>
                <a:lnTo>
                  <a:pt x="1097" y="793"/>
                </a:lnTo>
                <a:lnTo>
                  <a:pt x="1073" y="843"/>
                </a:lnTo>
                <a:lnTo>
                  <a:pt x="1044" y="890"/>
                </a:lnTo>
                <a:lnTo>
                  <a:pt x="1012" y="934"/>
                </a:lnTo>
                <a:lnTo>
                  <a:pt x="975" y="974"/>
                </a:lnTo>
                <a:lnTo>
                  <a:pt x="935" y="1011"/>
                </a:lnTo>
                <a:lnTo>
                  <a:pt x="890" y="1043"/>
                </a:lnTo>
                <a:lnTo>
                  <a:pt x="842" y="1072"/>
                </a:lnTo>
                <a:lnTo>
                  <a:pt x="793" y="1096"/>
                </a:lnTo>
                <a:lnTo>
                  <a:pt x="741" y="1116"/>
                </a:lnTo>
                <a:lnTo>
                  <a:pt x="686" y="1130"/>
                </a:lnTo>
                <a:lnTo>
                  <a:pt x="629" y="1138"/>
                </a:lnTo>
                <a:lnTo>
                  <a:pt x="570" y="1141"/>
                </a:lnTo>
                <a:lnTo>
                  <a:pt x="512" y="1138"/>
                </a:lnTo>
                <a:lnTo>
                  <a:pt x="455" y="1130"/>
                </a:lnTo>
                <a:lnTo>
                  <a:pt x="401" y="1116"/>
                </a:lnTo>
                <a:lnTo>
                  <a:pt x="348" y="1096"/>
                </a:lnTo>
                <a:lnTo>
                  <a:pt x="298" y="1072"/>
                </a:lnTo>
                <a:lnTo>
                  <a:pt x="251" y="1043"/>
                </a:lnTo>
                <a:lnTo>
                  <a:pt x="207" y="1011"/>
                </a:lnTo>
                <a:lnTo>
                  <a:pt x="167" y="974"/>
                </a:lnTo>
                <a:lnTo>
                  <a:pt x="130" y="934"/>
                </a:lnTo>
                <a:lnTo>
                  <a:pt x="98" y="890"/>
                </a:lnTo>
                <a:lnTo>
                  <a:pt x="69" y="843"/>
                </a:lnTo>
                <a:lnTo>
                  <a:pt x="45" y="793"/>
                </a:lnTo>
                <a:lnTo>
                  <a:pt x="25" y="741"/>
                </a:lnTo>
                <a:lnTo>
                  <a:pt x="11" y="686"/>
                </a:lnTo>
                <a:lnTo>
                  <a:pt x="3" y="630"/>
                </a:lnTo>
                <a:lnTo>
                  <a:pt x="0" y="572"/>
                </a:lnTo>
                <a:lnTo>
                  <a:pt x="1" y="539"/>
                </a:lnTo>
                <a:lnTo>
                  <a:pt x="3" y="505"/>
                </a:lnTo>
                <a:lnTo>
                  <a:pt x="9" y="472"/>
                </a:lnTo>
                <a:lnTo>
                  <a:pt x="16" y="439"/>
                </a:lnTo>
                <a:lnTo>
                  <a:pt x="24" y="408"/>
                </a:lnTo>
                <a:lnTo>
                  <a:pt x="35" y="377"/>
                </a:lnTo>
                <a:lnTo>
                  <a:pt x="46" y="347"/>
                </a:lnTo>
                <a:lnTo>
                  <a:pt x="59" y="318"/>
                </a:lnTo>
                <a:lnTo>
                  <a:pt x="545" y="527"/>
                </a:lnTo>
                <a:lnTo>
                  <a:pt x="545" y="908"/>
                </a:lnTo>
                <a:lnTo>
                  <a:pt x="527" y="907"/>
                </a:lnTo>
                <a:lnTo>
                  <a:pt x="509" y="906"/>
                </a:lnTo>
                <a:lnTo>
                  <a:pt x="492" y="903"/>
                </a:lnTo>
                <a:lnTo>
                  <a:pt x="476" y="897"/>
                </a:lnTo>
                <a:lnTo>
                  <a:pt x="460" y="891"/>
                </a:lnTo>
                <a:lnTo>
                  <a:pt x="444" y="884"/>
                </a:lnTo>
                <a:lnTo>
                  <a:pt x="429" y="875"/>
                </a:lnTo>
                <a:lnTo>
                  <a:pt x="414" y="865"/>
                </a:lnTo>
                <a:lnTo>
                  <a:pt x="400" y="854"/>
                </a:lnTo>
                <a:lnTo>
                  <a:pt x="385" y="842"/>
                </a:lnTo>
                <a:lnTo>
                  <a:pt x="370" y="829"/>
                </a:lnTo>
                <a:lnTo>
                  <a:pt x="356" y="814"/>
                </a:lnTo>
                <a:lnTo>
                  <a:pt x="342" y="799"/>
                </a:lnTo>
                <a:lnTo>
                  <a:pt x="327" y="782"/>
                </a:lnTo>
                <a:lnTo>
                  <a:pt x="313" y="764"/>
                </a:lnTo>
                <a:lnTo>
                  <a:pt x="298" y="746"/>
                </a:lnTo>
                <a:lnTo>
                  <a:pt x="340" y="722"/>
                </a:lnTo>
                <a:lnTo>
                  <a:pt x="346" y="716"/>
                </a:lnTo>
                <a:lnTo>
                  <a:pt x="346" y="711"/>
                </a:lnTo>
                <a:lnTo>
                  <a:pt x="340" y="706"/>
                </a:lnTo>
                <a:lnTo>
                  <a:pt x="330" y="696"/>
                </a:lnTo>
                <a:lnTo>
                  <a:pt x="312" y="686"/>
                </a:lnTo>
                <a:lnTo>
                  <a:pt x="293" y="675"/>
                </a:lnTo>
                <a:lnTo>
                  <a:pt x="271" y="664"/>
                </a:lnTo>
                <a:lnTo>
                  <a:pt x="250" y="655"/>
                </a:lnTo>
                <a:lnTo>
                  <a:pt x="230" y="647"/>
                </a:lnTo>
                <a:lnTo>
                  <a:pt x="213" y="641"/>
                </a:lnTo>
                <a:lnTo>
                  <a:pt x="202" y="638"/>
                </a:lnTo>
                <a:lnTo>
                  <a:pt x="195" y="638"/>
                </a:lnTo>
                <a:lnTo>
                  <a:pt x="190" y="655"/>
                </a:lnTo>
                <a:lnTo>
                  <a:pt x="185" y="693"/>
                </a:lnTo>
                <a:lnTo>
                  <a:pt x="183" y="740"/>
                </a:lnTo>
                <a:lnTo>
                  <a:pt x="184" y="784"/>
                </a:lnTo>
                <a:lnTo>
                  <a:pt x="185" y="797"/>
                </a:lnTo>
                <a:lnTo>
                  <a:pt x="188" y="805"/>
                </a:lnTo>
                <a:lnTo>
                  <a:pt x="192" y="808"/>
                </a:lnTo>
                <a:lnTo>
                  <a:pt x="200" y="805"/>
                </a:lnTo>
                <a:lnTo>
                  <a:pt x="243" y="781"/>
                </a:lnTo>
                <a:lnTo>
                  <a:pt x="253" y="799"/>
                </a:lnTo>
                <a:lnTo>
                  <a:pt x="266" y="819"/>
                </a:lnTo>
                <a:lnTo>
                  <a:pt x="281" y="837"/>
                </a:lnTo>
                <a:lnTo>
                  <a:pt x="297" y="855"/>
                </a:lnTo>
                <a:lnTo>
                  <a:pt x="316" y="873"/>
                </a:lnTo>
                <a:lnTo>
                  <a:pt x="335" y="890"/>
                </a:lnTo>
                <a:lnTo>
                  <a:pt x="356" y="906"/>
                </a:lnTo>
                <a:lnTo>
                  <a:pt x="378" y="921"/>
                </a:lnTo>
                <a:lnTo>
                  <a:pt x="401" y="935"/>
                </a:lnTo>
                <a:lnTo>
                  <a:pt x="425" y="948"/>
                </a:lnTo>
                <a:lnTo>
                  <a:pt x="449" y="959"/>
                </a:lnTo>
                <a:lnTo>
                  <a:pt x="475" y="968"/>
                </a:lnTo>
                <a:lnTo>
                  <a:pt x="501" y="976"/>
                </a:lnTo>
                <a:lnTo>
                  <a:pt x="527" y="982"/>
                </a:lnTo>
                <a:lnTo>
                  <a:pt x="553" y="986"/>
                </a:lnTo>
                <a:lnTo>
                  <a:pt x="580" y="987"/>
                </a:lnTo>
                <a:lnTo>
                  <a:pt x="606" y="986"/>
                </a:lnTo>
                <a:lnTo>
                  <a:pt x="633" y="982"/>
                </a:lnTo>
                <a:lnTo>
                  <a:pt x="659" y="976"/>
                </a:lnTo>
                <a:lnTo>
                  <a:pt x="686" y="968"/>
                </a:lnTo>
                <a:lnTo>
                  <a:pt x="712" y="959"/>
                </a:lnTo>
                <a:lnTo>
                  <a:pt x="736" y="948"/>
                </a:lnTo>
                <a:lnTo>
                  <a:pt x="761" y="935"/>
                </a:lnTo>
                <a:lnTo>
                  <a:pt x="785" y="921"/>
                </a:lnTo>
                <a:lnTo>
                  <a:pt x="807" y="906"/>
                </a:lnTo>
                <a:lnTo>
                  <a:pt x="827" y="890"/>
                </a:lnTo>
                <a:lnTo>
                  <a:pt x="847" y="873"/>
                </a:lnTo>
                <a:lnTo>
                  <a:pt x="865" y="855"/>
                </a:lnTo>
                <a:lnTo>
                  <a:pt x="882" y="837"/>
                </a:lnTo>
                <a:lnTo>
                  <a:pt x="897" y="819"/>
                </a:lnTo>
                <a:lnTo>
                  <a:pt x="909" y="799"/>
                </a:lnTo>
                <a:lnTo>
                  <a:pt x="920" y="781"/>
                </a:lnTo>
                <a:lnTo>
                  <a:pt x="962" y="805"/>
                </a:lnTo>
                <a:lnTo>
                  <a:pt x="970" y="808"/>
                </a:lnTo>
                <a:lnTo>
                  <a:pt x="975" y="805"/>
                </a:lnTo>
                <a:lnTo>
                  <a:pt x="977" y="797"/>
                </a:lnTo>
                <a:lnTo>
                  <a:pt x="978" y="784"/>
                </a:lnTo>
                <a:lnTo>
                  <a:pt x="980" y="740"/>
                </a:lnTo>
                <a:lnTo>
                  <a:pt x="977" y="693"/>
                </a:lnTo>
                <a:lnTo>
                  <a:pt x="973" y="655"/>
                </a:lnTo>
                <a:lnTo>
                  <a:pt x="968" y="638"/>
                </a:lnTo>
                <a:lnTo>
                  <a:pt x="961" y="638"/>
                </a:lnTo>
                <a:lnTo>
                  <a:pt x="948" y="641"/>
                </a:lnTo>
                <a:lnTo>
                  <a:pt x="932" y="647"/>
                </a:lnTo>
                <a:lnTo>
                  <a:pt x="913" y="655"/>
                </a:lnTo>
                <a:lnTo>
                  <a:pt x="891" y="664"/>
                </a:lnTo>
                <a:lnTo>
                  <a:pt x="870" y="675"/>
                </a:lnTo>
                <a:lnTo>
                  <a:pt x="850" y="686"/>
                </a:lnTo>
                <a:lnTo>
                  <a:pt x="833" y="696"/>
                </a:lnTo>
                <a:lnTo>
                  <a:pt x="823" y="706"/>
                </a:lnTo>
                <a:lnTo>
                  <a:pt x="817" y="711"/>
                </a:lnTo>
                <a:lnTo>
                  <a:pt x="817" y="716"/>
                </a:lnTo>
                <a:lnTo>
                  <a:pt x="823" y="722"/>
                </a:lnTo>
                <a:lnTo>
                  <a:pt x="864" y="746"/>
                </a:lnTo>
                <a:lnTo>
                  <a:pt x="849" y="764"/>
                </a:lnTo>
                <a:lnTo>
                  <a:pt x="834" y="782"/>
                </a:lnTo>
                <a:lnTo>
                  <a:pt x="821" y="799"/>
                </a:lnTo>
                <a:lnTo>
                  <a:pt x="806" y="814"/>
                </a:lnTo>
                <a:lnTo>
                  <a:pt x="792" y="829"/>
                </a:lnTo>
                <a:lnTo>
                  <a:pt x="777" y="842"/>
                </a:lnTo>
                <a:lnTo>
                  <a:pt x="763" y="854"/>
                </a:lnTo>
                <a:lnTo>
                  <a:pt x="748" y="865"/>
                </a:lnTo>
                <a:lnTo>
                  <a:pt x="733" y="875"/>
                </a:lnTo>
                <a:lnTo>
                  <a:pt x="717" y="884"/>
                </a:lnTo>
                <a:lnTo>
                  <a:pt x="702" y="891"/>
                </a:lnTo>
                <a:lnTo>
                  <a:pt x="686" y="897"/>
                </a:lnTo>
                <a:lnTo>
                  <a:pt x="668" y="903"/>
                </a:lnTo>
                <a:lnTo>
                  <a:pt x="651" y="906"/>
                </a:lnTo>
                <a:lnTo>
                  <a:pt x="634" y="907"/>
                </a:lnTo>
                <a:lnTo>
                  <a:pt x="615" y="908"/>
                </a:lnTo>
                <a:lnTo>
                  <a:pt x="615" y="405"/>
                </a:lnTo>
                <a:lnTo>
                  <a:pt x="620" y="404"/>
                </a:lnTo>
                <a:lnTo>
                  <a:pt x="630" y="400"/>
                </a:lnTo>
                <a:lnTo>
                  <a:pt x="646" y="392"/>
                </a:lnTo>
                <a:lnTo>
                  <a:pt x="664" y="381"/>
                </a:lnTo>
                <a:lnTo>
                  <a:pt x="681" y="365"/>
                </a:lnTo>
                <a:lnTo>
                  <a:pt x="697" y="341"/>
                </a:lnTo>
                <a:lnTo>
                  <a:pt x="708" y="313"/>
                </a:lnTo>
                <a:lnTo>
                  <a:pt x="712" y="277"/>
                </a:lnTo>
                <a:lnTo>
                  <a:pt x="710" y="254"/>
                </a:lnTo>
                <a:lnTo>
                  <a:pt x="703" y="232"/>
                </a:lnTo>
                <a:lnTo>
                  <a:pt x="691" y="211"/>
                </a:lnTo>
                <a:lnTo>
                  <a:pt x="676" y="193"/>
                </a:lnTo>
                <a:lnTo>
                  <a:pt x="657" y="178"/>
                </a:lnTo>
                <a:lnTo>
                  <a:pt x="635" y="165"/>
                </a:lnTo>
                <a:lnTo>
                  <a:pt x="608" y="157"/>
                </a:lnTo>
                <a:lnTo>
                  <a:pt x="580" y="155"/>
                </a:lnTo>
                <a:lnTo>
                  <a:pt x="551" y="157"/>
                </a:lnTo>
                <a:lnTo>
                  <a:pt x="525" y="165"/>
                </a:lnTo>
                <a:lnTo>
                  <a:pt x="504" y="178"/>
                </a:lnTo>
                <a:lnTo>
                  <a:pt x="485" y="193"/>
                </a:lnTo>
                <a:lnTo>
                  <a:pt x="469" y="211"/>
                </a:lnTo>
                <a:lnTo>
                  <a:pt x="459" y="232"/>
                </a:lnTo>
                <a:lnTo>
                  <a:pt x="451" y="254"/>
                </a:lnTo>
                <a:lnTo>
                  <a:pt x="448" y="277"/>
                </a:lnTo>
                <a:lnTo>
                  <a:pt x="449" y="300"/>
                </a:lnTo>
                <a:lnTo>
                  <a:pt x="453" y="321"/>
                </a:lnTo>
                <a:lnTo>
                  <a:pt x="460" y="340"/>
                </a:lnTo>
                <a:lnTo>
                  <a:pt x="470" y="358"/>
                </a:lnTo>
                <a:lnTo>
                  <a:pt x="477" y="366"/>
                </a:lnTo>
                <a:lnTo>
                  <a:pt x="484" y="373"/>
                </a:lnTo>
                <a:lnTo>
                  <a:pt x="493" y="379"/>
                </a:lnTo>
                <a:lnTo>
                  <a:pt x="501" y="386"/>
                </a:lnTo>
                <a:lnTo>
                  <a:pt x="512" y="392"/>
                </a:lnTo>
                <a:lnTo>
                  <a:pt x="522" y="397"/>
                </a:lnTo>
                <a:lnTo>
                  <a:pt x="532" y="401"/>
                </a:lnTo>
                <a:lnTo>
                  <a:pt x="545" y="405"/>
                </a:lnTo>
                <a:lnTo>
                  <a:pt x="545" y="527"/>
                </a:lnTo>
                <a:lnTo>
                  <a:pt x="59" y="318"/>
                </a:lnTo>
                <a:close/>
              </a:path>
            </a:pathLst>
          </a:custGeom>
          <a:solidFill>
            <a:schemeClr val="accent5"/>
          </a:solidFill>
          <a:ln>
            <a:noFill/>
          </a:ln>
        </p:spPr>
        <p:txBody>
          <a:bodyPr vert="horz" wrap="none" lIns="75268" tIns="37634" rIns="75268" bIns="37634" numCol="1" anchor="t" anchorCtr="0" compatLnSpc="1">
            <a:prstTxWarp prst="textNoShape">
              <a:avLst/>
            </a:prstTxWarp>
          </a:bodyPr>
          <a:lstStyle/>
          <a:p>
            <a:pPr defTabSz="768014"/>
            <a:endParaRPr lang="en-US" sz="1200" dirty="0">
              <a:solidFill>
                <a:srgbClr val="000000"/>
              </a:solidFill>
            </a:endParaRPr>
          </a:p>
        </p:txBody>
      </p:sp>
      <p:sp>
        <p:nvSpPr>
          <p:cNvPr id="43" name="Freeform 256"/>
          <p:cNvSpPr>
            <a:spLocks/>
          </p:cNvSpPr>
          <p:nvPr/>
        </p:nvSpPr>
        <p:spPr bwMode="gray">
          <a:xfrm>
            <a:off x="2142089" y="5315297"/>
            <a:ext cx="189935" cy="193568"/>
          </a:xfrm>
          <a:custGeom>
            <a:avLst/>
            <a:gdLst>
              <a:gd name="T0" fmla="*/ 121 w 1142"/>
              <a:gd name="T1" fmla="*/ 219 h 1141"/>
              <a:gd name="T2" fmla="*/ 234 w 1142"/>
              <a:gd name="T3" fmla="*/ 111 h 1141"/>
              <a:gd name="T4" fmla="*/ 371 w 1142"/>
              <a:gd name="T5" fmla="*/ 36 h 1141"/>
              <a:gd name="T6" fmla="*/ 529 w 1142"/>
              <a:gd name="T7" fmla="*/ 1 h 1141"/>
              <a:gd name="T8" fmla="*/ 741 w 1142"/>
              <a:gd name="T9" fmla="*/ 26 h 1141"/>
              <a:gd name="T10" fmla="*/ 935 w 1142"/>
              <a:gd name="T11" fmla="*/ 131 h 1141"/>
              <a:gd name="T12" fmla="*/ 1073 w 1142"/>
              <a:gd name="T13" fmla="*/ 300 h 1141"/>
              <a:gd name="T14" fmla="*/ 1139 w 1142"/>
              <a:gd name="T15" fmla="*/ 513 h 1141"/>
              <a:gd name="T16" fmla="*/ 1117 w 1142"/>
              <a:gd name="T17" fmla="*/ 741 h 1141"/>
              <a:gd name="T18" fmla="*/ 1012 w 1142"/>
              <a:gd name="T19" fmla="*/ 934 h 1141"/>
              <a:gd name="T20" fmla="*/ 842 w 1142"/>
              <a:gd name="T21" fmla="*/ 1072 h 1141"/>
              <a:gd name="T22" fmla="*/ 629 w 1142"/>
              <a:gd name="T23" fmla="*/ 1138 h 1141"/>
              <a:gd name="T24" fmla="*/ 401 w 1142"/>
              <a:gd name="T25" fmla="*/ 1116 h 1141"/>
              <a:gd name="T26" fmla="*/ 207 w 1142"/>
              <a:gd name="T27" fmla="*/ 1011 h 1141"/>
              <a:gd name="T28" fmla="*/ 69 w 1142"/>
              <a:gd name="T29" fmla="*/ 843 h 1141"/>
              <a:gd name="T30" fmla="*/ 3 w 1142"/>
              <a:gd name="T31" fmla="*/ 630 h 1141"/>
              <a:gd name="T32" fmla="*/ 9 w 1142"/>
              <a:gd name="T33" fmla="*/ 472 h 1141"/>
              <a:gd name="T34" fmla="*/ 46 w 1142"/>
              <a:gd name="T35" fmla="*/ 347 h 1141"/>
              <a:gd name="T36" fmla="*/ 527 w 1142"/>
              <a:gd name="T37" fmla="*/ 907 h 1141"/>
              <a:gd name="T38" fmla="*/ 460 w 1142"/>
              <a:gd name="T39" fmla="*/ 891 h 1141"/>
              <a:gd name="T40" fmla="*/ 400 w 1142"/>
              <a:gd name="T41" fmla="*/ 854 h 1141"/>
              <a:gd name="T42" fmla="*/ 342 w 1142"/>
              <a:gd name="T43" fmla="*/ 799 h 1141"/>
              <a:gd name="T44" fmla="*/ 340 w 1142"/>
              <a:gd name="T45" fmla="*/ 722 h 1141"/>
              <a:gd name="T46" fmla="*/ 330 w 1142"/>
              <a:gd name="T47" fmla="*/ 696 h 1141"/>
              <a:gd name="T48" fmla="*/ 250 w 1142"/>
              <a:gd name="T49" fmla="*/ 655 h 1141"/>
              <a:gd name="T50" fmla="*/ 195 w 1142"/>
              <a:gd name="T51" fmla="*/ 638 h 1141"/>
              <a:gd name="T52" fmla="*/ 184 w 1142"/>
              <a:gd name="T53" fmla="*/ 784 h 1141"/>
              <a:gd name="T54" fmla="*/ 200 w 1142"/>
              <a:gd name="T55" fmla="*/ 805 h 1141"/>
              <a:gd name="T56" fmla="*/ 281 w 1142"/>
              <a:gd name="T57" fmla="*/ 837 h 1141"/>
              <a:gd name="T58" fmla="*/ 356 w 1142"/>
              <a:gd name="T59" fmla="*/ 906 h 1141"/>
              <a:gd name="T60" fmla="*/ 449 w 1142"/>
              <a:gd name="T61" fmla="*/ 959 h 1141"/>
              <a:gd name="T62" fmla="*/ 553 w 1142"/>
              <a:gd name="T63" fmla="*/ 986 h 1141"/>
              <a:gd name="T64" fmla="*/ 659 w 1142"/>
              <a:gd name="T65" fmla="*/ 976 h 1141"/>
              <a:gd name="T66" fmla="*/ 761 w 1142"/>
              <a:gd name="T67" fmla="*/ 935 h 1141"/>
              <a:gd name="T68" fmla="*/ 847 w 1142"/>
              <a:gd name="T69" fmla="*/ 873 h 1141"/>
              <a:gd name="T70" fmla="*/ 909 w 1142"/>
              <a:gd name="T71" fmla="*/ 799 h 1141"/>
              <a:gd name="T72" fmla="*/ 975 w 1142"/>
              <a:gd name="T73" fmla="*/ 805 h 1141"/>
              <a:gd name="T74" fmla="*/ 977 w 1142"/>
              <a:gd name="T75" fmla="*/ 693 h 1141"/>
              <a:gd name="T76" fmla="*/ 948 w 1142"/>
              <a:gd name="T77" fmla="*/ 641 h 1141"/>
              <a:gd name="T78" fmla="*/ 870 w 1142"/>
              <a:gd name="T79" fmla="*/ 675 h 1141"/>
              <a:gd name="T80" fmla="*/ 817 w 1142"/>
              <a:gd name="T81" fmla="*/ 711 h 1141"/>
              <a:gd name="T82" fmla="*/ 849 w 1142"/>
              <a:gd name="T83" fmla="*/ 764 h 1141"/>
              <a:gd name="T84" fmla="*/ 792 w 1142"/>
              <a:gd name="T85" fmla="*/ 829 h 1141"/>
              <a:gd name="T86" fmla="*/ 733 w 1142"/>
              <a:gd name="T87" fmla="*/ 875 h 1141"/>
              <a:gd name="T88" fmla="*/ 668 w 1142"/>
              <a:gd name="T89" fmla="*/ 903 h 1141"/>
              <a:gd name="T90" fmla="*/ 615 w 1142"/>
              <a:gd name="T91" fmla="*/ 405 h 1141"/>
              <a:gd name="T92" fmla="*/ 664 w 1142"/>
              <a:gd name="T93" fmla="*/ 381 h 1141"/>
              <a:gd name="T94" fmla="*/ 712 w 1142"/>
              <a:gd name="T95" fmla="*/ 277 h 1141"/>
              <a:gd name="T96" fmla="*/ 676 w 1142"/>
              <a:gd name="T97" fmla="*/ 193 h 1141"/>
              <a:gd name="T98" fmla="*/ 580 w 1142"/>
              <a:gd name="T99" fmla="*/ 155 h 1141"/>
              <a:gd name="T100" fmla="*/ 485 w 1142"/>
              <a:gd name="T101" fmla="*/ 193 h 1141"/>
              <a:gd name="T102" fmla="*/ 448 w 1142"/>
              <a:gd name="T103" fmla="*/ 277 h 1141"/>
              <a:gd name="T104" fmla="*/ 470 w 1142"/>
              <a:gd name="T105" fmla="*/ 358 h 1141"/>
              <a:gd name="T106" fmla="*/ 501 w 1142"/>
              <a:gd name="T107" fmla="*/ 386 h 1141"/>
              <a:gd name="T108" fmla="*/ 545 w 1142"/>
              <a:gd name="T109" fmla="*/ 405 h 1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2" h="1141">
                <a:moveTo>
                  <a:pt x="59" y="318"/>
                </a:moveTo>
                <a:lnTo>
                  <a:pt x="77" y="284"/>
                </a:lnTo>
                <a:lnTo>
                  <a:pt x="98" y="250"/>
                </a:lnTo>
                <a:lnTo>
                  <a:pt x="121" y="219"/>
                </a:lnTo>
                <a:lnTo>
                  <a:pt x="146" y="189"/>
                </a:lnTo>
                <a:lnTo>
                  <a:pt x="174" y="161"/>
                </a:lnTo>
                <a:lnTo>
                  <a:pt x="203" y="135"/>
                </a:lnTo>
                <a:lnTo>
                  <a:pt x="234" y="111"/>
                </a:lnTo>
                <a:lnTo>
                  <a:pt x="266" y="88"/>
                </a:lnTo>
                <a:lnTo>
                  <a:pt x="300" y="68"/>
                </a:lnTo>
                <a:lnTo>
                  <a:pt x="335" y="51"/>
                </a:lnTo>
                <a:lnTo>
                  <a:pt x="371" y="36"/>
                </a:lnTo>
                <a:lnTo>
                  <a:pt x="409" y="23"/>
                </a:lnTo>
                <a:lnTo>
                  <a:pt x="448" y="13"/>
                </a:lnTo>
                <a:lnTo>
                  <a:pt x="489" y="6"/>
                </a:lnTo>
                <a:lnTo>
                  <a:pt x="529" y="1"/>
                </a:lnTo>
                <a:lnTo>
                  <a:pt x="570" y="0"/>
                </a:lnTo>
                <a:lnTo>
                  <a:pt x="629" y="4"/>
                </a:lnTo>
                <a:lnTo>
                  <a:pt x="686" y="12"/>
                </a:lnTo>
                <a:lnTo>
                  <a:pt x="741" y="26"/>
                </a:lnTo>
                <a:lnTo>
                  <a:pt x="793" y="45"/>
                </a:lnTo>
                <a:lnTo>
                  <a:pt x="842" y="69"/>
                </a:lnTo>
                <a:lnTo>
                  <a:pt x="890" y="98"/>
                </a:lnTo>
                <a:lnTo>
                  <a:pt x="935" y="131"/>
                </a:lnTo>
                <a:lnTo>
                  <a:pt x="975" y="167"/>
                </a:lnTo>
                <a:lnTo>
                  <a:pt x="1012" y="208"/>
                </a:lnTo>
                <a:lnTo>
                  <a:pt x="1044" y="253"/>
                </a:lnTo>
                <a:lnTo>
                  <a:pt x="1073" y="300"/>
                </a:lnTo>
                <a:lnTo>
                  <a:pt x="1097" y="350"/>
                </a:lnTo>
                <a:lnTo>
                  <a:pt x="1117" y="401"/>
                </a:lnTo>
                <a:lnTo>
                  <a:pt x="1131" y="457"/>
                </a:lnTo>
                <a:lnTo>
                  <a:pt x="1139" y="513"/>
                </a:lnTo>
                <a:lnTo>
                  <a:pt x="1142" y="572"/>
                </a:lnTo>
                <a:lnTo>
                  <a:pt x="1139" y="630"/>
                </a:lnTo>
                <a:lnTo>
                  <a:pt x="1131" y="686"/>
                </a:lnTo>
                <a:lnTo>
                  <a:pt x="1117" y="741"/>
                </a:lnTo>
                <a:lnTo>
                  <a:pt x="1097" y="793"/>
                </a:lnTo>
                <a:lnTo>
                  <a:pt x="1073" y="843"/>
                </a:lnTo>
                <a:lnTo>
                  <a:pt x="1044" y="890"/>
                </a:lnTo>
                <a:lnTo>
                  <a:pt x="1012" y="934"/>
                </a:lnTo>
                <a:lnTo>
                  <a:pt x="975" y="974"/>
                </a:lnTo>
                <a:lnTo>
                  <a:pt x="935" y="1011"/>
                </a:lnTo>
                <a:lnTo>
                  <a:pt x="890" y="1043"/>
                </a:lnTo>
                <a:lnTo>
                  <a:pt x="842" y="1072"/>
                </a:lnTo>
                <a:lnTo>
                  <a:pt x="793" y="1096"/>
                </a:lnTo>
                <a:lnTo>
                  <a:pt x="741" y="1116"/>
                </a:lnTo>
                <a:lnTo>
                  <a:pt x="686" y="1130"/>
                </a:lnTo>
                <a:lnTo>
                  <a:pt x="629" y="1138"/>
                </a:lnTo>
                <a:lnTo>
                  <a:pt x="570" y="1141"/>
                </a:lnTo>
                <a:lnTo>
                  <a:pt x="512" y="1138"/>
                </a:lnTo>
                <a:lnTo>
                  <a:pt x="455" y="1130"/>
                </a:lnTo>
                <a:lnTo>
                  <a:pt x="401" y="1116"/>
                </a:lnTo>
                <a:lnTo>
                  <a:pt x="348" y="1096"/>
                </a:lnTo>
                <a:lnTo>
                  <a:pt x="298" y="1072"/>
                </a:lnTo>
                <a:lnTo>
                  <a:pt x="251" y="1043"/>
                </a:lnTo>
                <a:lnTo>
                  <a:pt x="207" y="1011"/>
                </a:lnTo>
                <a:lnTo>
                  <a:pt x="167" y="974"/>
                </a:lnTo>
                <a:lnTo>
                  <a:pt x="130" y="934"/>
                </a:lnTo>
                <a:lnTo>
                  <a:pt x="98" y="890"/>
                </a:lnTo>
                <a:lnTo>
                  <a:pt x="69" y="843"/>
                </a:lnTo>
                <a:lnTo>
                  <a:pt x="45" y="793"/>
                </a:lnTo>
                <a:lnTo>
                  <a:pt x="25" y="741"/>
                </a:lnTo>
                <a:lnTo>
                  <a:pt x="11" y="686"/>
                </a:lnTo>
                <a:lnTo>
                  <a:pt x="3" y="630"/>
                </a:lnTo>
                <a:lnTo>
                  <a:pt x="0" y="572"/>
                </a:lnTo>
                <a:lnTo>
                  <a:pt x="1" y="539"/>
                </a:lnTo>
                <a:lnTo>
                  <a:pt x="3" y="505"/>
                </a:lnTo>
                <a:lnTo>
                  <a:pt x="9" y="472"/>
                </a:lnTo>
                <a:lnTo>
                  <a:pt x="16" y="439"/>
                </a:lnTo>
                <a:lnTo>
                  <a:pt x="24" y="408"/>
                </a:lnTo>
                <a:lnTo>
                  <a:pt x="35" y="377"/>
                </a:lnTo>
                <a:lnTo>
                  <a:pt x="46" y="347"/>
                </a:lnTo>
                <a:lnTo>
                  <a:pt x="59" y="318"/>
                </a:lnTo>
                <a:lnTo>
                  <a:pt x="545" y="527"/>
                </a:lnTo>
                <a:lnTo>
                  <a:pt x="545" y="908"/>
                </a:lnTo>
                <a:lnTo>
                  <a:pt x="527" y="907"/>
                </a:lnTo>
                <a:lnTo>
                  <a:pt x="509" y="906"/>
                </a:lnTo>
                <a:lnTo>
                  <a:pt x="492" y="903"/>
                </a:lnTo>
                <a:lnTo>
                  <a:pt x="476" y="897"/>
                </a:lnTo>
                <a:lnTo>
                  <a:pt x="460" y="891"/>
                </a:lnTo>
                <a:lnTo>
                  <a:pt x="444" y="884"/>
                </a:lnTo>
                <a:lnTo>
                  <a:pt x="429" y="875"/>
                </a:lnTo>
                <a:lnTo>
                  <a:pt x="414" y="865"/>
                </a:lnTo>
                <a:lnTo>
                  <a:pt x="400" y="854"/>
                </a:lnTo>
                <a:lnTo>
                  <a:pt x="385" y="842"/>
                </a:lnTo>
                <a:lnTo>
                  <a:pt x="370" y="829"/>
                </a:lnTo>
                <a:lnTo>
                  <a:pt x="356" y="814"/>
                </a:lnTo>
                <a:lnTo>
                  <a:pt x="342" y="799"/>
                </a:lnTo>
                <a:lnTo>
                  <a:pt x="327" y="782"/>
                </a:lnTo>
                <a:lnTo>
                  <a:pt x="313" y="764"/>
                </a:lnTo>
                <a:lnTo>
                  <a:pt x="298" y="746"/>
                </a:lnTo>
                <a:lnTo>
                  <a:pt x="340" y="722"/>
                </a:lnTo>
                <a:lnTo>
                  <a:pt x="346" y="716"/>
                </a:lnTo>
                <a:lnTo>
                  <a:pt x="346" y="711"/>
                </a:lnTo>
                <a:lnTo>
                  <a:pt x="340" y="706"/>
                </a:lnTo>
                <a:lnTo>
                  <a:pt x="330" y="696"/>
                </a:lnTo>
                <a:lnTo>
                  <a:pt x="312" y="686"/>
                </a:lnTo>
                <a:lnTo>
                  <a:pt x="293" y="675"/>
                </a:lnTo>
                <a:lnTo>
                  <a:pt x="271" y="664"/>
                </a:lnTo>
                <a:lnTo>
                  <a:pt x="250" y="655"/>
                </a:lnTo>
                <a:lnTo>
                  <a:pt x="230" y="647"/>
                </a:lnTo>
                <a:lnTo>
                  <a:pt x="213" y="641"/>
                </a:lnTo>
                <a:lnTo>
                  <a:pt x="202" y="638"/>
                </a:lnTo>
                <a:lnTo>
                  <a:pt x="195" y="638"/>
                </a:lnTo>
                <a:lnTo>
                  <a:pt x="190" y="655"/>
                </a:lnTo>
                <a:lnTo>
                  <a:pt x="185" y="693"/>
                </a:lnTo>
                <a:lnTo>
                  <a:pt x="183" y="740"/>
                </a:lnTo>
                <a:lnTo>
                  <a:pt x="184" y="784"/>
                </a:lnTo>
                <a:lnTo>
                  <a:pt x="185" y="797"/>
                </a:lnTo>
                <a:lnTo>
                  <a:pt x="188" y="805"/>
                </a:lnTo>
                <a:lnTo>
                  <a:pt x="192" y="808"/>
                </a:lnTo>
                <a:lnTo>
                  <a:pt x="200" y="805"/>
                </a:lnTo>
                <a:lnTo>
                  <a:pt x="243" y="781"/>
                </a:lnTo>
                <a:lnTo>
                  <a:pt x="253" y="799"/>
                </a:lnTo>
                <a:lnTo>
                  <a:pt x="266" y="819"/>
                </a:lnTo>
                <a:lnTo>
                  <a:pt x="281" y="837"/>
                </a:lnTo>
                <a:lnTo>
                  <a:pt x="297" y="855"/>
                </a:lnTo>
                <a:lnTo>
                  <a:pt x="316" y="873"/>
                </a:lnTo>
                <a:lnTo>
                  <a:pt x="335" y="890"/>
                </a:lnTo>
                <a:lnTo>
                  <a:pt x="356" y="906"/>
                </a:lnTo>
                <a:lnTo>
                  <a:pt x="378" y="921"/>
                </a:lnTo>
                <a:lnTo>
                  <a:pt x="401" y="935"/>
                </a:lnTo>
                <a:lnTo>
                  <a:pt x="425" y="948"/>
                </a:lnTo>
                <a:lnTo>
                  <a:pt x="449" y="959"/>
                </a:lnTo>
                <a:lnTo>
                  <a:pt x="475" y="968"/>
                </a:lnTo>
                <a:lnTo>
                  <a:pt x="501" y="976"/>
                </a:lnTo>
                <a:lnTo>
                  <a:pt x="527" y="982"/>
                </a:lnTo>
                <a:lnTo>
                  <a:pt x="553" y="986"/>
                </a:lnTo>
                <a:lnTo>
                  <a:pt x="580" y="987"/>
                </a:lnTo>
                <a:lnTo>
                  <a:pt x="606" y="986"/>
                </a:lnTo>
                <a:lnTo>
                  <a:pt x="633" y="982"/>
                </a:lnTo>
                <a:lnTo>
                  <a:pt x="659" y="976"/>
                </a:lnTo>
                <a:lnTo>
                  <a:pt x="686" y="968"/>
                </a:lnTo>
                <a:lnTo>
                  <a:pt x="712" y="959"/>
                </a:lnTo>
                <a:lnTo>
                  <a:pt x="736" y="948"/>
                </a:lnTo>
                <a:lnTo>
                  <a:pt x="761" y="935"/>
                </a:lnTo>
                <a:lnTo>
                  <a:pt x="785" y="921"/>
                </a:lnTo>
                <a:lnTo>
                  <a:pt x="807" y="906"/>
                </a:lnTo>
                <a:lnTo>
                  <a:pt x="827" y="890"/>
                </a:lnTo>
                <a:lnTo>
                  <a:pt x="847" y="873"/>
                </a:lnTo>
                <a:lnTo>
                  <a:pt x="865" y="855"/>
                </a:lnTo>
                <a:lnTo>
                  <a:pt x="882" y="837"/>
                </a:lnTo>
                <a:lnTo>
                  <a:pt x="897" y="819"/>
                </a:lnTo>
                <a:lnTo>
                  <a:pt x="909" y="799"/>
                </a:lnTo>
                <a:lnTo>
                  <a:pt x="920" y="781"/>
                </a:lnTo>
                <a:lnTo>
                  <a:pt x="962" y="805"/>
                </a:lnTo>
                <a:lnTo>
                  <a:pt x="970" y="808"/>
                </a:lnTo>
                <a:lnTo>
                  <a:pt x="975" y="805"/>
                </a:lnTo>
                <a:lnTo>
                  <a:pt x="977" y="797"/>
                </a:lnTo>
                <a:lnTo>
                  <a:pt x="978" y="784"/>
                </a:lnTo>
                <a:lnTo>
                  <a:pt x="980" y="740"/>
                </a:lnTo>
                <a:lnTo>
                  <a:pt x="977" y="693"/>
                </a:lnTo>
                <a:lnTo>
                  <a:pt x="973" y="655"/>
                </a:lnTo>
                <a:lnTo>
                  <a:pt x="968" y="638"/>
                </a:lnTo>
                <a:lnTo>
                  <a:pt x="961" y="638"/>
                </a:lnTo>
                <a:lnTo>
                  <a:pt x="948" y="641"/>
                </a:lnTo>
                <a:lnTo>
                  <a:pt x="932" y="647"/>
                </a:lnTo>
                <a:lnTo>
                  <a:pt x="913" y="655"/>
                </a:lnTo>
                <a:lnTo>
                  <a:pt x="891" y="664"/>
                </a:lnTo>
                <a:lnTo>
                  <a:pt x="870" y="675"/>
                </a:lnTo>
                <a:lnTo>
                  <a:pt x="850" y="686"/>
                </a:lnTo>
                <a:lnTo>
                  <a:pt x="833" y="696"/>
                </a:lnTo>
                <a:lnTo>
                  <a:pt x="823" y="706"/>
                </a:lnTo>
                <a:lnTo>
                  <a:pt x="817" y="711"/>
                </a:lnTo>
                <a:lnTo>
                  <a:pt x="817" y="716"/>
                </a:lnTo>
                <a:lnTo>
                  <a:pt x="823" y="722"/>
                </a:lnTo>
                <a:lnTo>
                  <a:pt x="864" y="746"/>
                </a:lnTo>
                <a:lnTo>
                  <a:pt x="849" y="764"/>
                </a:lnTo>
                <a:lnTo>
                  <a:pt x="834" y="782"/>
                </a:lnTo>
                <a:lnTo>
                  <a:pt x="821" y="799"/>
                </a:lnTo>
                <a:lnTo>
                  <a:pt x="806" y="814"/>
                </a:lnTo>
                <a:lnTo>
                  <a:pt x="792" y="829"/>
                </a:lnTo>
                <a:lnTo>
                  <a:pt x="777" y="842"/>
                </a:lnTo>
                <a:lnTo>
                  <a:pt x="763" y="854"/>
                </a:lnTo>
                <a:lnTo>
                  <a:pt x="748" y="865"/>
                </a:lnTo>
                <a:lnTo>
                  <a:pt x="733" y="875"/>
                </a:lnTo>
                <a:lnTo>
                  <a:pt x="717" y="884"/>
                </a:lnTo>
                <a:lnTo>
                  <a:pt x="702" y="891"/>
                </a:lnTo>
                <a:lnTo>
                  <a:pt x="686" y="897"/>
                </a:lnTo>
                <a:lnTo>
                  <a:pt x="668" y="903"/>
                </a:lnTo>
                <a:lnTo>
                  <a:pt x="651" y="906"/>
                </a:lnTo>
                <a:lnTo>
                  <a:pt x="634" y="907"/>
                </a:lnTo>
                <a:lnTo>
                  <a:pt x="615" y="908"/>
                </a:lnTo>
                <a:lnTo>
                  <a:pt x="615" y="405"/>
                </a:lnTo>
                <a:lnTo>
                  <a:pt x="620" y="404"/>
                </a:lnTo>
                <a:lnTo>
                  <a:pt x="630" y="400"/>
                </a:lnTo>
                <a:lnTo>
                  <a:pt x="646" y="392"/>
                </a:lnTo>
                <a:lnTo>
                  <a:pt x="664" y="381"/>
                </a:lnTo>
                <a:lnTo>
                  <a:pt x="681" y="365"/>
                </a:lnTo>
                <a:lnTo>
                  <a:pt x="697" y="341"/>
                </a:lnTo>
                <a:lnTo>
                  <a:pt x="708" y="313"/>
                </a:lnTo>
                <a:lnTo>
                  <a:pt x="712" y="277"/>
                </a:lnTo>
                <a:lnTo>
                  <a:pt x="710" y="254"/>
                </a:lnTo>
                <a:lnTo>
                  <a:pt x="703" y="232"/>
                </a:lnTo>
                <a:lnTo>
                  <a:pt x="691" y="211"/>
                </a:lnTo>
                <a:lnTo>
                  <a:pt x="676" y="193"/>
                </a:lnTo>
                <a:lnTo>
                  <a:pt x="657" y="178"/>
                </a:lnTo>
                <a:lnTo>
                  <a:pt x="635" y="165"/>
                </a:lnTo>
                <a:lnTo>
                  <a:pt x="608" y="157"/>
                </a:lnTo>
                <a:lnTo>
                  <a:pt x="580" y="155"/>
                </a:lnTo>
                <a:lnTo>
                  <a:pt x="551" y="157"/>
                </a:lnTo>
                <a:lnTo>
                  <a:pt x="525" y="165"/>
                </a:lnTo>
                <a:lnTo>
                  <a:pt x="504" y="178"/>
                </a:lnTo>
                <a:lnTo>
                  <a:pt x="485" y="193"/>
                </a:lnTo>
                <a:lnTo>
                  <a:pt x="469" y="211"/>
                </a:lnTo>
                <a:lnTo>
                  <a:pt x="459" y="232"/>
                </a:lnTo>
                <a:lnTo>
                  <a:pt x="451" y="254"/>
                </a:lnTo>
                <a:lnTo>
                  <a:pt x="448" y="277"/>
                </a:lnTo>
                <a:lnTo>
                  <a:pt x="449" y="300"/>
                </a:lnTo>
                <a:lnTo>
                  <a:pt x="453" y="321"/>
                </a:lnTo>
                <a:lnTo>
                  <a:pt x="460" y="340"/>
                </a:lnTo>
                <a:lnTo>
                  <a:pt x="470" y="358"/>
                </a:lnTo>
                <a:lnTo>
                  <a:pt x="477" y="366"/>
                </a:lnTo>
                <a:lnTo>
                  <a:pt x="484" y="373"/>
                </a:lnTo>
                <a:lnTo>
                  <a:pt x="493" y="379"/>
                </a:lnTo>
                <a:lnTo>
                  <a:pt x="501" y="386"/>
                </a:lnTo>
                <a:lnTo>
                  <a:pt x="512" y="392"/>
                </a:lnTo>
                <a:lnTo>
                  <a:pt x="522" y="397"/>
                </a:lnTo>
                <a:lnTo>
                  <a:pt x="532" y="401"/>
                </a:lnTo>
                <a:lnTo>
                  <a:pt x="545" y="405"/>
                </a:lnTo>
                <a:lnTo>
                  <a:pt x="545" y="527"/>
                </a:lnTo>
                <a:lnTo>
                  <a:pt x="59" y="318"/>
                </a:lnTo>
                <a:close/>
              </a:path>
            </a:pathLst>
          </a:custGeom>
          <a:solidFill>
            <a:schemeClr val="accent5"/>
          </a:solidFill>
          <a:ln>
            <a:noFill/>
          </a:ln>
        </p:spPr>
        <p:txBody>
          <a:bodyPr vert="horz" wrap="none" lIns="75268" tIns="37634" rIns="75268" bIns="37634" numCol="1" anchor="t" anchorCtr="0" compatLnSpc="1">
            <a:prstTxWarp prst="textNoShape">
              <a:avLst/>
            </a:prstTxWarp>
          </a:bodyPr>
          <a:lstStyle/>
          <a:p>
            <a:pPr defTabSz="768014"/>
            <a:endParaRPr lang="en-US" sz="1200" dirty="0">
              <a:solidFill>
                <a:srgbClr val="000000"/>
              </a:solidFill>
            </a:endParaRPr>
          </a:p>
        </p:txBody>
      </p:sp>
      <p:sp>
        <p:nvSpPr>
          <p:cNvPr id="65" name="Rectangle 28723"/>
          <p:cNvSpPr txBox="1"/>
          <p:nvPr/>
        </p:nvSpPr>
        <p:spPr>
          <a:xfrm>
            <a:off x="179512" y="4291235"/>
            <a:ext cx="1052512" cy="36933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a:t>Food </a:t>
            </a:r>
          </a:p>
          <a:p>
            <a:pPr algn="ctr"/>
            <a:r>
              <a:rPr lang="en-US" sz="1200" b="1" dirty="0"/>
              <a:t>Grains</a:t>
            </a:r>
          </a:p>
        </p:txBody>
      </p:sp>
      <p:sp>
        <p:nvSpPr>
          <p:cNvPr id="66" name="Rectangle 28723"/>
          <p:cNvSpPr txBox="1"/>
          <p:nvPr/>
        </p:nvSpPr>
        <p:spPr>
          <a:xfrm>
            <a:off x="2795360" y="4341097"/>
            <a:ext cx="1052512"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a:t>Steel</a:t>
            </a:r>
          </a:p>
        </p:txBody>
      </p:sp>
      <p:sp>
        <p:nvSpPr>
          <p:cNvPr id="67" name="Rectangle 28723"/>
          <p:cNvSpPr txBox="1"/>
          <p:nvPr/>
        </p:nvSpPr>
        <p:spPr>
          <a:xfrm>
            <a:off x="251520" y="3571155"/>
            <a:ext cx="869845"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a:t>Cement</a:t>
            </a:r>
          </a:p>
        </p:txBody>
      </p:sp>
      <p:sp>
        <p:nvSpPr>
          <p:cNvPr id="76" name="Freeform 256"/>
          <p:cNvSpPr>
            <a:spLocks/>
          </p:cNvSpPr>
          <p:nvPr/>
        </p:nvSpPr>
        <p:spPr bwMode="gray">
          <a:xfrm>
            <a:off x="1763688" y="5105779"/>
            <a:ext cx="189935" cy="193568"/>
          </a:xfrm>
          <a:custGeom>
            <a:avLst/>
            <a:gdLst>
              <a:gd name="T0" fmla="*/ 121 w 1142"/>
              <a:gd name="T1" fmla="*/ 219 h 1141"/>
              <a:gd name="T2" fmla="*/ 234 w 1142"/>
              <a:gd name="T3" fmla="*/ 111 h 1141"/>
              <a:gd name="T4" fmla="*/ 371 w 1142"/>
              <a:gd name="T5" fmla="*/ 36 h 1141"/>
              <a:gd name="T6" fmla="*/ 529 w 1142"/>
              <a:gd name="T7" fmla="*/ 1 h 1141"/>
              <a:gd name="T8" fmla="*/ 741 w 1142"/>
              <a:gd name="T9" fmla="*/ 26 h 1141"/>
              <a:gd name="T10" fmla="*/ 935 w 1142"/>
              <a:gd name="T11" fmla="*/ 131 h 1141"/>
              <a:gd name="T12" fmla="*/ 1073 w 1142"/>
              <a:gd name="T13" fmla="*/ 300 h 1141"/>
              <a:gd name="T14" fmla="*/ 1139 w 1142"/>
              <a:gd name="T15" fmla="*/ 513 h 1141"/>
              <a:gd name="T16" fmla="*/ 1117 w 1142"/>
              <a:gd name="T17" fmla="*/ 741 h 1141"/>
              <a:gd name="T18" fmla="*/ 1012 w 1142"/>
              <a:gd name="T19" fmla="*/ 934 h 1141"/>
              <a:gd name="T20" fmla="*/ 842 w 1142"/>
              <a:gd name="T21" fmla="*/ 1072 h 1141"/>
              <a:gd name="T22" fmla="*/ 629 w 1142"/>
              <a:gd name="T23" fmla="*/ 1138 h 1141"/>
              <a:gd name="T24" fmla="*/ 401 w 1142"/>
              <a:gd name="T25" fmla="*/ 1116 h 1141"/>
              <a:gd name="T26" fmla="*/ 207 w 1142"/>
              <a:gd name="T27" fmla="*/ 1011 h 1141"/>
              <a:gd name="T28" fmla="*/ 69 w 1142"/>
              <a:gd name="T29" fmla="*/ 843 h 1141"/>
              <a:gd name="T30" fmla="*/ 3 w 1142"/>
              <a:gd name="T31" fmla="*/ 630 h 1141"/>
              <a:gd name="T32" fmla="*/ 9 w 1142"/>
              <a:gd name="T33" fmla="*/ 472 h 1141"/>
              <a:gd name="T34" fmla="*/ 46 w 1142"/>
              <a:gd name="T35" fmla="*/ 347 h 1141"/>
              <a:gd name="T36" fmla="*/ 527 w 1142"/>
              <a:gd name="T37" fmla="*/ 907 h 1141"/>
              <a:gd name="T38" fmla="*/ 460 w 1142"/>
              <a:gd name="T39" fmla="*/ 891 h 1141"/>
              <a:gd name="T40" fmla="*/ 400 w 1142"/>
              <a:gd name="T41" fmla="*/ 854 h 1141"/>
              <a:gd name="T42" fmla="*/ 342 w 1142"/>
              <a:gd name="T43" fmla="*/ 799 h 1141"/>
              <a:gd name="T44" fmla="*/ 340 w 1142"/>
              <a:gd name="T45" fmla="*/ 722 h 1141"/>
              <a:gd name="T46" fmla="*/ 330 w 1142"/>
              <a:gd name="T47" fmla="*/ 696 h 1141"/>
              <a:gd name="T48" fmla="*/ 250 w 1142"/>
              <a:gd name="T49" fmla="*/ 655 h 1141"/>
              <a:gd name="T50" fmla="*/ 195 w 1142"/>
              <a:gd name="T51" fmla="*/ 638 h 1141"/>
              <a:gd name="T52" fmla="*/ 184 w 1142"/>
              <a:gd name="T53" fmla="*/ 784 h 1141"/>
              <a:gd name="T54" fmla="*/ 200 w 1142"/>
              <a:gd name="T55" fmla="*/ 805 h 1141"/>
              <a:gd name="T56" fmla="*/ 281 w 1142"/>
              <a:gd name="T57" fmla="*/ 837 h 1141"/>
              <a:gd name="T58" fmla="*/ 356 w 1142"/>
              <a:gd name="T59" fmla="*/ 906 h 1141"/>
              <a:gd name="T60" fmla="*/ 449 w 1142"/>
              <a:gd name="T61" fmla="*/ 959 h 1141"/>
              <a:gd name="T62" fmla="*/ 553 w 1142"/>
              <a:gd name="T63" fmla="*/ 986 h 1141"/>
              <a:gd name="T64" fmla="*/ 659 w 1142"/>
              <a:gd name="T65" fmla="*/ 976 h 1141"/>
              <a:gd name="T66" fmla="*/ 761 w 1142"/>
              <a:gd name="T67" fmla="*/ 935 h 1141"/>
              <a:gd name="T68" fmla="*/ 847 w 1142"/>
              <a:gd name="T69" fmla="*/ 873 h 1141"/>
              <a:gd name="T70" fmla="*/ 909 w 1142"/>
              <a:gd name="T71" fmla="*/ 799 h 1141"/>
              <a:gd name="T72" fmla="*/ 975 w 1142"/>
              <a:gd name="T73" fmla="*/ 805 h 1141"/>
              <a:gd name="T74" fmla="*/ 977 w 1142"/>
              <a:gd name="T75" fmla="*/ 693 h 1141"/>
              <a:gd name="T76" fmla="*/ 948 w 1142"/>
              <a:gd name="T77" fmla="*/ 641 h 1141"/>
              <a:gd name="T78" fmla="*/ 870 w 1142"/>
              <a:gd name="T79" fmla="*/ 675 h 1141"/>
              <a:gd name="T80" fmla="*/ 817 w 1142"/>
              <a:gd name="T81" fmla="*/ 711 h 1141"/>
              <a:gd name="T82" fmla="*/ 849 w 1142"/>
              <a:gd name="T83" fmla="*/ 764 h 1141"/>
              <a:gd name="T84" fmla="*/ 792 w 1142"/>
              <a:gd name="T85" fmla="*/ 829 h 1141"/>
              <a:gd name="T86" fmla="*/ 733 w 1142"/>
              <a:gd name="T87" fmla="*/ 875 h 1141"/>
              <a:gd name="T88" fmla="*/ 668 w 1142"/>
              <a:gd name="T89" fmla="*/ 903 h 1141"/>
              <a:gd name="T90" fmla="*/ 615 w 1142"/>
              <a:gd name="T91" fmla="*/ 405 h 1141"/>
              <a:gd name="T92" fmla="*/ 664 w 1142"/>
              <a:gd name="T93" fmla="*/ 381 h 1141"/>
              <a:gd name="T94" fmla="*/ 712 w 1142"/>
              <a:gd name="T95" fmla="*/ 277 h 1141"/>
              <a:gd name="T96" fmla="*/ 676 w 1142"/>
              <a:gd name="T97" fmla="*/ 193 h 1141"/>
              <a:gd name="T98" fmla="*/ 580 w 1142"/>
              <a:gd name="T99" fmla="*/ 155 h 1141"/>
              <a:gd name="T100" fmla="*/ 485 w 1142"/>
              <a:gd name="T101" fmla="*/ 193 h 1141"/>
              <a:gd name="T102" fmla="*/ 448 w 1142"/>
              <a:gd name="T103" fmla="*/ 277 h 1141"/>
              <a:gd name="T104" fmla="*/ 470 w 1142"/>
              <a:gd name="T105" fmla="*/ 358 h 1141"/>
              <a:gd name="T106" fmla="*/ 501 w 1142"/>
              <a:gd name="T107" fmla="*/ 386 h 1141"/>
              <a:gd name="T108" fmla="*/ 545 w 1142"/>
              <a:gd name="T109" fmla="*/ 405 h 1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42" h="1141">
                <a:moveTo>
                  <a:pt x="59" y="318"/>
                </a:moveTo>
                <a:lnTo>
                  <a:pt x="77" y="284"/>
                </a:lnTo>
                <a:lnTo>
                  <a:pt x="98" y="250"/>
                </a:lnTo>
                <a:lnTo>
                  <a:pt x="121" y="219"/>
                </a:lnTo>
                <a:lnTo>
                  <a:pt x="146" y="189"/>
                </a:lnTo>
                <a:lnTo>
                  <a:pt x="174" y="161"/>
                </a:lnTo>
                <a:lnTo>
                  <a:pt x="203" y="135"/>
                </a:lnTo>
                <a:lnTo>
                  <a:pt x="234" y="111"/>
                </a:lnTo>
                <a:lnTo>
                  <a:pt x="266" y="88"/>
                </a:lnTo>
                <a:lnTo>
                  <a:pt x="300" y="68"/>
                </a:lnTo>
                <a:lnTo>
                  <a:pt x="335" y="51"/>
                </a:lnTo>
                <a:lnTo>
                  <a:pt x="371" y="36"/>
                </a:lnTo>
                <a:lnTo>
                  <a:pt x="409" y="23"/>
                </a:lnTo>
                <a:lnTo>
                  <a:pt x="448" y="13"/>
                </a:lnTo>
                <a:lnTo>
                  <a:pt x="489" y="6"/>
                </a:lnTo>
                <a:lnTo>
                  <a:pt x="529" y="1"/>
                </a:lnTo>
                <a:lnTo>
                  <a:pt x="570" y="0"/>
                </a:lnTo>
                <a:lnTo>
                  <a:pt x="629" y="4"/>
                </a:lnTo>
                <a:lnTo>
                  <a:pt x="686" y="12"/>
                </a:lnTo>
                <a:lnTo>
                  <a:pt x="741" y="26"/>
                </a:lnTo>
                <a:lnTo>
                  <a:pt x="793" y="45"/>
                </a:lnTo>
                <a:lnTo>
                  <a:pt x="842" y="69"/>
                </a:lnTo>
                <a:lnTo>
                  <a:pt x="890" y="98"/>
                </a:lnTo>
                <a:lnTo>
                  <a:pt x="935" y="131"/>
                </a:lnTo>
                <a:lnTo>
                  <a:pt x="975" y="167"/>
                </a:lnTo>
                <a:lnTo>
                  <a:pt x="1012" y="208"/>
                </a:lnTo>
                <a:lnTo>
                  <a:pt x="1044" y="253"/>
                </a:lnTo>
                <a:lnTo>
                  <a:pt x="1073" y="300"/>
                </a:lnTo>
                <a:lnTo>
                  <a:pt x="1097" y="350"/>
                </a:lnTo>
                <a:lnTo>
                  <a:pt x="1117" y="401"/>
                </a:lnTo>
                <a:lnTo>
                  <a:pt x="1131" y="457"/>
                </a:lnTo>
                <a:lnTo>
                  <a:pt x="1139" y="513"/>
                </a:lnTo>
                <a:lnTo>
                  <a:pt x="1142" y="572"/>
                </a:lnTo>
                <a:lnTo>
                  <a:pt x="1139" y="630"/>
                </a:lnTo>
                <a:lnTo>
                  <a:pt x="1131" y="686"/>
                </a:lnTo>
                <a:lnTo>
                  <a:pt x="1117" y="741"/>
                </a:lnTo>
                <a:lnTo>
                  <a:pt x="1097" y="793"/>
                </a:lnTo>
                <a:lnTo>
                  <a:pt x="1073" y="843"/>
                </a:lnTo>
                <a:lnTo>
                  <a:pt x="1044" y="890"/>
                </a:lnTo>
                <a:lnTo>
                  <a:pt x="1012" y="934"/>
                </a:lnTo>
                <a:lnTo>
                  <a:pt x="975" y="974"/>
                </a:lnTo>
                <a:lnTo>
                  <a:pt x="935" y="1011"/>
                </a:lnTo>
                <a:lnTo>
                  <a:pt x="890" y="1043"/>
                </a:lnTo>
                <a:lnTo>
                  <a:pt x="842" y="1072"/>
                </a:lnTo>
                <a:lnTo>
                  <a:pt x="793" y="1096"/>
                </a:lnTo>
                <a:lnTo>
                  <a:pt x="741" y="1116"/>
                </a:lnTo>
                <a:lnTo>
                  <a:pt x="686" y="1130"/>
                </a:lnTo>
                <a:lnTo>
                  <a:pt x="629" y="1138"/>
                </a:lnTo>
                <a:lnTo>
                  <a:pt x="570" y="1141"/>
                </a:lnTo>
                <a:lnTo>
                  <a:pt x="512" y="1138"/>
                </a:lnTo>
                <a:lnTo>
                  <a:pt x="455" y="1130"/>
                </a:lnTo>
                <a:lnTo>
                  <a:pt x="401" y="1116"/>
                </a:lnTo>
                <a:lnTo>
                  <a:pt x="348" y="1096"/>
                </a:lnTo>
                <a:lnTo>
                  <a:pt x="298" y="1072"/>
                </a:lnTo>
                <a:lnTo>
                  <a:pt x="251" y="1043"/>
                </a:lnTo>
                <a:lnTo>
                  <a:pt x="207" y="1011"/>
                </a:lnTo>
                <a:lnTo>
                  <a:pt x="167" y="974"/>
                </a:lnTo>
                <a:lnTo>
                  <a:pt x="130" y="934"/>
                </a:lnTo>
                <a:lnTo>
                  <a:pt x="98" y="890"/>
                </a:lnTo>
                <a:lnTo>
                  <a:pt x="69" y="843"/>
                </a:lnTo>
                <a:lnTo>
                  <a:pt x="45" y="793"/>
                </a:lnTo>
                <a:lnTo>
                  <a:pt x="25" y="741"/>
                </a:lnTo>
                <a:lnTo>
                  <a:pt x="11" y="686"/>
                </a:lnTo>
                <a:lnTo>
                  <a:pt x="3" y="630"/>
                </a:lnTo>
                <a:lnTo>
                  <a:pt x="0" y="572"/>
                </a:lnTo>
                <a:lnTo>
                  <a:pt x="1" y="539"/>
                </a:lnTo>
                <a:lnTo>
                  <a:pt x="3" y="505"/>
                </a:lnTo>
                <a:lnTo>
                  <a:pt x="9" y="472"/>
                </a:lnTo>
                <a:lnTo>
                  <a:pt x="16" y="439"/>
                </a:lnTo>
                <a:lnTo>
                  <a:pt x="24" y="408"/>
                </a:lnTo>
                <a:lnTo>
                  <a:pt x="35" y="377"/>
                </a:lnTo>
                <a:lnTo>
                  <a:pt x="46" y="347"/>
                </a:lnTo>
                <a:lnTo>
                  <a:pt x="59" y="318"/>
                </a:lnTo>
                <a:lnTo>
                  <a:pt x="545" y="527"/>
                </a:lnTo>
                <a:lnTo>
                  <a:pt x="545" y="908"/>
                </a:lnTo>
                <a:lnTo>
                  <a:pt x="527" y="907"/>
                </a:lnTo>
                <a:lnTo>
                  <a:pt x="509" y="906"/>
                </a:lnTo>
                <a:lnTo>
                  <a:pt x="492" y="903"/>
                </a:lnTo>
                <a:lnTo>
                  <a:pt x="476" y="897"/>
                </a:lnTo>
                <a:lnTo>
                  <a:pt x="460" y="891"/>
                </a:lnTo>
                <a:lnTo>
                  <a:pt x="444" y="884"/>
                </a:lnTo>
                <a:lnTo>
                  <a:pt x="429" y="875"/>
                </a:lnTo>
                <a:lnTo>
                  <a:pt x="414" y="865"/>
                </a:lnTo>
                <a:lnTo>
                  <a:pt x="400" y="854"/>
                </a:lnTo>
                <a:lnTo>
                  <a:pt x="385" y="842"/>
                </a:lnTo>
                <a:lnTo>
                  <a:pt x="370" y="829"/>
                </a:lnTo>
                <a:lnTo>
                  <a:pt x="356" y="814"/>
                </a:lnTo>
                <a:lnTo>
                  <a:pt x="342" y="799"/>
                </a:lnTo>
                <a:lnTo>
                  <a:pt x="327" y="782"/>
                </a:lnTo>
                <a:lnTo>
                  <a:pt x="313" y="764"/>
                </a:lnTo>
                <a:lnTo>
                  <a:pt x="298" y="746"/>
                </a:lnTo>
                <a:lnTo>
                  <a:pt x="340" y="722"/>
                </a:lnTo>
                <a:lnTo>
                  <a:pt x="346" y="716"/>
                </a:lnTo>
                <a:lnTo>
                  <a:pt x="346" y="711"/>
                </a:lnTo>
                <a:lnTo>
                  <a:pt x="340" y="706"/>
                </a:lnTo>
                <a:lnTo>
                  <a:pt x="330" y="696"/>
                </a:lnTo>
                <a:lnTo>
                  <a:pt x="312" y="686"/>
                </a:lnTo>
                <a:lnTo>
                  <a:pt x="293" y="675"/>
                </a:lnTo>
                <a:lnTo>
                  <a:pt x="271" y="664"/>
                </a:lnTo>
                <a:lnTo>
                  <a:pt x="250" y="655"/>
                </a:lnTo>
                <a:lnTo>
                  <a:pt x="230" y="647"/>
                </a:lnTo>
                <a:lnTo>
                  <a:pt x="213" y="641"/>
                </a:lnTo>
                <a:lnTo>
                  <a:pt x="202" y="638"/>
                </a:lnTo>
                <a:lnTo>
                  <a:pt x="195" y="638"/>
                </a:lnTo>
                <a:lnTo>
                  <a:pt x="190" y="655"/>
                </a:lnTo>
                <a:lnTo>
                  <a:pt x="185" y="693"/>
                </a:lnTo>
                <a:lnTo>
                  <a:pt x="183" y="740"/>
                </a:lnTo>
                <a:lnTo>
                  <a:pt x="184" y="784"/>
                </a:lnTo>
                <a:lnTo>
                  <a:pt x="185" y="797"/>
                </a:lnTo>
                <a:lnTo>
                  <a:pt x="188" y="805"/>
                </a:lnTo>
                <a:lnTo>
                  <a:pt x="192" y="808"/>
                </a:lnTo>
                <a:lnTo>
                  <a:pt x="200" y="805"/>
                </a:lnTo>
                <a:lnTo>
                  <a:pt x="243" y="781"/>
                </a:lnTo>
                <a:lnTo>
                  <a:pt x="253" y="799"/>
                </a:lnTo>
                <a:lnTo>
                  <a:pt x="266" y="819"/>
                </a:lnTo>
                <a:lnTo>
                  <a:pt x="281" y="837"/>
                </a:lnTo>
                <a:lnTo>
                  <a:pt x="297" y="855"/>
                </a:lnTo>
                <a:lnTo>
                  <a:pt x="316" y="873"/>
                </a:lnTo>
                <a:lnTo>
                  <a:pt x="335" y="890"/>
                </a:lnTo>
                <a:lnTo>
                  <a:pt x="356" y="906"/>
                </a:lnTo>
                <a:lnTo>
                  <a:pt x="378" y="921"/>
                </a:lnTo>
                <a:lnTo>
                  <a:pt x="401" y="935"/>
                </a:lnTo>
                <a:lnTo>
                  <a:pt x="425" y="948"/>
                </a:lnTo>
                <a:lnTo>
                  <a:pt x="449" y="959"/>
                </a:lnTo>
                <a:lnTo>
                  <a:pt x="475" y="968"/>
                </a:lnTo>
                <a:lnTo>
                  <a:pt x="501" y="976"/>
                </a:lnTo>
                <a:lnTo>
                  <a:pt x="527" y="982"/>
                </a:lnTo>
                <a:lnTo>
                  <a:pt x="553" y="986"/>
                </a:lnTo>
                <a:lnTo>
                  <a:pt x="580" y="987"/>
                </a:lnTo>
                <a:lnTo>
                  <a:pt x="606" y="986"/>
                </a:lnTo>
                <a:lnTo>
                  <a:pt x="633" y="982"/>
                </a:lnTo>
                <a:lnTo>
                  <a:pt x="659" y="976"/>
                </a:lnTo>
                <a:lnTo>
                  <a:pt x="686" y="968"/>
                </a:lnTo>
                <a:lnTo>
                  <a:pt x="712" y="959"/>
                </a:lnTo>
                <a:lnTo>
                  <a:pt x="736" y="948"/>
                </a:lnTo>
                <a:lnTo>
                  <a:pt x="761" y="935"/>
                </a:lnTo>
                <a:lnTo>
                  <a:pt x="785" y="921"/>
                </a:lnTo>
                <a:lnTo>
                  <a:pt x="807" y="906"/>
                </a:lnTo>
                <a:lnTo>
                  <a:pt x="827" y="890"/>
                </a:lnTo>
                <a:lnTo>
                  <a:pt x="847" y="873"/>
                </a:lnTo>
                <a:lnTo>
                  <a:pt x="865" y="855"/>
                </a:lnTo>
                <a:lnTo>
                  <a:pt x="882" y="837"/>
                </a:lnTo>
                <a:lnTo>
                  <a:pt x="897" y="819"/>
                </a:lnTo>
                <a:lnTo>
                  <a:pt x="909" y="799"/>
                </a:lnTo>
                <a:lnTo>
                  <a:pt x="920" y="781"/>
                </a:lnTo>
                <a:lnTo>
                  <a:pt x="962" y="805"/>
                </a:lnTo>
                <a:lnTo>
                  <a:pt x="970" y="808"/>
                </a:lnTo>
                <a:lnTo>
                  <a:pt x="975" y="805"/>
                </a:lnTo>
                <a:lnTo>
                  <a:pt x="977" y="797"/>
                </a:lnTo>
                <a:lnTo>
                  <a:pt x="978" y="784"/>
                </a:lnTo>
                <a:lnTo>
                  <a:pt x="980" y="740"/>
                </a:lnTo>
                <a:lnTo>
                  <a:pt x="977" y="693"/>
                </a:lnTo>
                <a:lnTo>
                  <a:pt x="973" y="655"/>
                </a:lnTo>
                <a:lnTo>
                  <a:pt x="968" y="638"/>
                </a:lnTo>
                <a:lnTo>
                  <a:pt x="961" y="638"/>
                </a:lnTo>
                <a:lnTo>
                  <a:pt x="948" y="641"/>
                </a:lnTo>
                <a:lnTo>
                  <a:pt x="932" y="647"/>
                </a:lnTo>
                <a:lnTo>
                  <a:pt x="913" y="655"/>
                </a:lnTo>
                <a:lnTo>
                  <a:pt x="891" y="664"/>
                </a:lnTo>
                <a:lnTo>
                  <a:pt x="870" y="675"/>
                </a:lnTo>
                <a:lnTo>
                  <a:pt x="850" y="686"/>
                </a:lnTo>
                <a:lnTo>
                  <a:pt x="833" y="696"/>
                </a:lnTo>
                <a:lnTo>
                  <a:pt x="823" y="706"/>
                </a:lnTo>
                <a:lnTo>
                  <a:pt x="817" y="711"/>
                </a:lnTo>
                <a:lnTo>
                  <a:pt x="817" y="716"/>
                </a:lnTo>
                <a:lnTo>
                  <a:pt x="823" y="722"/>
                </a:lnTo>
                <a:lnTo>
                  <a:pt x="864" y="746"/>
                </a:lnTo>
                <a:lnTo>
                  <a:pt x="849" y="764"/>
                </a:lnTo>
                <a:lnTo>
                  <a:pt x="834" y="782"/>
                </a:lnTo>
                <a:lnTo>
                  <a:pt x="821" y="799"/>
                </a:lnTo>
                <a:lnTo>
                  <a:pt x="806" y="814"/>
                </a:lnTo>
                <a:lnTo>
                  <a:pt x="792" y="829"/>
                </a:lnTo>
                <a:lnTo>
                  <a:pt x="777" y="842"/>
                </a:lnTo>
                <a:lnTo>
                  <a:pt x="763" y="854"/>
                </a:lnTo>
                <a:lnTo>
                  <a:pt x="748" y="865"/>
                </a:lnTo>
                <a:lnTo>
                  <a:pt x="733" y="875"/>
                </a:lnTo>
                <a:lnTo>
                  <a:pt x="717" y="884"/>
                </a:lnTo>
                <a:lnTo>
                  <a:pt x="702" y="891"/>
                </a:lnTo>
                <a:lnTo>
                  <a:pt x="686" y="897"/>
                </a:lnTo>
                <a:lnTo>
                  <a:pt x="668" y="903"/>
                </a:lnTo>
                <a:lnTo>
                  <a:pt x="651" y="906"/>
                </a:lnTo>
                <a:lnTo>
                  <a:pt x="634" y="907"/>
                </a:lnTo>
                <a:lnTo>
                  <a:pt x="615" y="908"/>
                </a:lnTo>
                <a:lnTo>
                  <a:pt x="615" y="405"/>
                </a:lnTo>
                <a:lnTo>
                  <a:pt x="620" y="404"/>
                </a:lnTo>
                <a:lnTo>
                  <a:pt x="630" y="400"/>
                </a:lnTo>
                <a:lnTo>
                  <a:pt x="646" y="392"/>
                </a:lnTo>
                <a:lnTo>
                  <a:pt x="664" y="381"/>
                </a:lnTo>
                <a:lnTo>
                  <a:pt x="681" y="365"/>
                </a:lnTo>
                <a:lnTo>
                  <a:pt x="697" y="341"/>
                </a:lnTo>
                <a:lnTo>
                  <a:pt x="708" y="313"/>
                </a:lnTo>
                <a:lnTo>
                  <a:pt x="712" y="277"/>
                </a:lnTo>
                <a:lnTo>
                  <a:pt x="710" y="254"/>
                </a:lnTo>
                <a:lnTo>
                  <a:pt x="703" y="232"/>
                </a:lnTo>
                <a:lnTo>
                  <a:pt x="691" y="211"/>
                </a:lnTo>
                <a:lnTo>
                  <a:pt x="676" y="193"/>
                </a:lnTo>
                <a:lnTo>
                  <a:pt x="657" y="178"/>
                </a:lnTo>
                <a:lnTo>
                  <a:pt x="635" y="165"/>
                </a:lnTo>
                <a:lnTo>
                  <a:pt x="608" y="157"/>
                </a:lnTo>
                <a:lnTo>
                  <a:pt x="580" y="155"/>
                </a:lnTo>
                <a:lnTo>
                  <a:pt x="551" y="157"/>
                </a:lnTo>
                <a:lnTo>
                  <a:pt x="525" y="165"/>
                </a:lnTo>
                <a:lnTo>
                  <a:pt x="504" y="178"/>
                </a:lnTo>
                <a:lnTo>
                  <a:pt x="485" y="193"/>
                </a:lnTo>
                <a:lnTo>
                  <a:pt x="469" y="211"/>
                </a:lnTo>
                <a:lnTo>
                  <a:pt x="459" y="232"/>
                </a:lnTo>
                <a:lnTo>
                  <a:pt x="451" y="254"/>
                </a:lnTo>
                <a:lnTo>
                  <a:pt x="448" y="277"/>
                </a:lnTo>
                <a:lnTo>
                  <a:pt x="449" y="300"/>
                </a:lnTo>
                <a:lnTo>
                  <a:pt x="453" y="321"/>
                </a:lnTo>
                <a:lnTo>
                  <a:pt x="460" y="340"/>
                </a:lnTo>
                <a:lnTo>
                  <a:pt x="470" y="358"/>
                </a:lnTo>
                <a:lnTo>
                  <a:pt x="477" y="366"/>
                </a:lnTo>
                <a:lnTo>
                  <a:pt x="484" y="373"/>
                </a:lnTo>
                <a:lnTo>
                  <a:pt x="493" y="379"/>
                </a:lnTo>
                <a:lnTo>
                  <a:pt x="501" y="386"/>
                </a:lnTo>
                <a:lnTo>
                  <a:pt x="512" y="392"/>
                </a:lnTo>
                <a:lnTo>
                  <a:pt x="522" y="397"/>
                </a:lnTo>
                <a:lnTo>
                  <a:pt x="532" y="401"/>
                </a:lnTo>
                <a:lnTo>
                  <a:pt x="545" y="405"/>
                </a:lnTo>
                <a:lnTo>
                  <a:pt x="545" y="527"/>
                </a:lnTo>
                <a:lnTo>
                  <a:pt x="59" y="318"/>
                </a:lnTo>
                <a:close/>
              </a:path>
            </a:pathLst>
          </a:custGeom>
          <a:solidFill>
            <a:schemeClr val="accent5"/>
          </a:solidFill>
          <a:ln>
            <a:noFill/>
          </a:ln>
        </p:spPr>
        <p:txBody>
          <a:bodyPr vert="horz" wrap="none" lIns="75268" tIns="37634" rIns="75268" bIns="37634" numCol="1" anchor="t" anchorCtr="0" compatLnSpc="1">
            <a:prstTxWarp prst="textNoShape">
              <a:avLst/>
            </a:prstTxWarp>
          </a:bodyPr>
          <a:lstStyle/>
          <a:p>
            <a:pPr defTabSz="768014"/>
            <a:endParaRPr lang="en-US" sz="1200" dirty="0">
              <a:solidFill>
                <a:srgbClr val="000000"/>
              </a:solidFill>
            </a:endParaRPr>
          </a:p>
        </p:txBody>
      </p:sp>
      <p:sp>
        <p:nvSpPr>
          <p:cNvPr id="91" name="Rectangle 28723"/>
          <p:cNvSpPr txBox="1"/>
          <p:nvPr/>
        </p:nvSpPr>
        <p:spPr>
          <a:xfrm>
            <a:off x="3317063" y="3425774"/>
            <a:ext cx="1052512"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a:t>Coal</a:t>
            </a:r>
          </a:p>
        </p:txBody>
      </p:sp>
      <p:cxnSp>
        <p:nvCxnSpPr>
          <p:cNvPr id="92" name="Straight Arrow Connector 91"/>
          <p:cNvCxnSpPr/>
          <p:nvPr/>
        </p:nvCxnSpPr>
        <p:spPr>
          <a:xfrm flipH="1">
            <a:off x="404997" y="2987933"/>
            <a:ext cx="239145" cy="108036"/>
          </a:xfrm>
          <a:prstGeom prst="straightConnector1">
            <a:avLst/>
          </a:prstGeom>
          <a:ln w="28575">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97" name="Curved Connector 96"/>
          <p:cNvCxnSpPr/>
          <p:nvPr/>
        </p:nvCxnSpPr>
        <p:spPr>
          <a:xfrm rot="16200000" flipH="1">
            <a:off x="200987" y="3238398"/>
            <a:ext cx="797895" cy="599314"/>
          </a:xfrm>
          <a:prstGeom prst="curvedConnector3">
            <a:avLst>
              <a:gd name="adj1" fmla="val 9757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01" name="Curved Connector 100"/>
          <p:cNvCxnSpPr/>
          <p:nvPr/>
        </p:nvCxnSpPr>
        <p:spPr>
          <a:xfrm rot="16200000" flipH="1">
            <a:off x="-83539" y="3502309"/>
            <a:ext cx="1613047" cy="972920"/>
          </a:xfrm>
          <a:prstGeom prst="curvedConnector3">
            <a:avLst>
              <a:gd name="adj1" fmla="val 103479"/>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Curved Connector 104"/>
          <p:cNvCxnSpPr/>
          <p:nvPr/>
        </p:nvCxnSpPr>
        <p:spPr>
          <a:xfrm rot="5400000">
            <a:off x="2580954" y="4670309"/>
            <a:ext cx="793900" cy="256691"/>
          </a:xfrm>
          <a:prstGeom prst="curvedConnector3">
            <a:avLst>
              <a:gd name="adj1" fmla="val 97810"/>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Curved Connector 118"/>
          <p:cNvCxnSpPr/>
          <p:nvPr/>
        </p:nvCxnSpPr>
        <p:spPr>
          <a:xfrm rot="5400000">
            <a:off x="2065903" y="4751551"/>
            <a:ext cx="1364501" cy="915740"/>
          </a:xfrm>
          <a:prstGeom prst="curvedConnector3">
            <a:avLst>
              <a:gd name="adj1" fmla="val 103105"/>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122" name="Rectangle 28723"/>
          <p:cNvSpPr txBox="1"/>
          <p:nvPr/>
        </p:nvSpPr>
        <p:spPr>
          <a:xfrm>
            <a:off x="2896509" y="5558668"/>
            <a:ext cx="869845"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a:r>
              <a:rPr lang="en-US" sz="1200" b="1" dirty="0"/>
              <a:t>Fertilizer</a:t>
            </a:r>
          </a:p>
        </p:txBody>
      </p:sp>
    </p:spTree>
    <p:extLst>
      <p:ext uri="{BB962C8B-B14F-4D97-AF65-F5344CB8AC3E}">
        <p14:creationId xmlns:p14="http://schemas.microsoft.com/office/powerpoint/2010/main" val="352595673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548680"/>
            <a:ext cx="9144000" cy="523220"/>
          </a:xfrm>
          <a:prstGeom prst="rect">
            <a:avLst/>
          </a:prstGeom>
          <a:solidFill>
            <a:schemeClr val="accent5">
              <a:lumMod val="75000"/>
              <a:alpha val="55000"/>
            </a:schemeClr>
          </a:solidFill>
        </p:spPr>
        <p:txBody>
          <a:bodyPr wrap="square" rtlCol="0">
            <a:spAutoFit/>
          </a:bodyPr>
          <a:lstStyle/>
          <a:p>
            <a:r>
              <a:rPr lang="en-US" sz="2800" b="1" dirty="0">
                <a:solidFill>
                  <a:prstClr val="white"/>
                </a:solidFill>
              </a:rPr>
              <a:t>Navigable Inland Waterways (14,000 km)</a:t>
            </a:r>
            <a:endParaRPr lang="en-IN" sz="2800" b="1" dirty="0">
              <a:solidFill>
                <a:prstClr val="white"/>
              </a:solidFill>
            </a:endParaRPr>
          </a:p>
        </p:txBody>
      </p:sp>
      <p:grpSp>
        <p:nvGrpSpPr>
          <p:cNvPr id="35" name="Group 34"/>
          <p:cNvGrpSpPr/>
          <p:nvPr/>
        </p:nvGrpSpPr>
        <p:grpSpPr>
          <a:xfrm>
            <a:off x="-36511" y="1213264"/>
            <a:ext cx="4989512" cy="4806536"/>
            <a:chOff x="2070529" y="990335"/>
            <a:chExt cx="4650446" cy="5052813"/>
          </a:xfrm>
        </p:grpSpPr>
        <p:grpSp>
          <p:nvGrpSpPr>
            <p:cNvPr id="36" name="Group 35"/>
            <p:cNvGrpSpPr>
              <a:grpSpLocks/>
            </p:cNvGrpSpPr>
            <p:nvPr/>
          </p:nvGrpSpPr>
          <p:grpSpPr>
            <a:xfrm>
              <a:off x="3390679" y="3979214"/>
              <a:ext cx="1235229" cy="1161917"/>
              <a:chOff x="6512601" y="3799685"/>
              <a:chExt cx="1618037" cy="1474991"/>
            </a:xfrm>
          </p:grpSpPr>
          <p:sp>
            <p:nvSpPr>
              <p:cNvPr id="85" name="AP"/>
              <p:cNvSpPr>
                <a:spLocks/>
              </p:cNvSpPr>
              <p:nvPr/>
            </p:nvSpPr>
            <p:spPr bwMode="auto">
              <a:xfrm>
                <a:off x="6512601" y="3959605"/>
                <a:ext cx="1618037" cy="1315071"/>
              </a:xfrm>
              <a:custGeom>
                <a:avLst/>
                <a:gdLst>
                  <a:gd name="T0" fmla="*/ 498 w 521"/>
                  <a:gd name="T1" fmla="*/ 12 h 423"/>
                  <a:gd name="T2" fmla="*/ 472 w 521"/>
                  <a:gd name="T3" fmla="*/ 20 h 423"/>
                  <a:gd name="T4" fmla="*/ 455 w 521"/>
                  <a:gd name="T5" fmla="*/ 13 h 423"/>
                  <a:gd name="T6" fmla="*/ 443 w 521"/>
                  <a:gd name="T7" fmla="*/ 4 h 423"/>
                  <a:gd name="T8" fmla="*/ 429 w 521"/>
                  <a:gd name="T9" fmla="*/ 8 h 423"/>
                  <a:gd name="T10" fmla="*/ 423 w 521"/>
                  <a:gd name="T11" fmla="*/ 23 h 423"/>
                  <a:gd name="T12" fmla="*/ 409 w 521"/>
                  <a:gd name="T13" fmla="*/ 35 h 423"/>
                  <a:gd name="T14" fmla="*/ 404 w 521"/>
                  <a:gd name="T15" fmla="*/ 50 h 423"/>
                  <a:gd name="T16" fmla="*/ 383 w 521"/>
                  <a:gd name="T17" fmla="*/ 57 h 423"/>
                  <a:gd name="T18" fmla="*/ 370 w 521"/>
                  <a:gd name="T19" fmla="*/ 42 h 423"/>
                  <a:gd name="T20" fmla="*/ 362 w 521"/>
                  <a:gd name="T21" fmla="*/ 57 h 423"/>
                  <a:gd name="T22" fmla="*/ 357 w 521"/>
                  <a:gd name="T23" fmla="*/ 73 h 423"/>
                  <a:gd name="T24" fmla="*/ 324 w 521"/>
                  <a:gd name="T25" fmla="*/ 82 h 423"/>
                  <a:gd name="T26" fmla="*/ 270 w 521"/>
                  <a:gd name="T27" fmla="*/ 130 h 423"/>
                  <a:gd name="T28" fmla="*/ 229 w 521"/>
                  <a:gd name="T29" fmla="*/ 151 h 423"/>
                  <a:gd name="T30" fmla="*/ 156 w 521"/>
                  <a:gd name="T31" fmla="*/ 193 h 423"/>
                  <a:gd name="T32" fmla="*/ 49 w 521"/>
                  <a:gd name="T33" fmla="*/ 206 h 423"/>
                  <a:gd name="T34" fmla="*/ 19 w 521"/>
                  <a:gd name="T35" fmla="*/ 217 h 423"/>
                  <a:gd name="T36" fmla="*/ 18 w 521"/>
                  <a:gd name="T37" fmla="*/ 228 h 423"/>
                  <a:gd name="T38" fmla="*/ 24 w 521"/>
                  <a:gd name="T39" fmla="*/ 249 h 423"/>
                  <a:gd name="T40" fmla="*/ 20 w 521"/>
                  <a:gd name="T41" fmla="*/ 269 h 423"/>
                  <a:gd name="T42" fmla="*/ 2 w 521"/>
                  <a:gd name="T43" fmla="*/ 269 h 423"/>
                  <a:gd name="T44" fmla="*/ 3 w 521"/>
                  <a:gd name="T45" fmla="*/ 285 h 423"/>
                  <a:gd name="T46" fmla="*/ 13 w 521"/>
                  <a:gd name="T47" fmla="*/ 305 h 423"/>
                  <a:gd name="T48" fmla="*/ 16 w 521"/>
                  <a:gd name="T49" fmla="*/ 319 h 423"/>
                  <a:gd name="T50" fmla="*/ 33 w 521"/>
                  <a:gd name="T51" fmla="*/ 313 h 423"/>
                  <a:gd name="T52" fmla="*/ 44 w 521"/>
                  <a:gd name="T53" fmla="*/ 315 h 423"/>
                  <a:gd name="T54" fmla="*/ 44 w 521"/>
                  <a:gd name="T55" fmla="*/ 338 h 423"/>
                  <a:gd name="T56" fmla="*/ 31 w 521"/>
                  <a:gd name="T57" fmla="*/ 334 h 423"/>
                  <a:gd name="T58" fmla="*/ 17 w 521"/>
                  <a:gd name="T59" fmla="*/ 323 h 423"/>
                  <a:gd name="T60" fmla="*/ 19 w 521"/>
                  <a:gd name="T61" fmla="*/ 340 h 423"/>
                  <a:gd name="T62" fmla="*/ 22 w 521"/>
                  <a:gd name="T63" fmla="*/ 351 h 423"/>
                  <a:gd name="T64" fmla="*/ 28 w 521"/>
                  <a:gd name="T65" fmla="*/ 341 h 423"/>
                  <a:gd name="T66" fmla="*/ 44 w 521"/>
                  <a:gd name="T67" fmla="*/ 348 h 423"/>
                  <a:gd name="T68" fmla="*/ 62 w 521"/>
                  <a:gd name="T69" fmla="*/ 348 h 423"/>
                  <a:gd name="T70" fmla="*/ 78 w 521"/>
                  <a:gd name="T71" fmla="*/ 345 h 423"/>
                  <a:gd name="T72" fmla="*/ 92 w 521"/>
                  <a:gd name="T73" fmla="*/ 357 h 423"/>
                  <a:gd name="T74" fmla="*/ 113 w 521"/>
                  <a:gd name="T75" fmla="*/ 382 h 423"/>
                  <a:gd name="T76" fmla="*/ 109 w 521"/>
                  <a:gd name="T77" fmla="*/ 401 h 423"/>
                  <a:gd name="T78" fmla="*/ 96 w 521"/>
                  <a:gd name="T79" fmla="*/ 419 h 423"/>
                  <a:gd name="T80" fmla="*/ 119 w 521"/>
                  <a:gd name="T81" fmla="*/ 411 h 423"/>
                  <a:gd name="T82" fmla="*/ 143 w 521"/>
                  <a:gd name="T83" fmla="*/ 397 h 423"/>
                  <a:gd name="T84" fmla="*/ 168 w 521"/>
                  <a:gd name="T85" fmla="*/ 391 h 423"/>
                  <a:gd name="T86" fmla="*/ 178 w 521"/>
                  <a:gd name="T87" fmla="*/ 377 h 423"/>
                  <a:gd name="T88" fmla="*/ 196 w 521"/>
                  <a:gd name="T89" fmla="*/ 382 h 423"/>
                  <a:gd name="T90" fmla="*/ 215 w 521"/>
                  <a:gd name="T91" fmla="*/ 364 h 423"/>
                  <a:gd name="T92" fmla="*/ 216 w 521"/>
                  <a:gd name="T93" fmla="*/ 362 h 423"/>
                  <a:gd name="T94" fmla="*/ 227 w 521"/>
                  <a:gd name="T95" fmla="*/ 355 h 423"/>
                  <a:gd name="T96" fmla="*/ 214 w 521"/>
                  <a:gd name="T97" fmla="*/ 268 h 423"/>
                  <a:gd name="T98" fmla="*/ 237 w 521"/>
                  <a:gd name="T99" fmla="*/ 218 h 423"/>
                  <a:gd name="T100" fmla="*/ 265 w 521"/>
                  <a:gd name="T101" fmla="*/ 223 h 423"/>
                  <a:gd name="T102" fmla="*/ 277 w 521"/>
                  <a:gd name="T103" fmla="*/ 219 h 423"/>
                  <a:gd name="T104" fmla="*/ 295 w 521"/>
                  <a:gd name="T105" fmla="*/ 183 h 423"/>
                  <a:gd name="T106" fmla="*/ 318 w 521"/>
                  <a:gd name="T107" fmla="*/ 183 h 423"/>
                  <a:gd name="T108" fmla="*/ 322 w 521"/>
                  <a:gd name="T109" fmla="*/ 181 h 423"/>
                  <a:gd name="T110" fmla="*/ 350 w 521"/>
                  <a:gd name="T111" fmla="*/ 172 h 423"/>
                  <a:gd name="T112" fmla="*/ 361 w 521"/>
                  <a:gd name="T113" fmla="*/ 166 h 423"/>
                  <a:gd name="T114" fmla="*/ 365 w 521"/>
                  <a:gd name="T115" fmla="*/ 149 h 423"/>
                  <a:gd name="T116" fmla="*/ 357 w 521"/>
                  <a:gd name="T117" fmla="*/ 146 h 423"/>
                  <a:gd name="T118" fmla="*/ 419 w 521"/>
                  <a:gd name="T119" fmla="*/ 101 h 423"/>
                  <a:gd name="T120" fmla="*/ 439 w 521"/>
                  <a:gd name="T121" fmla="*/ 80 h 423"/>
                  <a:gd name="T122" fmla="*/ 480 w 521"/>
                  <a:gd name="T123" fmla="*/ 50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21" h="423">
                    <a:moveTo>
                      <a:pt x="519" y="3"/>
                    </a:moveTo>
                    <a:cubicBezTo>
                      <a:pt x="518" y="3"/>
                      <a:pt x="518" y="3"/>
                      <a:pt x="518" y="3"/>
                    </a:cubicBezTo>
                    <a:cubicBezTo>
                      <a:pt x="517" y="2"/>
                      <a:pt x="517" y="2"/>
                      <a:pt x="517" y="2"/>
                    </a:cubicBezTo>
                    <a:cubicBezTo>
                      <a:pt x="517" y="2"/>
                      <a:pt x="517" y="2"/>
                      <a:pt x="517" y="2"/>
                    </a:cubicBezTo>
                    <a:cubicBezTo>
                      <a:pt x="516" y="2"/>
                      <a:pt x="516" y="2"/>
                      <a:pt x="516" y="2"/>
                    </a:cubicBezTo>
                    <a:cubicBezTo>
                      <a:pt x="515" y="2"/>
                      <a:pt x="515" y="2"/>
                      <a:pt x="515" y="2"/>
                    </a:cubicBezTo>
                    <a:cubicBezTo>
                      <a:pt x="515" y="2"/>
                      <a:pt x="515" y="2"/>
                      <a:pt x="515" y="2"/>
                    </a:cubicBezTo>
                    <a:cubicBezTo>
                      <a:pt x="514" y="2"/>
                      <a:pt x="514" y="2"/>
                      <a:pt x="514" y="2"/>
                    </a:cubicBezTo>
                    <a:cubicBezTo>
                      <a:pt x="514" y="2"/>
                      <a:pt x="514" y="2"/>
                      <a:pt x="514" y="2"/>
                    </a:cubicBezTo>
                    <a:cubicBezTo>
                      <a:pt x="513" y="2"/>
                      <a:pt x="513" y="2"/>
                      <a:pt x="513" y="2"/>
                    </a:cubicBezTo>
                    <a:cubicBezTo>
                      <a:pt x="513" y="2"/>
                      <a:pt x="513" y="2"/>
                      <a:pt x="513" y="2"/>
                    </a:cubicBezTo>
                    <a:cubicBezTo>
                      <a:pt x="512" y="3"/>
                      <a:pt x="512" y="3"/>
                      <a:pt x="512" y="3"/>
                    </a:cubicBezTo>
                    <a:cubicBezTo>
                      <a:pt x="512" y="4"/>
                      <a:pt x="512" y="4"/>
                      <a:pt x="512" y="4"/>
                    </a:cubicBezTo>
                    <a:cubicBezTo>
                      <a:pt x="512" y="4"/>
                      <a:pt x="512" y="4"/>
                      <a:pt x="512" y="4"/>
                    </a:cubicBezTo>
                    <a:cubicBezTo>
                      <a:pt x="511" y="5"/>
                      <a:pt x="511" y="5"/>
                      <a:pt x="511" y="5"/>
                    </a:cubicBezTo>
                    <a:cubicBezTo>
                      <a:pt x="511" y="5"/>
                      <a:pt x="511" y="5"/>
                      <a:pt x="511" y="5"/>
                    </a:cubicBezTo>
                    <a:cubicBezTo>
                      <a:pt x="510" y="6"/>
                      <a:pt x="510" y="6"/>
                      <a:pt x="510" y="6"/>
                    </a:cubicBezTo>
                    <a:cubicBezTo>
                      <a:pt x="509" y="6"/>
                      <a:pt x="509" y="6"/>
                      <a:pt x="509" y="6"/>
                    </a:cubicBezTo>
                    <a:cubicBezTo>
                      <a:pt x="509" y="6"/>
                      <a:pt x="509" y="6"/>
                      <a:pt x="509" y="6"/>
                    </a:cubicBezTo>
                    <a:cubicBezTo>
                      <a:pt x="508" y="5"/>
                      <a:pt x="508" y="5"/>
                      <a:pt x="508" y="5"/>
                    </a:cubicBezTo>
                    <a:cubicBezTo>
                      <a:pt x="508" y="5"/>
                      <a:pt x="508" y="5"/>
                      <a:pt x="508" y="5"/>
                    </a:cubicBezTo>
                    <a:cubicBezTo>
                      <a:pt x="507" y="5"/>
                      <a:pt x="507" y="5"/>
                      <a:pt x="507" y="5"/>
                    </a:cubicBezTo>
                    <a:cubicBezTo>
                      <a:pt x="507" y="4"/>
                      <a:pt x="507" y="4"/>
                      <a:pt x="507" y="4"/>
                    </a:cubicBezTo>
                    <a:cubicBezTo>
                      <a:pt x="506" y="4"/>
                      <a:pt x="506" y="4"/>
                      <a:pt x="506" y="4"/>
                    </a:cubicBezTo>
                    <a:cubicBezTo>
                      <a:pt x="506" y="4"/>
                      <a:pt x="506" y="4"/>
                      <a:pt x="506" y="4"/>
                    </a:cubicBezTo>
                    <a:cubicBezTo>
                      <a:pt x="506" y="4"/>
                      <a:pt x="506" y="4"/>
                      <a:pt x="506" y="4"/>
                    </a:cubicBezTo>
                    <a:cubicBezTo>
                      <a:pt x="505" y="5"/>
                      <a:pt x="505" y="5"/>
                      <a:pt x="505" y="5"/>
                    </a:cubicBezTo>
                    <a:cubicBezTo>
                      <a:pt x="502" y="9"/>
                      <a:pt x="502" y="9"/>
                      <a:pt x="502" y="9"/>
                    </a:cubicBezTo>
                    <a:cubicBezTo>
                      <a:pt x="501" y="10"/>
                      <a:pt x="501" y="10"/>
                      <a:pt x="501" y="10"/>
                    </a:cubicBezTo>
                    <a:cubicBezTo>
                      <a:pt x="501" y="10"/>
                      <a:pt x="501" y="10"/>
                      <a:pt x="501" y="10"/>
                    </a:cubicBezTo>
                    <a:cubicBezTo>
                      <a:pt x="500" y="10"/>
                      <a:pt x="500" y="10"/>
                      <a:pt x="500" y="10"/>
                    </a:cubicBezTo>
                    <a:cubicBezTo>
                      <a:pt x="500" y="10"/>
                      <a:pt x="500" y="10"/>
                      <a:pt x="500" y="10"/>
                    </a:cubicBezTo>
                    <a:cubicBezTo>
                      <a:pt x="499" y="10"/>
                      <a:pt x="499" y="10"/>
                      <a:pt x="499" y="10"/>
                    </a:cubicBezTo>
                    <a:cubicBezTo>
                      <a:pt x="499" y="10"/>
                      <a:pt x="499" y="10"/>
                      <a:pt x="499" y="10"/>
                    </a:cubicBezTo>
                    <a:cubicBezTo>
                      <a:pt x="499" y="9"/>
                      <a:pt x="499" y="9"/>
                      <a:pt x="499" y="9"/>
                    </a:cubicBezTo>
                    <a:cubicBezTo>
                      <a:pt x="498" y="9"/>
                      <a:pt x="498" y="9"/>
                      <a:pt x="498" y="9"/>
                    </a:cubicBezTo>
                    <a:cubicBezTo>
                      <a:pt x="498" y="9"/>
                      <a:pt x="498" y="9"/>
                      <a:pt x="498" y="9"/>
                    </a:cubicBezTo>
                    <a:cubicBezTo>
                      <a:pt x="498" y="9"/>
                      <a:pt x="498" y="9"/>
                      <a:pt x="498" y="9"/>
                    </a:cubicBezTo>
                    <a:cubicBezTo>
                      <a:pt x="498" y="10"/>
                      <a:pt x="498" y="10"/>
                      <a:pt x="498" y="10"/>
                    </a:cubicBezTo>
                    <a:cubicBezTo>
                      <a:pt x="498" y="11"/>
                      <a:pt x="498" y="11"/>
                      <a:pt x="498" y="11"/>
                    </a:cubicBezTo>
                    <a:cubicBezTo>
                      <a:pt x="498" y="12"/>
                      <a:pt x="498" y="12"/>
                      <a:pt x="498" y="12"/>
                    </a:cubicBezTo>
                    <a:cubicBezTo>
                      <a:pt x="498" y="12"/>
                      <a:pt x="498" y="12"/>
                      <a:pt x="498" y="12"/>
                    </a:cubicBezTo>
                    <a:cubicBezTo>
                      <a:pt x="498" y="13"/>
                      <a:pt x="498" y="13"/>
                      <a:pt x="498" y="13"/>
                    </a:cubicBezTo>
                    <a:cubicBezTo>
                      <a:pt x="498" y="14"/>
                      <a:pt x="498" y="14"/>
                      <a:pt x="498" y="14"/>
                    </a:cubicBezTo>
                    <a:cubicBezTo>
                      <a:pt x="496" y="17"/>
                      <a:pt x="496" y="17"/>
                      <a:pt x="496" y="17"/>
                    </a:cubicBezTo>
                    <a:cubicBezTo>
                      <a:pt x="495" y="19"/>
                      <a:pt x="495" y="19"/>
                      <a:pt x="495" y="19"/>
                    </a:cubicBezTo>
                    <a:cubicBezTo>
                      <a:pt x="494" y="19"/>
                      <a:pt x="494" y="19"/>
                      <a:pt x="494" y="19"/>
                    </a:cubicBezTo>
                    <a:cubicBezTo>
                      <a:pt x="493" y="20"/>
                      <a:pt x="493" y="20"/>
                      <a:pt x="493" y="20"/>
                    </a:cubicBezTo>
                    <a:cubicBezTo>
                      <a:pt x="493" y="20"/>
                      <a:pt x="493" y="20"/>
                      <a:pt x="493" y="20"/>
                    </a:cubicBezTo>
                    <a:cubicBezTo>
                      <a:pt x="492" y="21"/>
                      <a:pt x="492" y="21"/>
                      <a:pt x="492" y="21"/>
                    </a:cubicBezTo>
                    <a:cubicBezTo>
                      <a:pt x="492" y="21"/>
                      <a:pt x="492" y="21"/>
                      <a:pt x="492" y="21"/>
                    </a:cubicBezTo>
                    <a:cubicBezTo>
                      <a:pt x="492" y="21"/>
                      <a:pt x="492" y="21"/>
                      <a:pt x="492" y="21"/>
                    </a:cubicBezTo>
                    <a:cubicBezTo>
                      <a:pt x="491" y="22"/>
                      <a:pt x="491" y="22"/>
                      <a:pt x="491" y="22"/>
                    </a:cubicBezTo>
                    <a:cubicBezTo>
                      <a:pt x="491" y="22"/>
                      <a:pt x="491" y="22"/>
                      <a:pt x="491" y="22"/>
                    </a:cubicBezTo>
                    <a:cubicBezTo>
                      <a:pt x="491" y="22"/>
                      <a:pt x="491" y="22"/>
                      <a:pt x="491" y="22"/>
                    </a:cubicBezTo>
                    <a:cubicBezTo>
                      <a:pt x="490" y="22"/>
                      <a:pt x="490" y="22"/>
                      <a:pt x="490" y="22"/>
                    </a:cubicBezTo>
                    <a:cubicBezTo>
                      <a:pt x="490" y="23"/>
                      <a:pt x="490" y="23"/>
                      <a:pt x="490" y="23"/>
                    </a:cubicBezTo>
                    <a:cubicBezTo>
                      <a:pt x="490" y="23"/>
                      <a:pt x="490" y="23"/>
                      <a:pt x="490" y="23"/>
                    </a:cubicBezTo>
                    <a:cubicBezTo>
                      <a:pt x="489" y="23"/>
                      <a:pt x="489" y="23"/>
                      <a:pt x="489" y="23"/>
                    </a:cubicBezTo>
                    <a:cubicBezTo>
                      <a:pt x="489" y="23"/>
                      <a:pt x="489" y="23"/>
                      <a:pt x="489" y="23"/>
                    </a:cubicBezTo>
                    <a:cubicBezTo>
                      <a:pt x="488" y="23"/>
                      <a:pt x="488" y="23"/>
                      <a:pt x="488" y="23"/>
                    </a:cubicBezTo>
                    <a:cubicBezTo>
                      <a:pt x="488" y="23"/>
                      <a:pt x="488" y="23"/>
                      <a:pt x="488" y="23"/>
                    </a:cubicBezTo>
                    <a:cubicBezTo>
                      <a:pt x="487" y="22"/>
                      <a:pt x="487" y="22"/>
                      <a:pt x="487" y="22"/>
                    </a:cubicBezTo>
                    <a:cubicBezTo>
                      <a:pt x="487" y="22"/>
                      <a:pt x="487" y="22"/>
                      <a:pt x="487" y="22"/>
                    </a:cubicBezTo>
                    <a:cubicBezTo>
                      <a:pt x="486" y="22"/>
                      <a:pt x="486" y="22"/>
                      <a:pt x="486" y="22"/>
                    </a:cubicBezTo>
                    <a:cubicBezTo>
                      <a:pt x="485" y="22"/>
                      <a:pt x="485" y="22"/>
                      <a:pt x="485" y="22"/>
                    </a:cubicBezTo>
                    <a:cubicBezTo>
                      <a:pt x="484" y="22"/>
                      <a:pt x="484" y="22"/>
                      <a:pt x="484" y="22"/>
                    </a:cubicBezTo>
                    <a:cubicBezTo>
                      <a:pt x="484" y="22"/>
                      <a:pt x="484" y="22"/>
                      <a:pt x="484" y="22"/>
                    </a:cubicBezTo>
                    <a:cubicBezTo>
                      <a:pt x="483" y="22"/>
                      <a:pt x="483" y="22"/>
                      <a:pt x="483" y="22"/>
                    </a:cubicBezTo>
                    <a:cubicBezTo>
                      <a:pt x="482" y="22"/>
                      <a:pt x="482" y="22"/>
                      <a:pt x="482" y="22"/>
                    </a:cubicBezTo>
                    <a:cubicBezTo>
                      <a:pt x="480" y="23"/>
                      <a:pt x="480" y="23"/>
                      <a:pt x="480" y="23"/>
                    </a:cubicBezTo>
                    <a:cubicBezTo>
                      <a:pt x="478" y="23"/>
                      <a:pt x="478" y="23"/>
                      <a:pt x="478" y="23"/>
                    </a:cubicBezTo>
                    <a:cubicBezTo>
                      <a:pt x="478" y="24"/>
                      <a:pt x="478" y="24"/>
                      <a:pt x="478" y="24"/>
                    </a:cubicBezTo>
                    <a:cubicBezTo>
                      <a:pt x="477" y="24"/>
                      <a:pt x="477" y="24"/>
                      <a:pt x="477" y="24"/>
                    </a:cubicBezTo>
                    <a:cubicBezTo>
                      <a:pt x="476" y="24"/>
                      <a:pt x="476" y="24"/>
                      <a:pt x="476" y="24"/>
                    </a:cubicBezTo>
                    <a:cubicBezTo>
                      <a:pt x="476" y="24"/>
                      <a:pt x="476" y="24"/>
                      <a:pt x="476" y="24"/>
                    </a:cubicBezTo>
                    <a:cubicBezTo>
                      <a:pt x="475" y="24"/>
                      <a:pt x="475" y="24"/>
                      <a:pt x="475" y="24"/>
                    </a:cubicBezTo>
                    <a:cubicBezTo>
                      <a:pt x="474" y="24"/>
                      <a:pt x="474" y="24"/>
                      <a:pt x="474" y="24"/>
                    </a:cubicBezTo>
                    <a:cubicBezTo>
                      <a:pt x="474" y="23"/>
                      <a:pt x="474" y="23"/>
                      <a:pt x="474" y="23"/>
                    </a:cubicBezTo>
                    <a:cubicBezTo>
                      <a:pt x="474" y="23"/>
                      <a:pt x="474" y="23"/>
                      <a:pt x="474" y="23"/>
                    </a:cubicBezTo>
                    <a:cubicBezTo>
                      <a:pt x="473" y="22"/>
                      <a:pt x="473" y="22"/>
                      <a:pt x="473" y="22"/>
                    </a:cubicBezTo>
                    <a:cubicBezTo>
                      <a:pt x="473" y="21"/>
                      <a:pt x="473" y="21"/>
                      <a:pt x="473" y="21"/>
                    </a:cubicBezTo>
                    <a:cubicBezTo>
                      <a:pt x="472" y="21"/>
                      <a:pt x="472" y="21"/>
                      <a:pt x="472" y="21"/>
                    </a:cubicBezTo>
                    <a:cubicBezTo>
                      <a:pt x="472" y="20"/>
                      <a:pt x="472" y="20"/>
                      <a:pt x="472" y="20"/>
                    </a:cubicBezTo>
                    <a:cubicBezTo>
                      <a:pt x="471" y="20"/>
                      <a:pt x="471" y="20"/>
                      <a:pt x="471" y="20"/>
                    </a:cubicBezTo>
                    <a:cubicBezTo>
                      <a:pt x="470" y="20"/>
                      <a:pt x="470" y="20"/>
                      <a:pt x="470" y="20"/>
                    </a:cubicBezTo>
                    <a:cubicBezTo>
                      <a:pt x="469" y="20"/>
                      <a:pt x="469" y="20"/>
                      <a:pt x="469" y="20"/>
                    </a:cubicBezTo>
                    <a:cubicBezTo>
                      <a:pt x="468" y="21"/>
                      <a:pt x="468" y="21"/>
                      <a:pt x="468" y="21"/>
                    </a:cubicBezTo>
                    <a:cubicBezTo>
                      <a:pt x="468" y="21"/>
                      <a:pt x="468" y="21"/>
                      <a:pt x="468" y="21"/>
                    </a:cubicBezTo>
                    <a:cubicBezTo>
                      <a:pt x="467" y="21"/>
                      <a:pt x="467" y="21"/>
                      <a:pt x="467" y="21"/>
                    </a:cubicBezTo>
                    <a:cubicBezTo>
                      <a:pt x="466" y="22"/>
                      <a:pt x="466" y="22"/>
                      <a:pt x="466" y="22"/>
                    </a:cubicBezTo>
                    <a:cubicBezTo>
                      <a:pt x="465" y="22"/>
                      <a:pt x="465" y="22"/>
                      <a:pt x="465" y="22"/>
                    </a:cubicBezTo>
                    <a:cubicBezTo>
                      <a:pt x="465" y="22"/>
                      <a:pt x="465" y="22"/>
                      <a:pt x="465" y="22"/>
                    </a:cubicBezTo>
                    <a:cubicBezTo>
                      <a:pt x="464" y="21"/>
                      <a:pt x="464" y="21"/>
                      <a:pt x="464" y="21"/>
                    </a:cubicBezTo>
                    <a:cubicBezTo>
                      <a:pt x="464" y="21"/>
                      <a:pt x="464" y="21"/>
                      <a:pt x="464" y="21"/>
                    </a:cubicBezTo>
                    <a:cubicBezTo>
                      <a:pt x="463" y="20"/>
                      <a:pt x="463" y="20"/>
                      <a:pt x="463" y="20"/>
                    </a:cubicBezTo>
                    <a:cubicBezTo>
                      <a:pt x="462" y="20"/>
                      <a:pt x="462" y="20"/>
                      <a:pt x="462" y="20"/>
                    </a:cubicBezTo>
                    <a:cubicBezTo>
                      <a:pt x="462" y="19"/>
                      <a:pt x="462" y="19"/>
                      <a:pt x="462" y="19"/>
                    </a:cubicBezTo>
                    <a:cubicBezTo>
                      <a:pt x="461" y="19"/>
                      <a:pt x="461" y="19"/>
                      <a:pt x="461" y="19"/>
                    </a:cubicBezTo>
                    <a:cubicBezTo>
                      <a:pt x="461" y="19"/>
                      <a:pt x="461" y="19"/>
                      <a:pt x="461" y="19"/>
                    </a:cubicBezTo>
                    <a:cubicBezTo>
                      <a:pt x="461" y="18"/>
                      <a:pt x="461" y="18"/>
                      <a:pt x="461" y="18"/>
                    </a:cubicBezTo>
                    <a:cubicBezTo>
                      <a:pt x="461" y="18"/>
                      <a:pt x="461" y="18"/>
                      <a:pt x="461" y="18"/>
                    </a:cubicBezTo>
                    <a:cubicBezTo>
                      <a:pt x="460" y="17"/>
                      <a:pt x="460" y="17"/>
                      <a:pt x="460" y="17"/>
                    </a:cubicBezTo>
                    <a:cubicBezTo>
                      <a:pt x="460" y="17"/>
                      <a:pt x="460" y="17"/>
                      <a:pt x="460" y="17"/>
                    </a:cubicBezTo>
                    <a:cubicBezTo>
                      <a:pt x="460" y="16"/>
                      <a:pt x="460" y="16"/>
                      <a:pt x="460" y="16"/>
                    </a:cubicBezTo>
                    <a:cubicBezTo>
                      <a:pt x="459" y="14"/>
                      <a:pt x="459" y="14"/>
                      <a:pt x="459" y="14"/>
                    </a:cubicBezTo>
                    <a:cubicBezTo>
                      <a:pt x="459" y="13"/>
                      <a:pt x="459" y="13"/>
                      <a:pt x="459" y="13"/>
                    </a:cubicBezTo>
                    <a:cubicBezTo>
                      <a:pt x="459" y="12"/>
                      <a:pt x="459" y="12"/>
                      <a:pt x="459" y="12"/>
                    </a:cubicBezTo>
                    <a:cubicBezTo>
                      <a:pt x="459" y="11"/>
                      <a:pt x="459" y="11"/>
                      <a:pt x="459" y="11"/>
                    </a:cubicBezTo>
                    <a:cubicBezTo>
                      <a:pt x="458" y="11"/>
                      <a:pt x="458" y="11"/>
                      <a:pt x="458" y="11"/>
                    </a:cubicBezTo>
                    <a:cubicBezTo>
                      <a:pt x="458" y="10"/>
                      <a:pt x="458" y="10"/>
                      <a:pt x="458" y="10"/>
                    </a:cubicBezTo>
                    <a:cubicBezTo>
                      <a:pt x="458" y="9"/>
                      <a:pt x="458" y="9"/>
                      <a:pt x="458" y="9"/>
                    </a:cubicBezTo>
                    <a:cubicBezTo>
                      <a:pt x="457" y="9"/>
                      <a:pt x="457" y="9"/>
                      <a:pt x="457" y="9"/>
                    </a:cubicBezTo>
                    <a:cubicBezTo>
                      <a:pt x="457" y="8"/>
                      <a:pt x="457" y="8"/>
                      <a:pt x="457" y="8"/>
                    </a:cubicBezTo>
                    <a:cubicBezTo>
                      <a:pt x="457" y="8"/>
                      <a:pt x="457" y="8"/>
                      <a:pt x="457" y="8"/>
                    </a:cubicBezTo>
                    <a:cubicBezTo>
                      <a:pt x="457" y="8"/>
                      <a:pt x="457" y="8"/>
                      <a:pt x="457" y="8"/>
                    </a:cubicBezTo>
                    <a:cubicBezTo>
                      <a:pt x="457" y="7"/>
                      <a:pt x="457" y="7"/>
                      <a:pt x="457" y="7"/>
                    </a:cubicBezTo>
                    <a:cubicBezTo>
                      <a:pt x="456" y="7"/>
                      <a:pt x="456" y="7"/>
                      <a:pt x="456" y="7"/>
                    </a:cubicBezTo>
                    <a:cubicBezTo>
                      <a:pt x="456" y="8"/>
                      <a:pt x="456" y="8"/>
                      <a:pt x="456" y="8"/>
                    </a:cubicBezTo>
                    <a:cubicBezTo>
                      <a:pt x="455" y="8"/>
                      <a:pt x="455" y="8"/>
                      <a:pt x="455" y="8"/>
                    </a:cubicBezTo>
                    <a:cubicBezTo>
                      <a:pt x="455" y="9"/>
                      <a:pt x="455" y="9"/>
                      <a:pt x="455" y="9"/>
                    </a:cubicBezTo>
                    <a:cubicBezTo>
                      <a:pt x="455" y="9"/>
                      <a:pt x="455" y="9"/>
                      <a:pt x="455" y="9"/>
                    </a:cubicBezTo>
                    <a:cubicBezTo>
                      <a:pt x="455" y="11"/>
                      <a:pt x="455" y="11"/>
                      <a:pt x="455" y="11"/>
                    </a:cubicBezTo>
                    <a:cubicBezTo>
                      <a:pt x="455" y="11"/>
                      <a:pt x="455" y="11"/>
                      <a:pt x="455" y="11"/>
                    </a:cubicBezTo>
                    <a:cubicBezTo>
                      <a:pt x="455" y="12"/>
                      <a:pt x="455" y="12"/>
                      <a:pt x="455" y="12"/>
                    </a:cubicBezTo>
                    <a:cubicBezTo>
                      <a:pt x="455" y="13"/>
                      <a:pt x="455" y="13"/>
                      <a:pt x="455" y="13"/>
                    </a:cubicBezTo>
                    <a:cubicBezTo>
                      <a:pt x="455" y="13"/>
                      <a:pt x="455" y="13"/>
                      <a:pt x="455" y="13"/>
                    </a:cubicBezTo>
                    <a:cubicBezTo>
                      <a:pt x="455" y="14"/>
                      <a:pt x="455" y="14"/>
                      <a:pt x="455" y="14"/>
                    </a:cubicBezTo>
                    <a:cubicBezTo>
                      <a:pt x="455" y="14"/>
                      <a:pt x="455" y="14"/>
                      <a:pt x="455" y="14"/>
                    </a:cubicBezTo>
                    <a:cubicBezTo>
                      <a:pt x="455" y="14"/>
                      <a:pt x="455" y="14"/>
                      <a:pt x="455" y="14"/>
                    </a:cubicBezTo>
                    <a:cubicBezTo>
                      <a:pt x="454" y="14"/>
                      <a:pt x="454" y="14"/>
                      <a:pt x="454" y="14"/>
                    </a:cubicBezTo>
                    <a:cubicBezTo>
                      <a:pt x="454" y="13"/>
                      <a:pt x="454" y="13"/>
                      <a:pt x="454" y="13"/>
                    </a:cubicBezTo>
                    <a:cubicBezTo>
                      <a:pt x="453" y="12"/>
                      <a:pt x="453" y="12"/>
                      <a:pt x="453" y="12"/>
                    </a:cubicBezTo>
                    <a:cubicBezTo>
                      <a:pt x="453" y="12"/>
                      <a:pt x="453" y="12"/>
                      <a:pt x="453" y="12"/>
                    </a:cubicBezTo>
                    <a:cubicBezTo>
                      <a:pt x="453" y="11"/>
                      <a:pt x="453" y="11"/>
                      <a:pt x="453" y="11"/>
                    </a:cubicBezTo>
                    <a:cubicBezTo>
                      <a:pt x="453" y="10"/>
                      <a:pt x="453" y="10"/>
                      <a:pt x="453" y="10"/>
                    </a:cubicBezTo>
                    <a:cubicBezTo>
                      <a:pt x="452" y="10"/>
                      <a:pt x="452" y="10"/>
                      <a:pt x="452" y="10"/>
                    </a:cubicBezTo>
                    <a:cubicBezTo>
                      <a:pt x="452" y="9"/>
                      <a:pt x="452" y="9"/>
                      <a:pt x="452" y="9"/>
                    </a:cubicBezTo>
                    <a:cubicBezTo>
                      <a:pt x="452" y="8"/>
                      <a:pt x="452" y="8"/>
                      <a:pt x="452" y="8"/>
                    </a:cubicBezTo>
                    <a:cubicBezTo>
                      <a:pt x="451" y="7"/>
                      <a:pt x="451" y="7"/>
                      <a:pt x="451" y="7"/>
                    </a:cubicBezTo>
                    <a:cubicBezTo>
                      <a:pt x="451" y="6"/>
                      <a:pt x="451" y="6"/>
                      <a:pt x="451" y="6"/>
                    </a:cubicBezTo>
                    <a:cubicBezTo>
                      <a:pt x="450" y="6"/>
                      <a:pt x="450" y="6"/>
                      <a:pt x="450" y="6"/>
                    </a:cubicBezTo>
                    <a:cubicBezTo>
                      <a:pt x="450" y="6"/>
                      <a:pt x="450" y="6"/>
                      <a:pt x="450" y="6"/>
                    </a:cubicBezTo>
                    <a:cubicBezTo>
                      <a:pt x="449" y="5"/>
                      <a:pt x="449" y="5"/>
                      <a:pt x="449" y="5"/>
                    </a:cubicBezTo>
                    <a:cubicBezTo>
                      <a:pt x="449" y="5"/>
                      <a:pt x="449" y="5"/>
                      <a:pt x="449" y="5"/>
                    </a:cubicBezTo>
                    <a:cubicBezTo>
                      <a:pt x="448" y="5"/>
                      <a:pt x="448" y="5"/>
                      <a:pt x="448" y="5"/>
                    </a:cubicBezTo>
                    <a:cubicBezTo>
                      <a:pt x="448" y="4"/>
                      <a:pt x="448" y="4"/>
                      <a:pt x="448" y="4"/>
                    </a:cubicBezTo>
                    <a:cubicBezTo>
                      <a:pt x="448" y="4"/>
                      <a:pt x="448" y="4"/>
                      <a:pt x="448" y="4"/>
                    </a:cubicBezTo>
                    <a:cubicBezTo>
                      <a:pt x="448" y="3"/>
                      <a:pt x="448" y="3"/>
                      <a:pt x="448" y="3"/>
                    </a:cubicBezTo>
                    <a:cubicBezTo>
                      <a:pt x="448" y="3"/>
                      <a:pt x="448" y="3"/>
                      <a:pt x="448" y="3"/>
                    </a:cubicBezTo>
                    <a:cubicBezTo>
                      <a:pt x="447" y="2"/>
                      <a:pt x="447" y="2"/>
                      <a:pt x="447" y="2"/>
                    </a:cubicBezTo>
                    <a:cubicBezTo>
                      <a:pt x="447" y="2"/>
                      <a:pt x="447" y="2"/>
                      <a:pt x="447" y="2"/>
                    </a:cubicBezTo>
                    <a:cubicBezTo>
                      <a:pt x="447" y="2"/>
                      <a:pt x="447" y="2"/>
                      <a:pt x="447" y="2"/>
                    </a:cubicBezTo>
                    <a:cubicBezTo>
                      <a:pt x="447" y="1"/>
                      <a:pt x="447" y="1"/>
                      <a:pt x="447" y="1"/>
                    </a:cubicBezTo>
                    <a:cubicBezTo>
                      <a:pt x="447" y="0"/>
                      <a:pt x="447" y="0"/>
                      <a:pt x="447" y="0"/>
                    </a:cubicBezTo>
                    <a:cubicBezTo>
                      <a:pt x="447" y="0"/>
                      <a:pt x="447" y="0"/>
                      <a:pt x="447" y="0"/>
                    </a:cubicBezTo>
                    <a:cubicBezTo>
                      <a:pt x="446" y="0"/>
                      <a:pt x="446" y="0"/>
                      <a:pt x="446" y="0"/>
                    </a:cubicBezTo>
                    <a:cubicBezTo>
                      <a:pt x="446" y="0"/>
                      <a:pt x="446" y="0"/>
                      <a:pt x="446" y="0"/>
                    </a:cubicBezTo>
                    <a:cubicBezTo>
                      <a:pt x="446" y="0"/>
                      <a:pt x="446" y="0"/>
                      <a:pt x="446" y="0"/>
                    </a:cubicBezTo>
                    <a:cubicBezTo>
                      <a:pt x="445" y="0"/>
                      <a:pt x="445" y="0"/>
                      <a:pt x="445" y="0"/>
                    </a:cubicBezTo>
                    <a:cubicBezTo>
                      <a:pt x="445" y="1"/>
                      <a:pt x="445" y="1"/>
                      <a:pt x="445" y="1"/>
                    </a:cubicBezTo>
                    <a:cubicBezTo>
                      <a:pt x="444" y="2"/>
                      <a:pt x="444" y="2"/>
                      <a:pt x="444" y="2"/>
                    </a:cubicBezTo>
                    <a:cubicBezTo>
                      <a:pt x="444" y="2"/>
                      <a:pt x="444" y="2"/>
                      <a:pt x="444" y="2"/>
                    </a:cubicBezTo>
                    <a:cubicBezTo>
                      <a:pt x="444" y="3"/>
                      <a:pt x="444" y="3"/>
                      <a:pt x="444" y="3"/>
                    </a:cubicBezTo>
                    <a:cubicBezTo>
                      <a:pt x="443" y="3"/>
                      <a:pt x="443" y="3"/>
                      <a:pt x="443" y="3"/>
                    </a:cubicBezTo>
                    <a:cubicBezTo>
                      <a:pt x="443" y="4"/>
                      <a:pt x="443" y="4"/>
                      <a:pt x="443" y="4"/>
                    </a:cubicBezTo>
                    <a:cubicBezTo>
                      <a:pt x="443" y="4"/>
                      <a:pt x="443" y="4"/>
                      <a:pt x="443" y="4"/>
                    </a:cubicBezTo>
                    <a:cubicBezTo>
                      <a:pt x="443" y="4"/>
                      <a:pt x="443" y="4"/>
                      <a:pt x="443" y="4"/>
                    </a:cubicBezTo>
                    <a:cubicBezTo>
                      <a:pt x="442" y="4"/>
                      <a:pt x="442" y="4"/>
                      <a:pt x="442" y="4"/>
                    </a:cubicBezTo>
                    <a:cubicBezTo>
                      <a:pt x="442" y="4"/>
                      <a:pt x="442" y="4"/>
                      <a:pt x="442" y="4"/>
                    </a:cubicBezTo>
                    <a:cubicBezTo>
                      <a:pt x="442" y="4"/>
                      <a:pt x="442" y="4"/>
                      <a:pt x="442" y="4"/>
                    </a:cubicBezTo>
                    <a:cubicBezTo>
                      <a:pt x="441" y="3"/>
                      <a:pt x="441" y="3"/>
                      <a:pt x="441" y="3"/>
                    </a:cubicBezTo>
                    <a:cubicBezTo>
                      <a:pt x="441" y="3"/>
                      <a:pt x="441" y="3"/>
                      <a:pt x="441" y="3"/>
                    </a:cubicBezTo>
                    <a:cubicBezTo>
                      <a:pt x="441" y="4"/>
                      <a:pt x="441" y="4"/>
                      <a:pt x="441" y="4"/>
                    </a:cubicBezTo>
                    <a:cubicBezTo>
                      <a:pt x="441" y="4"/>
                      <a:pt x="441" y="4"/>
                      <a:pt x="441" y="4"/>
                    </a:cubicBezTo>
                    <a:cubicBezTo>
                      <a:pt x="441" y="4"/>
                      <a:pt x="441" y="4"/>
                      <a:pt x="441" y="4"/>
                    </a:cubicBezTo>
                    <a:cubicBezTo>
                      <a:pt x="441" y="5"/>
                      <a:pt x="441" y="5"/>
                      <a:pt x="441" y="5"/>
                    </a:cubicBezTo>
                    <a:cubicBezTo>
                      <a:pt x="440" y="5"/>
                      <a:pt x="440" y="5"/>
                      <a:pt x="440" y="5"/>
                    </a:cubicBezTo>
                    <a:cubicBezTo>
                      <a:pt x="440" y="6"/>
                      <a:pt x="440" y="6"/>
                      <a:pt x="440" y="6"/>
                    </a:cubicBezTo>
                    <a:cubicBezTo>
                      <a:pt x="440" y="7"/>
                      <a:pt x="440" y="7"/>
                      <a:pt x="440" y="7"/>
                    </a:cubicBezTo>
                    <a:cubicBezTo>
                      <a:pt x="440" y="8"/>
                      <a:pt x="440" y="8"/>
                      <a:pt x="440" y="8"/>
                    </a:cubicBezTo>
                    <a:cubicBezTo>
                      <a:pt x="440" y="8"/>
                      <a:pt x="440" y="8"/>
                      <a:pt x="440" y="8"/>
                    </a:cubicBezTo>
                    <a:cubicBezTo>
                      <a:pt x="440" y="9"/>
                      <a:pt x="440" y="9"/>
                      <a:pt x="440" y="9"/>
                    </a:cubicBezTo>
                    <a:cubicBezTo>
                      <a:pt x="440" y="9"/>
                      <a:pt x="440" y="9"/>
                      <a:pt x="440" y="9"/>
                    </a:cubicBezTo>
                    <a:cubicBezTo>
                      <a:pt x="439" y="9"/>
                      <a:pt x="439" y="9"/>
                      <a:pt x="439" y="9"/>
                    </a:cubicBezTo>
                    <a:cubicBezTo>
                      <a:pt x="439" y="8"/>
                      <a:pt x="439" y="8"/>
                      <a:pt x="439" y="8"/>
                    </a:cubicBezTo>
                    <a:cubicBezTo>
                      <a:pt x="438" y="7"/>
                      <a:pt x="438" y="7"/>
                      <a:pt x="438" y="7"/>
                    </a:cubicBezTo>
                    <a:cubicBezTo>
                      <a:pt x="438" y="6"/>
                      <a:pt x="438" y="6"/>
                      <a:pt x="438" y="6"/>
                    </a:cubicBezTo>
                    <a:cubicBezTo>
                      <a:pt x="438" y="6"/>
                      <a:pt x="438" y="6"/>
                      <a:pt x="438" y="6"/>
                    </a:cubicBezTo>
                    <a:cubicBezTo>
                      <a:pt x="438" y="5"/>
                      <a:pt x="438" y="5"/>
                      <a:pt x="438" y="5"/>
                    </a:cubicBezTo>
                    <a:cubicBezTo>
                      <a:pt x="438" y="4"/>
                      <a:pt x="438" y="4"/>
                      <a:pt x="438" y="4"/>
                    </a:cubicBezTo>
                    <a:cubicBezTo>
                      <a:pt x="437" y="3"/>
                      <a:pt x="437" y="3"/>
                      <a:pt x="437" y="3"/>
                    </a:cubicBezTo>
                    <a:cubicBezTo>
                      <a:pt x="437" y="3"/>
                      <a:pt x="437" y="3"/>
                      <a:pt x="437" y="3"/>
                    </a:cubicBezTo>
                    <a:cubicBezTo>
                      <a:pt x="436" y="3"/>
                      <a:pt x="436" y="3"/>
                      <a:pt x="436" y="3"/>
                    </a:cubicBezTo>
                    <a:cubicBezTo>
                      <a:pt x="436" y="4"/>
                      <a:pt x="436" y="4"/>
                      <a:pt x="436" y="4"/>
                    </a:cubicBezTo>
                    <a:cubicBezTo>
                      <a:pt x="436" y="5"/>
                      <a:pt x="436" y="5"/>
                      <a:pt x="436" y="5"/>
                    </a:cubicBezTo>
                    <a:cubicBezTo>
                      <a:pt x="436" y="5"/>
                      <a:pt x="436" y="5"/>
                      <a:pt x="436" y="5"/>
                    </a:cubicBezTo>
                    <a:cubicBezTo>
                      <a:pt x="436" y="6"/>
                      <a:pt x="436" y="6"/>
                      <a:pt x="436" y="6"/>
                    </a:cubicBezTo>
                    <a:cubicBezTo>
                      <a:pt x="436" y="6"/>
                      <a:pt x="436" y="6"/>
                      <a:pt x="436" y="6"/>
                    </a:cubicBezTo>
                    <a:cubicBezTo>
                      <a:pt x="435" y="8"/>
                      <a:pt x="435" y="8"/>
                      <a:pt x="435" y="8"/>
                    </a:cubicBezTo>
                    <a:cubicBezTo>
                      <a:pt x="435" y="9"/>
                      <a:pt x="435" y="9"/>
                      <a:pt x="435" y="9"/>
                    </a:cubicBezTo>
                    <a:cubicBezTo>
                      <a:pt x="434" y="9"/>
                      <a:pt x="434" y="9"/>
                      <a:pt x="434" y="9"/>
                    </a:cubicBezTo>
                    <a:cubicBezTo>
                      <a:pt x="433" y="10"/>
                      <a:pt x="433" y="10"/>
                      <a:pt x="433" y="10"/>
                    </a:cubicBezTo>
                    <a:cubicBezTo>
                      <a:pt x="432" y="10"/>
                      <a:pt x="432" y="10"/>
                      <a:pt x="432" y="10"/>
                    </a:cubicBezTo>
                    <a:cubicBezTo>
                      <a:pt x="431" y="10"/>
                      <a:pt x="431" y="10"/>
                      <a:pt x="431" y="10"/>
                    </a:cubicBezTo>
                    <a:cubicBezTo>
                      <a:pt x="431" y="9"/>
                      <a:pt x="431" y="9"/>
                      <a:pt x="431" y="9"/>
                    </a:cubicBezTo>
                    <a:cubicBezTo>
                      <a:pt x="430" y="9"/>
                      <a:pt x="430" y="9"/>
                      <a:pt x="430" y="9"/>
                    </a:cubicBezTo>
                    <a:cubicBezTo>
                      <a:pt x="430" y="9"/>
                      <a:pt x="430" y="9"/>
                      <a:pt x="430" y="9"/>
                    </a:cubicBezTo>
                    <a:cubicBezTo>
                      <a:pt x="429" y="8"/>
                      <a:pt x="429" y="8"/>
                      <a:pt x="429" y="8"/>
                    </a:cubicBezTo>
                    <a:cubicBezTo>
                      <a:pt x="429" y="8"/>
                      <a:pt x="429" y="8"/>
                      <a:pt x="429" y="8"/>
                    </a:cubicBezTo>
                    <a:cubicBezTo>
                      <a:pt x="428" y="8"/>
                      <a:pt x="428" y="8"/>
                      <a:pt x="428" y="8"/>
                    </a:cubicBezTo>
                    <a:cubicBezTo>
                      <a:pt x="428" y="9"/>
                      <a:pt x="428" y="9"/>
                      <a:pt x="428" y="9"/>
                    </a:cubicBezTo>
                    <a:cubicBezTo>
                      <a:pt x="427" y="9"/>
                      <a:pt x="427" y="9"/>
                      <a:pt x="427" y="9"/>
                    </a:cubicBezTo>
                    <a:cubicBezTo>
                      <a:pt x="427" y="10"/>
                      <a:pt x="427" y="10"/>
                      <a:pt x="427" y="10"/>
                    </a:cubicBezTo>
                    <a:cubicBezTo>
                      <a:pt x="426" y="10"/>
                      <a:pt x="426" y="10"/>
                      <a:pt x="426" y="10"/>
                    </a:cubicBezTo>
                    <a:cubicBezTo>
                      <a:pt x="426" y="11"/>
                      <a:pt x="426" y="11"/>
                      <a:pt x="426" y="11"/>
                    </a:cubicBezTo>
                    <a:cubicBezTo>
                      <a:pt x="426" y="11"/>
                      <a:pt x="426" y="11"/>
                      <a:pt x="426" y="11"/>
                    </a:cubicBezTo>
                    <a:cubicBezTo>
                      <a:pt x="426" y="12"/>
                      <a:pt x="426" y="12"/>
                      <a:pt x="426" y="12"/>
                    </a:cubicBezTo>
                    <a:cubicBezTo>
                      <a:pt x="426" y="12"/>
                      <a:pt x="426" y="12"/>
                      <a:pt x="426" y="12"/>
                    </a:cubicBezTo>
                    <a:cubicBezTo>
                      <a:pt x="426" y="13"/>
                      <a:pt x="426" y="13"/>
                      <a:pt x="426" y="13"/>
                    </a:cubicBezTo>
                    <a:cubicBezTo>
                      <a:pt x="427" y="13"/>
                      <a:pt x="427" y="13"/>
                      <a:pt x="427" y="13"/>
                    </a:cubicBezTo>
                    <a:cubicBezTo>
                      <a:pt x="428" y="13"/>
                      <a:pt x="428" y="13"/>
                      <a:pt x="428" y="13"/>
                    </a:cubicBezTo>
                    <a:cubicBezTo>
                      <a:pt x="428" y="13"/>
                      <a:pt x="428" y="13"/>
                      <a:pt x="428" y="13"/>
                    </a:cubicBezTo>
                    <a:cubicBezTo>
                      <a:pt x="429" y="12"/>
                      <a:pt x="429" y="12"/>
                      <a:pt x="429" y="12"/>
                    </a:cubicBezTo>
                    <a:cubicBezTo>
                      <a:pt x="430" y="12"/>
                      <a:pt x="430" y="12"/>
                      <a:pt x="430" y="12"/>
                    </a:cubicBezTo>
                    <a:cubicBezTo>
                      <a:pt x="430" y="12"/>
                      <a:pt x="430" y="12"/>
                      <a:pt x="430" y="12"/>
                    </a:cubicBezTo>
                    <a:cubicBezTo>
                      <a:pt x="430" y="13"/>
                      <a:pt x="430" y="13"/>
                      <a:pt x="430" y="13"/>
                    </a:cubicBezTo>
                    <a:cubicBezTo>
                      <a:pt x="430" y="13"/>
                      <a:pt x="430" y="13"/>
                      <a:pt x="430" y="13"/>
                    </a:cubicBezTo>
                    <a:cubicBezTo>
                      <a:pt x="430" y="14"/>
                      <a:pt x="430" y="14"/>
                      <a:pt x="430" y="14"/>
                    </a:cubicBezTo>
                    <a:cubicBezTo>
                      <a:pt x="430" y="15"/>
                      <a:pt x="430" y="15"/>
                      <a:pt x="430" y="15"/>
                    </a:cubicBezTo>
                    <a:cubicBezTo>
                      <a:pt x="430" y="16"/>
                      <a:pt x="430" y="16"/>
                      <a:pt x="430" y="16"/>
                    </a:cubicBezTo>
                    <a:cubicBezTo>
                      <a:pt x="430" y="16"/>
                      <a:pt x="430" y="16"/>
                      <a:pt x="430" y="16"/>
                    </a:cubicBezTo>
                    <a:cubicBezTo>
                      <a:pt x="431" y="17"/>
                      <a:pt x="431" y="17"/>
                      <a:pt x="431" y="17"/>
                    </a:cubicBezTo>
                    <a:cubicBezTo>
                      <a:pt x="432" y="17"/>
                      <a:pt x="432" y="17"/>
                      <a:pt x="432" y="17"/>
                    </a:cubicBezTo>
                    <a:cubicBezTo>
                      <a:pt x="433" y="17"/>
                      <a:pt x="433" y="17"/>
                      <a:pt x="433" y="17"/>
                    </a:cubicBezTo>
                    <a:cubicBezTo>
                      <a:pt x="433" y="18"/>
                      <a:pt x="433" y="18"/>
                      <a:pt x="433" y="18"/>
                    </a:cubicBezTo>
                    <a:cubicBezTo>
                      <a:pt x="433" y="18"/>
                      <a:pt x="433" y="18"/>
                      <a:pt x="433" y="18"/>
                    </a:cubicBezTo>
                    <a:cubicBezTo>
                      <a:pt x="432" y="18"/>
                      <a:pt x="432" y="18"/>
                      <a:pt x="432" y="18"/>
                    </a:cubicBezTo>
                    <a:cubicBezTo>
                      <a:pt x="431" y="19"/>
                      <a:pt x="431" y="19"/>
                      <a:pt x="431" y="19"/>
                    </a:cubicBezTo>
                    <a:cubicBezTo>
                      <a:pt x="430" y="19"/>
                      <a:pt x="430" y="19"/>
                      <a:pt x="430" y="19"/>
                    </a:cubicBezTo>
                    <a:cubicBezTo>
                      <a:pt x="429" y="19"/>
                      <a:pt x="429" y="19"/>
                      <a:pt x="429" y="19"/>
                    </a:cubicBezTo>
                    <a:cubicBezTo>
                      <a:pt x="429" y="19"/>
                      <a:pt x="429" y="19"/>
                      <a:pt x="429" y="19"/>
                    </a:cubicBezTo>
                    <a:cubicBezTo>
                      <a:pt x="428" y="19"/>
                      <a:pt x="428" y="19"/>
                      <a:pt x="428" y="19"/>
                    </a:cubicBezTo>
                    <a:cubicBezTo>
                      <a:pt x="427" y="19"/>
                      <a:pt x="427" y="19"/>
                      <a:pt x="427" y="19"/>
                    </a:cubicBezTo>
                    <a:cubicBezTo>
                      <a:pt x="426" y="20"/>
                      <a:pt x="426" y="20"/>
                      <a:pt x="426" y="20"/>
                    </a:cubicBezTo>
                    <a:cubicBezTo>
                      <a:pt x="426" y="21"/>
                      <a:pt x="426" y="21"/>
                      <a:pt x="426" y="21"/>
                    </a:cubicBezTo>
                    <a:cubicBezTo>
                      <a:pt x="426" y="21"/>
                      <a:pt x="426" y="21"/>
                      <a:pt x="426" y="21"/>
                    </a:cubicBezTo>
                    <a:cubicBezTo>
                      <a:pt x="426" y="22"/>
                      <a:pt x="426" y="22"/>
                      <a:pt x="426" y="22"/>
                    </a:cubicBezTo>
                    <a:cubicBezTo>
                      <a:pt x="425" y="23"/>
                      <a:pt x="425" y="23"/>
                      <a:pt x="425" y="23"/>
                    </a:cubicBezTo>
                    <a:cubicBezTo>
                      <a:pt x="424" y="23"/>
                      <a:pt x="424" y="23"/>
                      <a:pt x="424" y="23"/>
                    </a:cubicBezTo>
                    <a:cubicBezTo>
                      <a:pt x="423" y="23"/>
                      <a:pt x="423" y="23"/>
                      <a:pt x="423" y="23"/>
                    </a:cubicBezTo>
                    <a:cubicBezTo>
                      <a:pt x="423" y="23"/>
                      <a:pt x="423" y="23"/>
                      <a:pt x="423" y="23"/>
                    </a:cubicBezTo>
                    <a:cubicBezTo>
                      <a:pt x="422" y="23"/>
                      <a:pt x="422" y="23"/>
                      <a:pt x="422" y="23"/>
                    </a:cubicBezTo>
                    <a:cubicBezTo>
                      <a:pt x="422" y="24"/>
                      <a:pt x="422" y="24"/>
                      <a:pt x="422" y="24"/>
                    </a:cubicBezTo>
                    <a:cubicBezTo>
                      <a:pt x="421" y="24"/>
                      <a:pt x="421" y="24"/>
                      <a:pt x="421" y="24"/>
                    </a:cubicBezTo>
                    <a:cubicBezTo>
                      <a:pt x="421" y="24"/>
                      <a:pt x="421" y="24"/>
                      <a:pt x="421" y="24"/>
                    </a:cubicBezTo>
                    <a:cubicBezTo>
                      <a:pt x="421" y="25"/>
                      <a:pt x="421" y="25"/>
                      <a:pt x="421" y="25"/>
                    </a:cubicBezTo>
                    <a:cubicBezTo>
                      <a:pt x="421" y="26"/>
                      <a:pt x="421" y="26"/>
                      <a:pt x="421" y="26"/>
                    </a:cubicBezTo>
                    <a:cubicBezTo>
                      <a:pt x="421" y="26"/>
                      <a:pt x="421" y="26"/>
                      <a:pt x="421" y="26"/>
                    </a:cubicBezTo>
                    <a:cubicBezTo>
                      <a:pt x="421" y="26"/>
                      <a:pt x="421" y="26"/>
                      <a:pt x="421" y="26"/>
                    </a:cubicBezTo>
                    <a:cubicBezTo>
                      <a:pt x="420" y="27"/>
                      <a:pt x="420" y="27"/>
                      <a:pt x="420" y="27"/>
                    </a:cubicBezTo>
                    <a:cubicBezTo>
                      <a:pt x="420" y="26"/>
                      <a:pt x="420" y="26"/>
                      <a:pt x="420" y="26"/>
                    </a:cubicBezTo>
                    <a:cubicBezTo>
                      <a:pt x="420" y="26"/>
                      <a:pt x="420" y="26"/>
                      <a:pt x="420" y="26"/>
                    </a:cubicBezTo>
                    <a:cubicBezTo>
                      <a:pt x="419" y="25"/>
                      <a:pt x="419" y="25"/>
                      <a:pt x="419" y="25"/>
                    </a:cubicBezTo>
                    <a:cubicBezTo>
                      <a:pt x="419" y="25"/>
                      <a:pt x="419" y="25"/>
                      <a:pt x="419" y="25"/>
                    </a:cubicBezTo>
                    <a:cubicBezTo>
                      <a:pt x="419" y="25"/>
                      <a:pt x="419" y="25"/>
                      <a:pt x="419" y="25"/>
                    </a:cubicBezTo>
                    <a:cubicBezTo>
                      <a:pt x="419" y="24"/>
                      <a:pt x="419" y="24"/>
                      <a:pt x="419" y="24"/>
                    </a:cubicBezTo>
                    <a:cubicBezTo>
                      <a:pt x="419" y="23"/>
                      <a:pt x="419" y="23"/>
                      <a:pt x="419" y="23"/>
                    </a:cubicBezTo>
                    <a:cubicBezTo>
                      <a:pt x="419" y="23"/>
                      <a:pt x="419" y="23"/>
                      <a:pt x="419" y="23"/>
                    </a:cubicBezTo>
                    <a:cubicBezTo>
                      <a:pt x="418" y="23"/>
                      <a:pt x="418" y="23"/>
                      <a:pt x="418" y="23"/>
                    </a:cubicBezTo>
                    <a:cubicBezTo>
                      <a:pt x="418" y="23"/>
                      <a:pt x="418" y="23"/>
                      <a:pt x="418" y="23"/>
                    </a:cubicBezTo>
                    <a:cubicBezTo>
                      <a:pt x="418" y="24"/>
                      <a:pt x="418" y="24"/>
                      <a:pt x="418" y="24"/>
                    </a:cubicBezTo>
                    <a:cubicBezTo>
                      <a:pt x="417" y="24"/>
                      <a:pt x="417" y="24"/>
                      <a:pt x="417" y="24"/>
                    </a:cubicBezTo>
                    <a:cubicBezTo>
                      <a:pt x="416" y="24"/>
                      <a:pt x="416" y="24"/>
                      <a:pt x="416" y="24"/>
                    </a:cubicBezTo>
                    <a:cubicBezTo>
                      <a:pt x="416" y="24"/>
                      <a:pt x="416" y="24"/>
                      <a:pt x="416" y="24"/>
                    </a:cubicBezTo>
                    <a:cubicBezTo>
                      <a:pt x="416" y="24"/>
                      <a:pt x="416" y="24"/>
                      <a:pt x="416" y="24"/>
                    </a:cubicBezTo>
                    <a:cubicBezTo>
                      <a:pt x="416" y="23"/>
                      <a:pt x="416" y="23"/>
                      <a:pt x="416" y="23"/>
                    </a:cubicBezTo>
                    <a:cubicBezTo>
                      <a:pt x="416" y="23"/>
                      <a:pt x="416" y="23"/>
                      <a:pt x="416" y="23"/>
                    </a:cubicBezTo>
                    <a:cubicBezTo>
                      <a:pt x="415" y="23"/>
                      <a:pt x="415" y="23"/>
                      <a:pt x="415" y="23"/>
                    </a:cubicBezTo>
                    <a:cubicBezTo>
                      <a:pt x="415" y="23"/>
                      <a:pt x="415" y="23"/>
                      <a:pt x="415" y="23"/>
                    </a:cubicBezTo>
                    <a:cubicBezTo>
                      <a:pt x="414" y="24"/>
                      <a:pt x="414" y="24"/>
                      <a:pt x="414" y="24"/>
                    </a:cubicBezTo>
                    <a:cubicBezTo>
                      <a:pt x="413" y="26"/>
                      <a:pt x="413" y="26"/>
                      <a:pt x="413" y="26"/>
                    </a:cubicBezTo>
                    <a:cubicBezTo>
                      <a:pt x="413" y="27"/>
                      <a:pt x="413" y="27"/>
                      <a:pt x="413" y="27"/>
                    </a:cubicBezTo>
                    <a:cubicBezTo>
                      <a:pt x="412" y="28"/>
                      <a:pt x="412" y="28"/>
                      <a:pt x="412" y="28"/>
                    </a:cubicBezTo>
                    <a:cubicBezTo>
                      <a:pt x="412" y="28"/>
                      <a:pt x="412" y="28"/>
                      <a:pt x="412" y="28"/>
                    </a:cubicBezTo>
                    <a:cubicBezTo>
                      <a:pt x="412" y="29"/>
                      <a:pt x="412" y="29"/>
                      <a:pt x="412" y="29"/>
                    </a:cubicBezTo>
                    <a:cubicBezTo>
                      <a:pt x="411" y="30"/>
                      <a:pt x="411" y="30"/>
                      <a:pt x="411" y="30"/>
                    </a:cubicBezTo>
                    <a:cubicBezTo>
                      <a:pt x="410" y="32"/>
                      <a:pt x="410" y="32"/>
                      <a:pt x="410" y="32"/>
                    </a:cubicBezTo>
                    <a:cubicBezTo>
                      <a:pt x="408" y="34"/>
                      <a:pt x="408" y="34"/>
                      <a:pt x="408" y="34"/>
                    </a:cubicBezTo>
                    <a:cubicBezTo>
                      <a:pt x="407" y="34"/>
                      <a:pt x="407" y="34"/>
                      <a:pt x="407" y="34"/>
                    </a:cubicBezTo>
                    <a:cubicBezTo>
                      <a:pt x="407" y="35"/>
                      <a:pt x="407" y="35"/>
                      <a:pt x="407" y="35"/>
                    </a:cubicBezTo>
                    <a:cubicBezTo>
                      <a:pt x="408" y="35"/>
                      <a:pt x="408" y="35"/>
                      <a:pt x="408" y="35"/>
                    </a:cubicBezTo>
                    <a:cubicBezTo>
                      <a:pt x="408" y="35"/>
                      <a:pt x="408" y="35"/>
                      <a:pt x="408" y="35"/>
                    </a:cubicBezTo>
                    <a:cubicBezTo>
                      <a:pt x="409" y="35"/>
                      <a:pt x="409" y="35"/>
                      <a:pt x="409" y="35"/>
                    </a:cubicBezTo>
                    <a:cubicBezTo>
                      <a:pt x="409" y="34"/>
                      <a:pt x="409" y="34"/>
                      <a:pt x="409" y="34"/>
                    </a:cubicBezTo>
                    <a:cubicBezTo>
                      <a:pt x="410" y="34"/>
                      <a:pt x="410" y="34"/>
                      <a:pt x="410" y="34"/>
                    </a:cubicBezTo>
                    <a:cubicBezTo>
                      <a:pt x="410" y="34"/>
                      <a:pt x="410" y="34"/>
                      <a:pt x="410" y="34"/>
                    </a:cubicBezTo>
                    <a:cubicBezTo>
                      <a:pt x="411" y="34"/>
                      <a:pt x="411" y="34"/>
                      <a:pt x="411" y="34"/>
                    </a:cubicBezTo>
                    <a:cubicBezTo>
                      <a:pt x="411" y="35"/>
                      <a:pt x="411" y="35"/>
                      <a:pt x="411" y="35"/>
                    </a:cubicBezTo>
                    <a:cubicBezTo>
                      <a:pt x="410" y="36"/>
                      <a:pt x="410" y="36"/>
                      <a:pt x="410" y="36"/>
                    </a:cubicBezTo>
                    <a:cubicBezTo>
                      <a:pt x="410" y="36"/>
                      <a:pt x="410" y="36"/>
                      <a:pt x="410" y="36"/>
                    </a:cubicBezTo>
                    <a:cubicBezTo>
                      <a:pt x="410" y="36"/>
                      <a:pt x="410" y="36"/>
                      <a:pt x="410" y="36"/>
                    </a:cubicBezTo>
                    <a:cubicBezTo>
                      <a:pt x="409" y="37"/>
                      <a:pt x="409" y="37"/>
                      <a:pt x="409" y="37"/>
                    </a:cubicBezTo>
                    <a:cubicBezTo>
                      <a:pt x="409" y="37"/>
                      <a:pt x="409" y="37"/>
                      <a:pt x="409" y="37"/>
                    </a:cubicBezTo>
                    <a:cubicBezTo>
                      <a:pt x="409" y="38"/>
                      <a:pt x="409" y="38"/>
                      <a:pt x="409" y="38"/>
                    </a:cubicBezTo>
                    <a:cubicBezTo>
                      <a:pt x="410" y="38"/>
                      <a:pt x="410" y="38"/>
                      <a:pt x="410" y="38"/>
                    </a:cubicBezTo>
                    <a:cubicBezTo>
                      <a:pt x="410" y="39"/>
                      <a:pt x="410" y="39"/>
                      <a:pt x="410" y="39"/>
                    </a:cubicBezTo>
                    <a:cubicBezTo>
                      <a:pt x="411" y="40"/>
                      <a:pt x="411" y="40"/>
                      <a:pt x="411" y="40"/>
                    </a:cubicBezTo>
                    <a:cubicBezTo>
                      <a:pt x="411" y="40"/>
                      <a:pt x="411" y="40"/>
                      <a:pt x="411" y="40"/>
                    </a:cubicBezTo>
                    <a:cubicBezTo>
                      <a:pt x="412" y="40"/>
                      <a:pt x="412" y="40"/>
                      <a:pt x="412" y="40"/>
                    </a:cubicBezTo>
                    <a:cubicBezTo>
                      <a:pt x="411" y="41"/>
                      <a:pt x="411" y="41"/>
                      <a:pt x="411" y="41"/>
                    </a:cubicBezTo>
                    <a:cubicBezTo>
                      <a:pt x="411" y="42"/>
                      <a:pt x="411" y="42"/>
                      <a:pt x="411" y="42"/>
                    </a:cubicBezTo>
                    <a:cubicBezTo>
                      <a:pt x="410" y="42"/>
                      <a:pt x="410" y="42"/>
                      <a:pt x="410" y="42"/>
                    </a:cubicBezTo>
                    <a:cubicBezTo>
                      <a:pt x="410" y="42"/>
                      <a:pt x="410" y="42"/>
                      <a:pt x="410" y="42"/>
                    </a:cubicBezTo>
                    <a:cubicBezTo>
                      <a:pt x="410" y="42"/>
                      <a:pt x="410" y="42"/>
                      <a:pt x="410" y="42"/>
                    </a:cubicBezTo>
                    <a:cubicBezTo>
                      <a:pt x="409" y="43"/>
                      <a:pt x="409" y="43"/>
                      <a:pt x="409" y="43"/>
                    </a:cubicBezTo>
                    <a:cubicBezTo>
                      <a:pt x="408" y="43"/>
                      <a:pt x="408" y="43"/>
                      <a:pt x="408" y="43"/>
                    </a:cubicBezTo>
                    <a:cubicBezTo>
                      <a:pt x="408" y="43"/>
                      <a:pt x="408" y="43"/>
                      <a:pt x="408" y="43"/>
                    </a:cubicBezTo>
                    <a:cubicBezTo>
                      <a:pt x="408" y="44"/>
                      <a:pt x="408" y="44"/>
                      <a:pt x="408" y="44"/>
                    </a:cubicBezTo>
                    <a:cubicBezTo>
                      <a:pt x="408" y="45"/>
                      <a:pt x="408" y="45"/>
                      <a:pt x="408" y="45"/>
                    </a:cubicBezTo>
                    <a:cubicBezTo>
                      <a:pt x="409" y="45"/>
                      <a:pt x="409" y="45"/>
                      <a:pt x="409" y="45"/>
                    </a:cubicBezTo>
                    <a:cubicBezTo>
                      <a:pt x="410" y="45"/>
                      <a:pt x="410" y="45"/>
                      <a:pt x="410" y="45"/>
                    </a:cubicBezTo>
                    <a:cubicBezTo>
                      <a:pt x="410" y="45"/>
                      <a:pt x="410" y="45"/>
                      <a:pt x="410" y="45"/>
                    </a:cubicBezTo>
                    <a:cubicBezTo>
                      <a:pt x="410" y="46"/>
                      <a:pt x="410" y="46"/>
                      <a:pt x="410" y="46"/>
                    </a:cubicBezTo>
                    <a:cubicBezTo>
                      <a:pt x="410" y="47"/>
                      <a:pt x="410" y="47"/>
                      <a:pt x="410" y="47"/>
                    </a:cubicBezTo>
                    <a:cubicBezTo>
                      <a:pt x="410" y="47"/>
                      <a:pt x="410" y="47"/>
                      <a:pt x="410" y="47"/>
                    </a:cubicBezTo>
                    <a:cubicBezTo>
                      <a:pt x="410" y="48"/>
                      <a:pt x="410" y="48"/>
                      <a:pt x="410" y="48"/>
                    </a:cubicBezTo>
                    <a:cubicBezTo>
                      <a:pt x="409" y="49"/>
                      <a:pt x="409" y="49"/>
                      <a:pt x="409" y="49"/>
                    </a:cubicBezTo>
                    <a:cubicBezTo>
                      <a:pt x="408" y="49"/>
                      <a:pt x="408" y="49"/>
                      <a:pt x="408" y="49"/>
                    </a:cubicBezTo>
                    <a:cubicBezTo>
                      <a:pt x="407" y="49"/>
                      <a:pt x="407" y="49"/>
                      <a:pt x="407" y="49"/>
                    </a:cubicBezTo>
                    <a:cubicBezTo>
                      <a:pt x="407" y="50"/>
                      <a:pt x="407" y="50"/>
                      <a:pt x="407" y="50"/>
                    </a:cubicBezTo>
                    <a:cubicBezTo>
                      <a:pt x="406" y="51"/>
                      <a:pt x="406" y="51"/>
                      <a:pt x="406" y="51"/>
                    </a:cubicBezTo>
                    <a:cubicBezTo>
                      <a:pt x="406" y="51"/>
                      <a:pt x="406" y="51"/>
                      <a:pt x="406" y="51"/>
                    </a:cubicBezTo>
                    <a:cubicBezTo>
                      <a:pt x="405" y="51"/>
                      <a:pt x="405" y="51"/>
                      <a:pt x="405" y="51"/>
                    </a:cubicBezTo>
                    <a:cubicBezTo>
                      <a:pt x="404" y="51"/>
                      <a:pt x="404" y="51"/>
                      <a:pt x="404" y="51"/>
                    </a:cubicBezTo>
                    <a:cubicBezTo>
                      <a:pt x="404" y="50"/>
                      <a:pt x="404" y="50"/>
                      <a:pt x="404" y="50"/>
                    </a:cubicBezTo>
                    <a:cubicBezTo>
                      <a:pt x="404" y="49"/>
                      <a:pt x="404" y="49"/>
                      <a:pt x="404" y="49"/>
                    </a:cubicBezTo>
                    <a:cubicBezTo>
                      <a:pt x="403" y="49"/>
                      <a:pt x="403" y="49"/>
                      <a:pt x="403" y="49"/>
                    </a:cubicBezTo>
                    <a:cubicBezTo>
                      <a:pt x="403" y="49"/>
                      <a:pt x="403" y="49"/>
                      <a:pt x="403" y="49"/>
                    </a:cubicBezTo>
                    <a:cubicBezTo>
                      <a:pt x="402" y="49"/>
                      <a:pt x="402" y="49"/>
                      <a:pt x="402" y="49"/>
                    </a:cubicBezTo>
                    <a:cubicBezTo>
                      <a:pt x="401" y="50"/>
                      <a:pt x="401" y="50"/>
                      <a:pt x="401" y="50"/>
                    </a:cubicBezTo>
                    <a:cubicBezTo>
                      <a:pt x="400" y="50"/>
                      <a:pt x="400" y="50"/>
                      <a:pt x="400" y="50"/>
                    </a:cubicBezTo>
                    <a:cubicBezTo>
                      <a:pt x="400" y="49"/>
                      <a:pt x="400" y="49"/>
                      <a:pt x="400" y="49"/>
                    </a:cubicBezTo>
                    <a:cubicBezTo>
                      <a:pt x="399" y="49"/>
                      <a:pt x="399" y="49"/>
                      <a:pt x="399" y="49"/>
                    </a:cubicBezTo>
                    <a:cubicBezTo>
                      <a:pt x="399" y="48"/>
                      <a:pt x="399" y="48"/>
                      <a:pt x="399" y="48"/>
                    </a:cubicBezTo>
                    <a:cubicBezTo>
                      <a:pt x="400" y="47"/>
                      <a:pt x="400" y="47"/>
                      <a:pt x="400" y="47"/>
                    </a:cubicBezTo>
                    <a:cubicBezTo>
                      <a:pt x="400" y="47"/>
                      <a:pt x="400" y="47"/>
                      <a:pt x="400" y="47"/>
                    </a:cubicBezTo>
                    <a:cubicBezTo>
                      <a:pt x="400" y="46"/>
                      <a:pt x="400" y="46"/>
                      <a:pt x="400" y="46"/>
                    </a:cubicBezTo>
                    <a:cubicBezTo>
                      <a:pt x="399" y="46"/>
                      <a:pt x="399" y="46"/>
                      <a:pt x="399" y="46"/>
                    </a:cubicBezTo>
                    <a:cubicBezTo>
                      <a:pt x="399" y="46"/>
                      <a:pt x="399" y="46"/>
                      <a:pt x="399" y="46"/>
                    </a:cubicBezTo>
                    <a:cubicBezTo>
                      <a:pt x="397" y="46"/>
                      <a:pt x="397" y="46"/>
                      <a:pt x="397" y="46"/>
                    </a:cubicBezTo>
                    <a:cubicBezTo>
                      <a:pt x="396" y="45"/>
                      <a:pt x="396" y="45"/>
                      <a:pt x="396" y="45"/>
                    </a:cubicBezTo>
                    <a:cubicBezTo>
                      <a:pt x="395" y="45"/>
                      <a:pt x="395" y="45"/>
                      <a:pt x="395" y="45"/>
                    </a:cubicBezTo>
                    <a:cubicBezTo>
                      <a:pt x="395" y="45"/>
                      <a:pt x="395" y="45"/>
                      <a:pt x="395" y="45"/>
                    </a:cubicBezTo>
                    <a:cubicBezTo>
                      <a:pt x="394" y="45"/>
                      <a:pt x="394" y="45"/>
                      <a:pt x="394" y="45"/>
                    </a:cubicBezTo>
                    <a:cubicBezTo>
                      <a:pt x="393" y="45"/>
                      <a:pt x="393" y="45"/>
                      <a:pt x="393" y="45"/>
                    </a:cubicBezTo>
                    <a:cubicBezTo>
                      <a:pt x="393" y="46"/>
                      <a:pt x="393" y="46"/>
                      <a:pt x="393" y="46"/>
                    </a:cubicBezTo>
                    <a:cubicBezTo>
                      <a:pt x="393" y="47"/>
                      <a:pt x="393" y="47"/>
                      <a:pt x="393" y="47"/>
                    </a:cubicBezTo>
                    <a:cubicBezTo>
                      <a:pt x="393" y="47"/>
                      <a:pt x="393" y="47"/>
                      <a:pt x="393" y="47"/>
                    </a:cubicBezTo>
                    <a:cubicBezTo>
                      <a:pt x="393" y="48"/>
                      <a:pt x="393" y="48"/>
                      <a:pt x="393" y="48"/>
                    </a:cubicBezTo>
                    <a:cubicBezTo>
                      <a:pt x="393" y="49"/>
                      <a:pt x="393" y="49"/>
                      <a:pt x="393" y="49"/>
                    </a:cubicBezTo>
                    <a:cubicBezTo>
                      <a:pt x="393" y="49"/>
                      <a:pt x="393" y="49"/>
                      <a:pt x="393" y="49"/>
                    </a:cubicBezTo>
                    <a:cubicBezTo>
                      <a:pt x="393" y="50"/>
                      <a:pt x="393" y="50"/>
                      <a:pt x="393" y="50"/>
                    </a:cubicBezTo>
                    <a:cubicBezTo>
                      <a:pt x="393" y="51"/>
                      <a:pt x="393" y="51"/>
                      <a:pt x="393" y="51"/>
                    </a:cubicBezTo>
                    <a:cubicBezTo>
                      <a:pt x="392" y="51"/>
                      <a:pt x="392" y="51"/>
                      <a:pt x="392" y="51"/>
                    </a:cubicBezTo>
                    <a:cubicBezTo>
                      <a:pt x="391" y="52"/>
                      <a:pt x="391" y="52"/>
                      <a:pt x="391" y="52"/>
                    </a:cubicBezTo>
                    <a:cubicBezTo>
                      <a:pt x="391" y="52"/>
                      <a:pt x="391" y="52"/>
                      <a:pt x="391" y="52"/>
                    </a:cubicBezTo>
                    <a:cubicBezTo>
                      <a:pt x="390" y="52"/>
                      <a:pt x="390" y="52"/>
                      <a:pt x="390" y="52"/>
                    </a:cubicBezTo>
                    <a:cubicBezTo>
                      <a:pt x="389" y="52"/>
                      <a:pt x="389" y="52"/>
                      <a:pt x="389" y="52"/>
                    </a:cubicBezTo>
                    <a:cubicBezTo>
                      <a:pt x="389" y="52"/>
                      <a:pt x="389" y="52"/>
                      <a:pt x="389" y="52"/>
                    </a:cubicBezTo>
                    <a:cubicBezTo>
                      <a:pt x="387" y="53"/>
                      <a:pt x="387" y="53"/>
                      <a:pt x="387" y="53"/>
                    </a:cubicBezTo>
                    <a:cubicBezTo>
                      <a:pt x="387" y="53"/>
                      <a:pt x="387" y="53"/>
                      <a:pt x="387" y="53"/>
                    </a:cubicBezTo>
                    <a:cubicBezTo>
                      <a:pt x="386" y="54"/>
                      <a:pt x="386" y="54"/>
                      <a:pt x="386" y="54"/>
                    </a:cubicBezTo>
                    <a:cubicBezTo>
                      <a:pt x="385" y="54"/>
                      <a:pt x="385" y="54"/>
                      <a:pt x="385" y="54"/>
                    </a:cubicBezTo>
                    <a:cubicBezTo>
                      <a:pt x="385" y="55"/>
                      <a:pt x="385" y="55"/>
                      <a:pt x="385" y="55"/>
                    </a:cubicBezTo>
                    <a:cubicBezTo>
                      <a:pt x="384" y="55"/>
                      <a:pt x="384" y="55"/>
                      <a:pt x="384" y="55"/>
                    </a:cubicBezTo>
                    <a:cubicBezTo>
                      <a:pt x="384" y="56"/>
                      <a:pt x="384" y="56"/>
                      <a:pt x="384" y="56"/>
                    </a:cubicBezTo>
                    <a:cubicBezTo>
                      <a:pt x="383" y="57"/>
                      <a:pt x="383" y="57"/>
                      <a:pt x="383" y="57"/>
                    </a:cubicBezTo>
                    <a:cubicBezTo>
                      <a:pt x="383" y="59"/>
                      <a:pt x="383" y="59"/>
                      <a:pt x="383" y="59"/>
                    </a:cubicBezTo>
                    <a:cubicBezTo>
                      <a:pt x="382" y="59"/>
                      <a:pt x="382" y="59"/>
                      <a:pt x="382" y="59"/>
                    </a:cubicBezTo>
                    <a:cubicBezTo>
                      <a:pt x="382" y="59"/>
                      <a:pt x="382" y="59"/>
                      <a:pt x="382" y="59"/>
                    </a:cubicBezTo>
                    <a:cubicBezTo>
                      <a:pt x="381" y="59"/>
                      <a:pt x="381" y="59"/>
                      <a:pt x="381" y="59"/>
                    </a:cubicBezTo>
                    <a:cubicBezTo>
                      <a:pt x="380" y="59"/>
                      <a:pt x="380" y="59"/>
                      <a:pt x="380" y="59"/>
                    </a:cubicBezTo>
                    <a:cubicBezTo>
                      <a:pt x="380" y="58"/>
                      <a:pt x="380" y="58"/>
                      <a:pt x="380" y="58"/>
                    </a:cubicBezTo>
                    <a:cubicBezTo>
                      <a:pt x="380" y="57"/>
                      <a:pt x="380" y="57"/>
                      <a:pt x="380" y="57"/>
                    </a:cubicBezTo>
                    <a:cubicBezTo>
                      <a:pt x="380" y="57"/>
                      <a:pt x="380" y="57"/>
                      <a:pt x="380" y="57"/>
                    </a:cubicBezTo>
                    <a:cubicBezTo>
                      <a:pt x="380" y="56"/>
                      <a:pt x="380" y="56"/>
                      <a:pt x="380" y="56"/>
                    </a:cubicBezTo>
                    <a:cubicBezTo>
                      <a:pt x="380" y="56"/>
                      <a:pt x="380" y="56"/>
                      <a:pt x="380" y="56"/>
                    </a:cubicBezTo>
                    <a:cubicBezTo>
                      <a:pt x="380" y="55"/>
                      <a:pt x="380" y="55"/>
                      <a:pt x="380" y="55"/>
                    </a:cubicBezTo>
                    <a:cubicBezTo>
                      <a:pt x="380" y="54"/>
                      <a:pt x="380" y="54"/>
                      <a:pt x="380" y="54"/>
                    </a:cubicBezTo>
                    <a:cubicBezTo>
                      <a:pt x="380" y="53"/>
                      <a:pt x="380" y="53"/>
                      <a:pt x="380" y="53"/>
                    </a:cubicBezTo>
                    <a:cubicBezTo>
                      <a:pt x="380" y="51"/>
                      <a:pt x="380" y="51"/>
                      <a:pt x="380" y="51"/>
                    </a:cubicBezTo>
                    <a:cubicBezTo>
                      <a:pt x="380" y="50"/>
                      <a:pt x="380" y="50"/>
                      <a:pt x="380" y="50"/>
                    </a:cubicBezTo>
                    <a:cubicBezTo>
                      <a:pt x="379" y="49"/>
                      <a:pt x="379" y="49"/>
                      <a:pt x="379" y="49"/>
                    </a:cubicBezTo>
                    <a:cubicBezTo>
                      <a:pt x="379" y="49"/>
                      <a:pt x="379" y="49"/>
                      <a:pt x="379" y="49"/>
                    </a:cubicBezTo>
                    <a:cubicBezTo>
                      <a:pt x="378" y="49"/>
                      <a:pt x="378" y="49"/>
                      <a:pt x="378" y="49"/>
                    </a:cubicBezTo>
                    <a:cubicBezTo>
                      <a:pt x="377" y="49"/>
                      <a:pt x="377" y="49"/>
                      <a:pt x="377" y="49"/>
                    </a:cubicBezTo>
                    <a:cubicBezTo>
                      <a:pt x="376" y="49"/>
                      <a:pt x="376" y="49"/>
                      <a:pt x="376" y="49"/>
                    </a:cubicBezTo>
                    <a:cubicBezTo>
                      <a:pt x="376" y="49"/>
                      <a:pt x="376" y="49"/>
                      <a:pt x="376" y="49"/>
                    </a:cubicBezTo>
                    <a:cubicBezTo>
                      <a:pt x="375" y="48"/>
                      <a:pt x="375" y="48"/>
                      <a:pt x="375" y="48"/>
                    </a:cubicBezTo>
                    <a:cubicBezTo>
                      <a:pt x="376" y="47"/>
                      <a:pt x="376" y="47"/>
                      <a:pt x="376" y="47"/>
                    </a:cubicBezTo>
                    <a:cubicBezTo>
                      <a:pt x="376" y="46"/>
                      <a:pt x="376" y="46"/>
                      <a:pt x="376" y="46"/>
                    </a:cubicBezTo>
                    <a:cubicBezTo>
                      <a:pt x="375" y="45"/>
                      <a:pt x="375" y="45"/>
                      <a:pt x="375" y="45"/>
                    </a:cubicBezTo>
                    <a:cubicBezTo>
                      <a:pt x="375" y="45"/>
                      <a:pt x="375" y="45"/>
                      <a:pt x="375" y="45"/>
                    </a:cubicBezTo>
                    <a:cubicBezTo>
                      <a:pt x="374" y="44"/>
                      <a:pt x="374" y="44"/>
                      <a:pt x="374" y="44"/>
                    </a:cubicBezTo>
                    <a:cubicBezTo>
                      <a:pt x="375" y="44"/>
                      <a:pt x="375" y="44"/>
                      <a:pt x="375" y="44"/>
                    </a:cubicBezTo>
                    <a:cubicBezTo>
                      <a:pt x="375" y="43"/>
                      <a:pt x="375" y="43"/>
                      <a:pt x="375" y="43"/>
                    </a:cubicBezTo>
                    <a:cubicBezTo>
                      <a:pt x="375" y="43"/>
                      <a:pt x="375" y="43"/>
                      <a:pt x="375" y="43"/>
                    </a:cubicBezTo>
                    <a:cubicBezTo>
                      <a:pt x="376" y="42"/>
                      <a:pt x="376" y="42"/>
                      <a:pt x="376" y="42"/>
                    </a:cubicBezTo>
                    <a:cubicBezTo>
                      <a:pt x="376" y="41"/>
                      <a:pt x="376" y="41"/>
                      <a:pt x="376" y="41"/>
                    </a:cubicBezTo>
                    <a:cubicBezTo>
                      <a:pt x="375" y="41"/>
                      <a:pt x="375" y="41"/>
                      <a:pt x="375" y="41"/>
                    </a:cubicBezTo>
                    <a:cubicBezTo>
                      <a:pt x="375" y="40"/>
                      <a:pt x="375" y="40"/>
                      <a:pt x="375" y="40"/>
                    </a:cubicBezTo>
                    <a:cubicBezTo>
                      <a:pt x="374" y="40"/>
                      <a:pt x="374" y="40"/>
                      <a:pt x="374" y="40"/>
                    </a:cubicBezTo>
                    <a:cubicBezTo>
                      <a:pt x="374" y="39"/>
                      <a:pt x="374" y="39"/>
                      <a:pt x="374" y="39"/>
                    </a:cubicBezTo>
                    <a:cubicBezTo>
                      <a:pt x="373" y="39"/>
                      <a:pt x="373" y="39"/>
                      <a:pt x="373" y="39"/>
                    </a:cubicBezTo>
                    <a:cubicBezTo>
                      <a:pt x="373" y="39"/>
                      <a:pt x="373" y="39"/>
                      <a:pt x="373" y="39"/>
                    </a:cubicBezTo>
                    <a:cubicBezTo>
                      <a:pt x="372" y="40"/>
                      <a:pt x="372" y="40"/>
                      <a:pt x="372" y="40"/>
                    </a:cubicBezTo>
                    <a:cubicBezTo>
                      <a:pt x="371" y="40"/>
                      <a:pt x="371" y="40"/>
                      <a:pt x="371" y="40"/>
                    </a:cubicBezTo>
                    <a:cubicBezTo>
                      <a:pt x="371" y="41"/>
                      <a:pt x="371" y="41"/>
                      <a:pt x="371" y="41"/>
                    </a:cubicBezTo>
                    <a:cubicBezTo>
                      <a:pt x="370" y="42"/>
                      <a:pt x="370" y="42"/>
                      <a:pt x="370" y="42"/>
                    </a:cubicBezTo>
                    <a:cubicBezTo>
                      <a:pt x="370" y="43"/>
                      <a:pt x="370" y="43"/>
                      <a:pt x="370" y="43"/>
                    </a:cubicBezTo>
                    <a:cubicBezTo>
                      <a:pt x="369" y="44"/>
                      <a:pt x="369" y="44"/>
                      <a:pt x="369" y="44"/>
                    </a:cubicBezTo>
                    <a:cubicBezTo>
                      <a:pt x="369" y="44"/>
                      <a:pt x="369" y="44"/>
                      <a:pt x="369" y="44"/>
                    </a:cubicBezTo>
                    <a:cubicBezTo>
                      <a:pt x="368" y="45"/>
                      <a:pt x="368" y="45"/>
                      <a:pt x="368" y="45"/>
                    </a:cubicBezTo>
                    <a:cubicBezTo>
                      <a:pt x="367" y="45"/>
                      <a:pt x="367" y="45"/>
                      <a:pt x="367" y="45"/>
                    </a:cubicBezTo>
                    <a:cubicBezTo>
                      <a:pt x="366" y="45"/>
                      <a:pt x="366" y="45"/>
                      <a:pt x="366" y="45"/>
                    </a:cubicBezTo>
                    <a:cubicBezTo>
                      <a:pt x="366" y="45"/>
                      <a:pt x="366" y="45"/>
                      <a:pt x="366" y="45"/>
                    </a:cubicBezTo>
                    <a:cubicBezTo>
                      <a:pt x="365" y="45"/>
                      <a:pt x="365" y="45"/>
                      <a:pt x="365" y="45"/>
                    </a:cubicBezTo>
                    <a:cubicBezTo>
                      <a:pt x="365" y="45"/>
                      <a:pt x="365" y="45"/>
                      <a:pt x="365" y="45"/>
                    </a:cubicBezTo>
                    <a:cubicBezTo>
                      <a:pt x="364" y="45"/>
                      <a:pt x="364" y="45"/>
                      <a:pt x="364" y="45"/>
                    </a:cubicBezTo>
                    <a:cubicBezTo>
                      <a:pt x="364" y="45"/>
                      <a:pt x="364" y="45"/>
                      <a:pt x="364" y="45"/>
                    </a:cubicBezTo>
                    <a:cubicBezTo>
                      <a:pt x="364" y="46"/>
                      <a:pt x="364" y="46"/>
                      <a:pt x="364" y="46"/>
                    </a:cubicBezTo>
                    <a:cubicBezTo>
                      <a:pt x="364" y="46"/>
                      <a:pt x="364" y="46"/>
                      <a:pt x="364" y="46"/>
                    </a:cubicBezTo>
                    <a:cubicBezTo>
                      <a:pt x="364" y="47"/>
                      <a:pt x="364" y="47"/>
                      <a:pt x="364" y="47"/>
                    </a:cubicBezTo>
                    <a:cubicBezTo>
                      <a:pt x="364" y="47"/>
                      <a:pt x="364" y="47"/>
                      <a:pt x="364" y="47"/>
                    </a:cubicBezTo>
                    <a:cubicBezTo>
                      <a:pt x="364" y="48"/>
                      <a:pt x="364" y="48"/>
                      <a:pt x="364" y="48"/>
                    </a:cubicBezTo>
                    <a:cubicBezTo>
                      <a:pt x="363" y="49"/>
                      <a:pt x="363" y="49"/>
                      <a:pt x="363" y="49"/>
                    </a:cubicBezTo>
                    <a:cubicBezTo>
                      <a:pt x="363" y="51"/>
                      <a:pt x="363" y="51"/>
                      <a:pt x="363" y="51"/>
                    </a:cubicBezTo>
                    <a:cubicBezTo>
                      <a:pt x="362" y="51"/>
                      <a:pt x="362" y="51"/>
                      <a:pt x="362" y="51"/>
                    </a:cubicBezTo>
                    <a:cubicBezTo>
                      <a:pt x="362" y="52"/>
                      <a:pt x="362" y="52"/>
                      <a:pt x="362" y="52"/>
                    </a:cubicBezTo>
                    <a:cubicBezTo>
                      <a:pt x="363" y="53"/>
                      <a:pt x="363" y="53"/>
                      <a:pt x="363" y="53"/>
                    </a:cubicBezTo>
                    <a:cubicBezTo>
                      <a:pt x="363" y="53"/>
                      <a:pt x="363" y="53"/>
                      <a:pt x="363" y="53"/>
                    </a:cubicBezTo>
                    <a:cubicBezTo>
                      <a:pt x="363" y="53"/>
                      <a:pt x="363" y="53"/>
                      <a:pt x="363" y="53"/>
                    </a:cubicBezTo>
                    <a:cubicBezTo>
                      <a:pt x="364" y="52"/>
                      <a:pt x="364" y="52"/>
                      <a:pt x="364" y="52"/>
                    </a:cubicBezTo>
                    <a:cubicBezTo>
                      <a:pt x="365" y="52"/>
                      <a:pt x="365" y="52"/>
                      <a:pt x="365" y="52"/>
                    </a:cubicBezTo>
                    <a:cubicBezTo>
                      <a:pt x="365" y="52"/>
                      <a:pt x="365" y="52"/>
                      <a:pt x="365" y="52"/>
                    </a:cubicBezTo>
                    <a:cubicBezTo>
                      <a:pt x="366" y="52"/>
                      <a:pt x="366" y="52"/>
                      <a:pt x="366" y="52"/>
                    </a:cubicBezTo>
                    <a:cubicBezTo>
                      <a:pt x="367" y="52"/>
                      <a:pt x="367" y="52"/>
                      <a:pt x="367" y="52"/>
                    </a:cubicBezTo>
                    <a:cubicBezTo>
                      <a:pt x="367" y="52"/>
                      <a:pt x="367" y="52"/>
                      <a:pt x="367" y="52"/>
                    </a:cubicBezTo>
                    <a:cubicBezTo>
                      <a:pt x="367" y="53"/>
                      <a:pt x="367" y="53"/>
                      <a:pt x="367" y="53"/>
                    </a:cubicBezTo>
                    <a:cubicBezTo>
                      <a:pt x="367" y="53"/>
                      <a:pt x="367" y="53"/>
                      <a:pt x="367" y="53"/>
                    </a:cubicBezTo>
                    <a:cubicBezTo>
                      <a:pt x="367" y="54"/>
                      <a:pt x="367" y="54"/>
                      <a:pt x="367" y="54"/>
                    </a:cubicBezTo>
                    <a:cubicBezTo>
                      <a:pt x="367" y="54"/>
                      <a:pt x="367" y="54"/>
                      <a:pt x="367" y="54"/>
                    </a:cubicBezTo>
                    <a:cubicBezTo>
                      <a:pt x="366" y="55"/>
                      <a:pt x="366" y="55"/>
                      <a:pt x="366" y="55"/>
                    </a:cubicBezTo>
                    <a:cubicBezTo>
                      <a:pt x="365" y="55"/>
                      <a:pt x="365" y="55"/>
                      <a:pt x="365" y="55"/>
                    </a:cubicBezTo>
                    <a:cubicBezTo>
                      <a:pt x="365" y="55"/>
                      <a:pt x="365" y="55"/>
                      <a:pt x="365" y="55"/>
                    </a:cubicBezTo>
                    <a:cubicBezTo>
                      <a:pt x="364" y="55"/>
                      <a:pt x="364" y="55"/>
                      <a:pt x="364" y="55"/>
                    </a:cubicBezTo>
                    <a:cubicBezTo>
                      <a:pt x="364" y="55"/>
                      <a:pt x="364" y="55"/>
                      <a:pt x="364" y="55"/>
                    </a:cubicBezTo>
                    <a:cubicBezTo>
                      <a:pt x="363" y="55"/>
                      <a:pt x="363" y="55"/>
                      <a:pt x="363" y="55"/>
                    </a:cubicBezTo>
                    <a:cubicBezTo>
                      <a:pt x="363" y="56"/>
                      <a:pt x="363" y="56"/>
                      <a:pt x="363" y="56"/>
                    </a:cubicBezTo>
                    <a:cubicBezTo>
                      <a:pt x="362" y="57"/>
                      <a:pt x="362" y="57"/>
                      <a:pt x="362" y="57"/>
                    </a:cubicBezTo>
                    <a:cubicBezTo>
                      <a:pt x="362" y="57"/>
                      <a:pt x="362" y="57"/>
                      <a:pt x="362" y="57"/>
                    </a:cubicBezTo>
                    <a:cubicBezTo>
                      <a:pt x="362" y="58"/>
                      <a:pt x="362" y="58"/>
                      <a:pt x="362" y="58"/>
                    </a:cubicBezTo>
                    <a:cubicBezTo>
                      <a:pt x="362" y="59"/>
                      <a:pt x="362" y="59"/>
                      <a:pt x="362" y="59"/>
                    </a:cubicBezTo>
                    <a:cubicBezTo>
                      <a:pt x="362" y="59"/>
                      <a:pt x="362" y="59"/>
                      <a:pt x="362" y="59"/>
                    </a:cubicBezTo>
                    <a:cubicBezTo>
                      <a:pt x="361" y="59"/>
                      <a:pt x="361" y="59"/>
                      <a:pt x="361" y="59"/>
                    </a:cubicBezTo>
                    <a:cubicBezTo>
                      <a:pt x="361" y="60"/>
                      <a:pt x="361" y="60"/>
                      <a:pt x="361" y="60"/>
                    </a:cubicBezTo>
                    <a:cubicBezTo>
                      <a:pt x="361" y="60"/>
                      <a:pt x="361" y="60"/>
                      <a:pt x="361" y="60"/>
                    </a:cubicBezTo>
                    <a:cubicBezTo>
                      <a:pt x="361" y="61"/>
                      <a:pt x="361" y="61"/>
                      <a:pt x="361" y="61"/>
                    </a:cubicBezTo>
                    <a:cubicBezTo>
                      <a:pt x="361" y="62"/>
                      <a:pt x="361" y="62"/>
                      <a:pt x="361" y="62"/>
                    </a:cubicBezTo>
                    <a:cubicBezTo>
                      <a:pt x="361" y="62"/>
                      <a:pt x="361" y="62"/>
                      <a:pt x="361" y="62"/>
                    </a:cubicBezTo>
                    <a:cubicBezTo>
                      <a:pt x="362" y="62"/>
                      <a:pt x="362" y="62"/>
                      <a:pt x="362" y="62"/>
                    </a:cubicBezTo>
                    <a:cubicBezTo>
                      <a:pt x="362" y="62"/>
                      <a:pt x="362" y="62"/>
                      <a:pt x="362" y="62"/>
                    </a:cubicBezTo>
                    <a:cubicBezTo>
                      <a:pt x="363" y="62"/>
                      <a:pt x="363" y="62"/>
                      <a:pt x="363" y="62"/>
                    </a:cubicBezTo>
                    <a:cubicBezTo>
                      <a:pt x="363" y="62"/>
                      <a:pt x="363" y="62"/>
                      <a:pt x="363" y="62"/>
                    </a:cubicBezTo>
                    <a:cubicBezTo>
                      <a:pt x="364" y="63"/>
                      <a:pt x="364" y="63"/>
                      <a:pt x="364" y="63"/>
                    </a:cubicBezTo>
                    <a:cubicBezTo>
                      <a:pt x="365" y="63"/>
                      <a:pt x="365" y="63"/>
                      <a:pt x="365" y="63"/>
                    </a:cubicBezTo>
                    <a:cubicBezTo>
                      <a:pt x="365" y="64"/>
                      <a:pt x="365" y="64"/>
                      <a:pt x="365" y="64"/>
                    </a:cubicBezTo>
                    <a:cubicBezTo>
                      <a:pt x="365" y="64"/>
                      <a:pt x="365" y="64"/>
                      <a:pt x="365" y="64"/>
                    </a:cubicBezTo>
                    <a:cubicBezTo>
                      <a:pt x="365" y="64"/>
                      <a:pt x="365" y="64"/>
                      <a:pt x="365" y="64"/>
                    </a:cubicBezTo>
                    <a:cubicBezTo>
                      <a:pt x="364" y="65"/>
                      <a:pt x="364" y="65"/>
                      <a:pt x="364" y="65"/>
                    </a:cubicBezTo>
                    <a:cubicBezTo>
                      <a:pt x="364" y="65"/>
                      <a:pt x="364" y="65"/>
                      <a:pt x="364" y="65"/>
                    </a:cubicBezTo>
                    <a:cubicBezTo>
                      <a:pt x="364" y="65"/>
                      <a:pt x="364" y="65"/>
                      <a:pt x="364" y="65"/>
                    </a:cubicBezTo>
                    <a:cubicBezTo>
                      <a:pt x="363" y="65"/>
                      <a:pt x="363" y="65"/>
                      <a:pt x="363" y="65"/>
                    </a:cubicBezTo>
                    <a:cubicBezTo>
                      <a:pt x="363" y="66"/>
                      <a:pt x="363" y="66"/>
                      <a:pt x="363" y="66"/>
                    </a:cubicBezTo>
                    <a:cubicBezTo>
                      <a:pt x="363" y="66"/>
                      <a:pt x="363" y="66"/>
                      <a:pt x="363" y="66"/>
                    </a:cubicBezTo>
                    <a:cubicBezTo>
                      <a:pt x="363" y="66"/>
                      <a:pt x="363" y="66"/>
                      <a:pt x="363" y="66"/>
                    </a:cubicBezTo>
                    <a:cubicBezTo>
                      <a:pt x="363" y="68"/>
                      <a:pt x="363" y="68"/>
                      <a:pt x="363" y="68"/>
                    </a:cubicBezTo>
                    <a:cubicBezTo>
                      <a:pt x="363" y="69"/>
                      <a:pt x="363" y="69"/>
                      <a:pt x="363" y="69"/>
                    </a:cubicBezTo>
                    <a:cubicBezTo>
                      <a:pt x="363" y="70"/>
                      <a:pt x="363" y="70"/>
                      <a:pt x="363" y="70"/>
                    </a:cubicBezTo>
                    <a:cubicBezTo>
                      <a:pt x="362" y="70"/>
                      <a:pt x="362" y="70"/>
                      <a:pt x="362" y="70"/>
                    </a:cubicBezTo>
                    <a:cubicBezTo>
                      <a:pt x="362" y="70"/>
                      <a:pt x="362" y="70"/>
                      <a:pt x="362" y="70"/>
                    </a:cubicBezTo>
                    <a:cubicBezTo>
                      <a:pt x="361" y="71"/>
                      <a:pt x="361" y="71"/>
                      <a:pt x="361" y="71"/>
                    </a:cubicBezTo>
                    <a:cubicBezTo>
                      <a:pt x="361" y="71"/>
                      <a:pt x="361" y="71"/>
                      <a:pt x="361" y="71"/>
                    </a:cubicBezTo>
                    <a:cubicBezTo>
                      <a:pt x="360" y="70"/>
                      <a:pt x="360" y="70"/>
                      <a:pt x="360" y="70"/>
                    </a:cubicBezTo>
                    <a:cubicBezTo>
                      <a:pt x="360" y="70"/>
                      <a:pt x="360" y="70"/>
                      <a:pt x="360" y="70"/>
                    </a:cubicBezTo>
                    <a:cubicBezTo>
                      <a:pt x="359" y="70"/>
                      <a:pt x="359" y="70"/>
                      <a:pt x="359" y="70"/>
                    </a:cubicBezTo>
                    <a:cubicBezTo>
                      <a:pt x="359" y="70"/>
                      <a:pt x="359" y="70"/>
                      <a:pt x="359" y="70"/>
                    </a:cubicBezTo>
                    <a:cubicBezTo>
                      <a:pt x="358" y="71"/>
                      <a:pt x="358" y="71"/>
                      <a:pt x="358" y="71"/>
                    </a:cubicBezTo>
                    <a:cubicBezTo>
                      <a:pt x="358" y="71"/>
                      <a:pt x="358" y="71"/>
                      <a:pt x="358" y="71"/>
                    </a:cubicBezTo>
                    <a:cubicBezTo>
                      <a:pt x="358" y="72"/>
                      <a:pt x="358" y="72"/>
                      <a:pt x="358" y="72"/>
                    </a:cubicBezTo>
                    <a:cubicBezTo>
                      <a:pt x="358" y="72"/>
                      <a:pt x="358" y="72"/>
                      <a:pt x="358" y="72"/>
                    </a:cubicBezTo>
                    <a:cubicBezTo>
                      <a:pt x="357" y="73"/>
                      <a:pt x="357" y="73"/>
                      <a:pt x="357" y="73"/>
                    </a:cubicBezTo>
                    <a:cubicBezTo>
                      <a:pt x="357" y="73"/>
                      <a:pt x="357" y="73"/>
                      <a:pt x="357" y="73"/>
                    </a:cubicBezTo>
                    <a:cubicBezTo>
                      <a:pt x="356" y="73"/>
                      <a:pt x="356" y="73"/>
                      <a:pt x="356" y="73"/>
                    </a:cubicBezTo>
                    <a:cubicBezTo>
                      <a:pt x="356" y="73"/>
                      <a:pt x="356" y="73"/>
                      <a:pt x="356" y="73"/>
                    </a:cubicBezTo>
                    <a:cubicBezTo>
                      <a:pt x="355" y="73"/>
                      <a:pt x="355" y="73"/>
                      <a:pt x="355" y="73"/>
                    </a:cubicBezTo>
                    <a:cubicBezTo>
                      <a:pt x="354" y="73"/>
                      <a:pt x="354" y="73"/>
                      <a:pt x="354" y="73"/>
                    </a:cubicBezTo>
                    <a:cubicBezTo>
                      <a:pt x="354" y="73"/>
                      <a:pt x="354" y="73"/>
                      <a:pt x="354" y="73"/>
                    </a:cubicBezTo>
                    <a:cubicBezTo>
                      <a:pt x="353" y="72"/>
                      <a:pt x="353" y="72"/>
                      <a:pt x="353" y="72"/>
                    </a:cubicBezTo>
                    <a:cubicBezTo>
                      <a:pt x="352" y="73"/>
                      <a:pt x="352" y="73"/>
                      <a:pt x="352" y="73"/>
                    </a:cubicBezTo>
                    <a:cubicBezTo>
                      <a:pt x="352" y="72"/>
                      <a:pt x="352" y="72"/>
                      <a:pt x="352" y="72"/>
                    </a:cubicBezTo>
                    <a:cubicBezTo>
                      <a:pt x="352" y="72"/>
                      <a:pt x="352" y="72"/>
                      <a:pt x="352" y="72"/>
                    </a:cubicBezTo>
                    <a:cubicBezTo>
                      <a:pt x="352" y="72"/>
                      <a:pt x="352" y="72"/>
                      <a:pt x="352" y="72"/>
                    </a:cubicBezTo>
                    <a:cubicBezTo>
                      <a:pt x="352" y="71"/>
                      <a:pt x="352" y="71"/>
                      <a:pt x="352" y="71"/>
                    </a:cubicBezTo>
                    <a:cubicBezTo>
                      <a:pt x="352" y="71"/>
                      <a:pt x="352" y="71"/>
                      <a:pt x="352" y="71"/>
                    </a:cubicBezTo>
                    <a:cubicBezTo>
                      <a:pt x="351" y="70"/>
                      <a:pt x="351" y="70"/>
                      <a:pt x="351" y="70"/>
                    </a:cubicBezTo>
                    <a:cubicBezTo>
                      <a:pt x="351" y="70"/>
                      <a:pt x="351" y="70"/>
                      <a:pt x="351" y="70"/>
                    </a:cubicBezTo>
                    <a:cubicBezTo>
                      <a:pt x="350" y="70"/>
                      <a:pt x="350" y="70"/>
                      <a:pt x="350" y="70"/>
                    </a:cubicBezTo>
                    <a:cubicBezTo>
                      <a:pt x="350" y="70"/>
                      <a:pt x="350" y="70"/>
                      <a:pt x="350" y="70"/>
                    </a:cubicBezTo>
                    <a:cubicBezTo>
                      <a:pt x="349" y="69"/>
                      <a:pt x="349" y="69"/>
                      <a:pt x="349" y="69"/>
                    </a:cubicBezTo>
                    <a:cubicBezTo>
                      <a:pt x="349" y="69"/>
                      <a:pt x="349" y="69"/>
                      <a:pt x="349" y="69"/>
                    </a:cubicBezTo>
                    <a:cubicBezTo>
                      <a:pt x="348" y="69"/>
                      <a:pt x="348" y="69"/>
                      <a:pt x="348" y="69"/>
                    </a:cubicBezTo>
                    <a:cubicBezTo>
                      <a:pt x="348" y="69"/>
                      <a:pt x="348" y="69"/>
                      <a:pt x="348" y="69"/>
                    </a:cubicBezTo>
                    <a:cubicBezTo>
                      <a:pt x="347" y="69"/>
                      <a:pt x="347" y="69"/>
                      <a:pt x="347" y="69"/>
                    </a:cubicBezTo>
                    <a:cubicBezTo>
                      <a:pt x="346" y="70"/>
                      <a:pt x="346" y="70"/>
                      <a:pt x="346" y="70"/>
                    </a:cubicBezTo>
                    <a:cubicBezTo>
                      <a:pt x="346" y="70"/>
                      <a:pt x="346" y="70"/>
                      <a:pt x="346" y="70"/>
                    </a:cubicBezTo>
                    <a:cubicBezTo>
                      <a:pt x="345" y="71"/>
                      <a:pt x="345" y="71"/>
                      <a:pt x="345" y="71"/>
                    </a:cubicBezTo>
                    <a:cubicBezTo>
                      <a:pt x="344" y="71"/>
                      <a:pt x="344" y="71"/>
                      <a:pt x="344" y="71"/>
                    </a:cubicBezTo>
                    <a:cubicBezTo>
                      <a:pt x="343" y="71"/>
                      <a:pt x="343" y="71"/>
                      <a:pt x="343" y="71"/>
                    </a:cubicBezTo>
                    <a:cubicBezTo>
                      <a:pt x="341" y="71"/>
                      <a:pt x="341" y="71"/>
                      <a:pt x="341" y="71"/>
                    </a:cubicBezTo>
                    <a:cubicBezTo>
                      <a:pt x="341" y="72"/>
                      <a:pt x="341" y="72"/>
                      <a:pt x="341" y="72"/>
                    </a:cubicBezTo>
                    <a:cubicBezTo>
                      <a:pt x="340" y="72"/>
                      <a:pt x="340" y="72"/>
                      <a:pt x="340" y="72"/>
                    </a:cubicBezTo>
                    <a:cubicBezTo>
                      <a:pt x="338" y="73"/>
                      <a:pt x="338" y="73"/>
                      <a:pt x="338" y="73"/>
                    </a:cubicBezTo>
                    <a:cubicBezTo>
                      <a:pt x="337" y="73"/>
                      <a:pt x="337" y="73"/>
                      <a:pt x="337" y="73"/>
                    </a:cubicBezTo>
                    <a:cubicBezTo>
                      <a:pt x="336" y="74"/>
                      <a:pt x="336" y="74"/>
                      <a:pt x="336" y="74"/>
                    </a:cubicBezTo>
                    <a:cubicBezTo>
                      <a:pt x="335" y="74"/>
                      <a:pt x="335" y="74"/>
                      <a:pt x="335" y="74"/>
                    </a:cubicBezTo>
                    <a:cubicBezTo>
                      <a:pt x="334" y="75"/>
                      <a:pt x="334" y="75"/>
                      <a:pt x="334" y="75"/>
                    </a:cubicBezTo>
                    <a:cubicBezTo>
                      <a:pt x="333" y="76"/>
                      <a:pt x="333" y="76"/>
                      <a:pt x="333" y="76"/>
                    </a:cubicBezTo>
                    <a:cubicBezTo>
                      <a:pt x="333" y="77"/>
                      <a:pt x="333" y="77"/>
                      <a:pt x="333" y="77"/>
                    </a:cubicBezTo>
                    <a:cubicBezTo>
                      <a:pt x="330" y="79"/>
                      <a:pt x="330" y="79"/>
                      <a:pt x="330" y="79"/>
                    </a:cubicBezTo>
                    <a:cubicBezTo>
                      <a:pt x="329" y="80"/>
                      <a:pt x="329" y="80"/>
                      <a:pt x="329" y="80"/>
                    </a:cubicBezTo>
                    <a:cubicBezTo>
                      <a:pt x="328" y="81"/>
                      <a:pt x="328" y="81"/>
                      <a:pt x="328" y="81"/>
                    </a:cubicBezTo>
                    <a:cubicBezTo>
                      <a:pt x="327" y="81"/>
                      <a:pt x="327" y="81"/>
                      <a:pt x="327" y="81"/>
                    </a:cubicBezTo>
                    <a:cubicBezTo>
                      <a:pt x="325" y="81"/>
                      <a:pt x="325" y="81"/>
                      <a:pt x="325" y="81"/>
                    </a:cubicBezTo>
                    <a:cubicBezTo>
                      <a:pt x="324" y="82"/>
                      <a:pt x="324" y="82"/>
                      <a:pt x="324" y="82"/>
                    </a:cubicBezTo>
                    <a:cubicBezTo>
                      <a:pt x="323" y="82"/>
                      <a:pt x="323" y="82"/>
                      <a:pt x="323" y="82"/>
                    </a:cubicBezTo>
                    <a:cubicBezTo>
                      <a:pt x="322" y="82"/>
                      <a:pt x="322" y="82"/>
                      <a:pt x="322" y="82"/>
                    </a:cubicBezTo>
                    <a:cubicBezTo>
                      <a:pt x="322" y="82"/>
                      <a:pt x="322" y="82"/>
                      <a:pt x="322" y="83"/>
                    </a:cubicBezTo>
                    <a:cubicBezTo>
                      <a:pt x="322" y="83"/>
                      <a:pt x="322" y="83"/>
                      <a:pt x="322" y="83"/>
                    </a:cubicBezTo>
                    <a:cubicBezTo>
                      <a:pt x="323" y="83"/>
                      <a:pt x="323" y="83"/>
                      <a:pt x="323" y="83"/>
                    </a:cubicBezTo>
                    <a:cubicBezTo>
                      <a:pt x="324" y="83"/>
                      <a:pt x="324" y="83"/>
                      <a:pt x="324" y="83"/>
                    </a:cubicBezTo>
                    <a:cubicBezTo>
                      <a:pt x="325" y="83"/>
                      <a:pt x="325" y="83"/>
                      <a:pt x="325" y="83"/>
                    </a:cubicBezTo>
                    <a:cubicBezTo>
                      <a:pt x="326" y="82"/>
                      <a:pt x="326" y="82"/>
                      <a:pt x="326" y="82"/>
                    </a:cubicBezTo>
                    <a:cubicBezTo>
                      <a:pt x="327" y="86"/>
                      <a:pt x="327" y="86"/>
                      <a:pt x="327" y="86"/>
                    </a:cubicBezTo>
                    <a:cubicBezTo>
                      <a:pt x="327" y="88"/>
                      <a:pt x="327" y="88"/>
                      <a:pt x="327" y="88"/>
                    </a:cubicBezTo>
                    <a:cubicBezTo>
                      <a:pt x="325" y="89"/>
                      <a:pt x="325" y="89"/>
                      <a:pt x="325" y="89"/>
                    </a:cubicBezTo>
                    <a:cubicBezTo>
                      <a:pt x="322" y="91"/>
                      <a:pt x="322" y="91"/>
                      <a:pt x="322" y="91"/>
                    </a:cubicBezTo>
                    <a:cubicBezTo>
                      <a:pt x="320" y="93"/>
                      <a:pt x="320" y="93"/>
                      <a:pt x="320" y="93"/>
                    </a:cubicBezTo>
                    <a:cubicBezTo>
                      <a:pt x="319" y="94"/>
                      <a:pt x="319" y="94"/>
                      <a:pt x="319" y="94"/>
                    </a:cubicBezTo>
                    <a:cubicBezTo>
                      <a:pt x="318" y="95"/>
                      <a:pt x="318" y="95"/>
                      <a:pt x="318" y="95"/>
                    </a:cubicBezTo>
                    <a:cubicBezTo>
                      <a:pt x="316" y="95"/>
                      <a:pt x="316" y="95"/>
                      <a:pt x="316" y="95"/>
                    </a:cubicBezTo>
                    <a:cubicBezTo>
                      <a:pt x="315" y="96"/>
                      <a:pt x="315" y="96"/>
                      <a:pt x="315" y="96"/>
                    </a:cubicBezTo>
                    <a:cubicBezTo>
                      <a:pt x="313" y="98"/>
                      <a:pt x="313" y="98"/>
                      <a:pt x="313" y="98"/>
                    </a:cubicBezTo>
                    <a:cubicBezTo>
                      <a:pt x="312" y="99"/>
                      <a:pt x="312" y="99"/>
                      <a:pt x="312" y="99"/>
                    </a:cubicBezTo>
                    <a:cubicBezTo>
                      <a:pt x="312" y="102"/>
                      <a:pt x="312" y="102"/>
                      <a:pt x="312" y="102"/>
                    </a:cubicBezTo>
                    <a:cubicBezTo>
                      <a:pt x="311" y="105"/>
                      <a:pt x="311" y="105"/>
                      <a:pt x="311" y="105"/>
                    </a:cubicBezTo>
                    <a:cubicBezTo>
                      <a:pt x="310" y="107"/>
                      <a:pt x="310" y="107"/>
                      <a:pt x="310" y="107"/>
                    </a:cubicBezTo>
                    <a:cubicBezTo>
                      <a:pt x="310" y="110"/>
                      <a:pt x="310" y="110"/>
                      <a:pt x="310" y="110"/>
                    </a:cubicBezTo>
                    <a:cubicBezTo>
                      <a:pt x="309" y="111"/>
                      <a:pt x="309" y="111"/>
                      <a:pt x="309" y="111"/>
                    </a:cubicBezTo>
                    <a:cubicBezTo>
                      <a:pt x="307" y="112"/>
                      <a:pt x="307" y="112"/>
                      <a:pt x="307" y="112"/>
                    </a:cubicBezTo>
                    <a:cubicBezTo>
                      <a:pt x="305" y="112"/>
                      <a:pt x="305" y="112"/>
                      <a:pt x="305" y="112"/>
                    </a:cubicBezTo>
                    <a:cubicBezTo>
                      <a:pt x="303" y="110"/>
                      <a:pt x="303" y="110"/>
                      <a:pt x="303" y="110"/>
                    </a:cubicBezTo>
                    <a:cubicBezTo>
                      <a:pt x="302" y="113"/>
                      <a:pt x="302" y="113"/>
                      <a:pt x="302" y="113"/>
                    </a:cubicBezTo>
                    <a:cubicBezTo>
                      <a:pt x="300" y="115"/>
                      <a:pt x="300" y="115"/>
                      <a:pt x="300" y="115"/>
                    </a:cubicBezTo>
                    <a:cubicBezTo>
                      <a:pt x="298" y="117"/>
                      <a:pt x="298" y="117"/>
                      <a:pt x="298" y="117"/>
                    </a:cubicBezTo>
                    <a:cubicBezTo>
                      <a:pt x="295" y="118"/>
                      <a:pt x="295" y="118"/>
                      <a:pt x="295" y="118"/>
                    </a:cubicBezTo>
                    <a:cubicBezTo>
                      <a:pt x="291" y="117"/>
                      <a:pt x="291" y="117"/>
                      <a:pt x="291" y="117"/>
                    </a:cubicBezTo>
                    <a:cubicBezTo>
                      <a:pt x="290" y="119"/>
                      <a:pt x="290" y="119"/>
                      <a:pt x="290" y="119"/>
                    </a:cubicBezTo>
                    <a:cubicBezTo>
                      <a:pt x="287" y="121"/>
                      <a:pt x="287" y="121"/>
                      <a:pt x="287" y="121"/>
                    </a:cubicBezTo>
                    <a:cubicBezTo>
                      <a:pt x="284" y="121"/>
                      <a:pt x="284" y="121"/>
                      <a:pt x="284" y="121"/>
                    </a:cubicBezTo>
                    <a:cubicBezTo>
                      <a:pt x="283" y="123"/>
                      <a:pt x="283" y="123"/>
                      <a:pt x="283" y="123"/>
                    </a:cubicBezTo>
                    <a:cubicBezTo>
                      <a:pt x="281" y="127"/>
                      <a:pt x="281" y="127"/>
                      <a:pt x="281" y="127"/>
                    </a:cubicBezTo>
                    <a:cubicBezTo>
                      <a:pt x="280" y="127"/>
                      <a:pt x="280" y="127"/>
                      <a:pt x="280" y="127"/>
                    </a:cubicBezTo>
                    <a:cubicBezTo>
                      <a:pt x="275" y="128"/>
                      <a:pt x="275" y="128"/>
                      <a:pt x="275" y="128"/>
                    </a:cubicBezTo>
                    <a:cubicBezTo>
                      <a:pt x="274" y="128"/>
                      <a:pt x="274" y="128"/>
                      <a:pt x="274" y="128"/>
                    </a:cubicBezTo>
                    <a:cubicBezTo>
                      <a:pt x="272" y="128"/>
                      <a:pt x="272" y="128"/>
                      <a:pt x="272" y="128"/>
                    </a:cubicBezTo>
                    <a:cubicBezTo>
                      <a:pt x="270" y="130"/>
                      <a:pt x="270" y="130"/>
                      <a:pt x="270" y="130"/>
                    </a:cubicBezTo>
                    <a:cubicBezTo>
                      <a:pt x="269" y="129"/>
                      <a:pt x="269" y="129"/>
                      <a:pt x="269" y="129"/>
                    </a:cubicBezTo>
                    <a:cubicBezTo>
                      <a:pt x="268" y="127"/>
                      <a:pt x="268" y="127"/>
                      <a:pt x="268" y="127"/>
                    </a:cubicBezTo>
                    <a:cubicBezTo>
                      <a:pt x="266" y="129"/>
                      <a:pt x="266" y="129"/>
                      <a:pt x="266" y="129"/>
                    </a:cubicBezTo>
                    <a:cubicBezTo>
                      <a:pt x="264" y="132"/>
                      <a:pt x="264" y="132"/>
                      <a:pt x="264" y="132"/>
                    </a:cubicBezTo>
                    <a:cubicBezTo>
                      <a:pt x="263" y="133"/>
                      <a:pt x="263" y="133"/>
                      <a:pt x="263" y="133"/>
                    </a:cubicBezTo>
                    <a:cubicBezTo>
                      <a:pt x="262" y="134"/>
                      <a:pt x="262" y="134"/>
                      <a:pt x="262" y="134"/>
                    </a:cubicBezTo>
                    <a:cubicBezTo>
                      <a:pt x="263" y="136"/>
                      <a:pt x="263" y="136"/>
                      <a:pt x="263" y="136"/>
                    </a:cubicBezTo>
                    <a:cubicBezTo>
                      <a:pt x="264" y="138"/>
                      <a:pt x="264" y="138"/>
                      <a:pt x="264" y="138"/>
                    </a:cubicBezTo>
                    <a:cubicBezTo>
                      <a:pt x="265" y="138"/>
                      <a:pt x="265" y="138"/>
                      <a:pt x="265" y="138"/>
                    </a:cubicBezTo>
                    <a:cubicBezTo>
                      <a:pt x="263" y="140"/>
                      <a:pt x="263" y="140"/>
                      <a:pt x="263" y="140"/>
                    </a:cubicBezTo>
                    <a:cubicBezTo>
                      <a:pt x="262" y="138"/>
                      <a:pt x="262" y="138"/>
                      <a:pt x="262" y="138"/>
                    </a:cubicBezTo>
                    <a:cubicBezTo>
                      <a:pt x="258" y="139"/>
                      <a:pt x="258" y="139"/>
                      <a:pt x="258" y="139"/>
                    </a:cubicBezTo>
                    <a:cubicBezTo>
                      <a:pt x="255" y="137"/>
                      <a:pt x="255" y="137"/>
                      <a:pt x="255" y="137"/>
                    </a:cubicBezTo>
                    <a:cubicBezTo>
                      <a:pt x="252" y="138"/>
                      <a:pt x="252" y="138"/>
                      <a:pt x="252" y="138"/>
                    </a:cubicBezTo>
                    <a:cubicBezTo>
                      <a:pt x="251" y="137"/>
                      <a:pt x="251" y="137"/>
                      <a:pt x="251" y="137"/>
                    </a:cubicBezTo>
                    <a:cubicBezTo>
                      <a:pt x="250" y="136"/>
                      <a:pt x="250" y="136"/>
                      <a:pt x="250" y="136"/>
                    </a:cubicBezTo>
                    <a:cubicBezTo>
                      <a:pt x="247" y="136"/>
                      <a:pt x="247" y="136"/>
                      <a:pt x="247" y="136"/>
                    </a:cubicBezTo>
                    <a:cubicBezTo>
                      <a:pt x="246" y="134"/>
                      <a:pt x="246" y="134"/>
                      <a:pt x="246" y="134"/>
                    </a:cubicBezTo>
                    <a:cubicBezTo>
                      <a:pt x="243" y="132"/>
                      <a:pt x="243" y="132"/>
                      <a:pt x="243" y="132"/>
                    </a:cubicBezTo>
                    <a:cubicBezTo>
                      <a:pt x="241" y="133"/>
                      <a:pt x="241" y="133"/>
                      <a:pt x="241" y="133"/>
                    </a:cubicBezTo>
                    <a:cubicBezTo>
                      <a:pt x="238" y="137"/>
                      <a:pt x="238" y="137"/>
                      <a:pt x="238" y="137"/>
                    </a:cubicBezTo>
                    <a:cubicBezTo>
                      <a:pt x="237" y="139"/>
                      <a:pt x="237" y="139"/>
                      <a:pt x="237" y="139"/>
                    </a:cubicBezTo>
                    <a:cubicBezTo>
                      <a:pt x="235" y="138"/>
                      <a:pt x="235" y="138"/>
                      <a:pt x="235" y="138"/>
                    </a:cubicBezTo>
                    <a:cubicBezTo>
                      <a:pt x="232" y="137"/>
                      <a:pt x="232" y="137"/>
                      <a:pt x="232" y="137"/>
                    </a:cubicBezTo>
                    <a:cubicBezTo>
                      <a:pt x="232" y="140"/>
                      <a:pt x="232" y="140"/>
                      <a:pt x="232" y="140"/>
                    </a:cubicBezTo>
                    <a:cubicBezTo>
                      <a:pt x="232" y="142"/>
                      <a:pt x="232" y="142"/>
                      <a:pt x="232" y="142"/>
                    </a:cubicBezTo>
                    <a:cubicBezTo>
                      <a:pt x="237" y="142"/>
                      <a:pt x="237" y="142"/>
                      <a:pt x="237" y="142"/>
                    </a:cubicBezTo>
                    <a:cubicBezTo>
                      <a:pt x="237" y="146"/>
                      <a:pt x="237" y="146"/>
                      <a:pt x="237" y="146"/>
                    </a:cubicBezTo>
                    <a:cubicBezTo>
                      <a:pt x="238" y="146"/>
                      <a:pt x="238" y="146"/>
                      <a:pt x="238" y="146"/>
                    </a:cubicBezTo>
                    <a:cubicBezTo>
                      <a:pt x="243" y="146"/>
                      <a:pt x="243" y="146"/>
                      <a:pt x="243" y="146"/>
                    </a:cubicBezTo>
                    <a:cubicBezTo>
                      <a:pt x="244" y="149"/>
                      <a:pt x="244" y="149"/>
                      <a:pt x="244" y="149"/>
                    </a:cubicBezTo>
                    <a:cubicBezTo>
                      <a:pt x="245" y="152"/>
                      <a:pt x="245" y="152"/>
                      <a:pt x="245" y="152"/>
                    </a:cubicBezTo>
                    <a:cubicBezTo>
                      <a:pt x="243" y="153"/>
                      <a:pt x="243" y="153"/>
                      <a:pt x="243" y="153"/>
                    </a:cubicBezTo>
                    <a:cubicBezTo>
                      <a:pt x="244" y="155"/>
                      <a:pt x="244" y="155"/>
                      <a:pt x="244" y="155"/>
                    </a:cubicBezTo>
                    <a:cubicBezTo>
                      <a:pt x="242" y="157"/>
                      <a:pt x="242" y="157"/>
                      <a:pt x="242" y="157"/>
                    </a:cubicBezTo>
                    <a:cubicBezTo>
                      <a:pt x="238" y="157"/>
                      <a:pt x="238" y="157"/>
                      <a:pt x="238" y="157"/>
                    </a:cubicBezTo>
                    <a:cubicBezTo>
                      <a:pt x="236" y="155"/>
                      <a:pt x="236" y="155"/>
                      <a:pt x="236" y="155"/>
                    </a:cubicBezTo>
                    <a:cubicBezTo>
                      <a:pt x="236" y="153"/>
                      <a:pt x="236" y="153"/>
                      <a:pt x="236" y="153"/>
                    </a:cubicBezTo>
                    <a:cubicBezTo>
                      <a:pt x="233" y="152"/>
                      <a:pt x="233" y="152"/>
                      <a:pt x="233" y="152"/>
                    </a:cubicBezTo>
                    <a:cubicBezTo>
                      <a:pt x="231" y="154"/>
                      <a:pt x="231" y="154"/>
                      <a:pt x="231" y="154"/>
                    </a:cubicBezTo>
                    <a:cubicBezTo>
                      <a:pt x="229" y="153"/>
                      <a:pt x="229" y="153"/>
                      <a:pt x="229" y="153"/>
                    </a:cubicBezTo>
                    <a:cubicBezTo>
                      <a:pt x="229" y="151"/>
                      <a:pt x="229" y="151"/>
                      <a:pt x="229" y="151"/>
                    </a:cubicBezTo>
                    <a:cubicBezTo>
                      <a:pt x="230" y="149"/>
                      <a:pt x="230" y="149"/>
                      <a:pt x="230" y="149"/>
                    </a:cubicBezTo>
                    <a:cubicBezTo>
                      <a:pt x="229" y="148"/>
                      <a:pt x="229" y="148"/>
                      <a:pt x="229" y="148"/>
                    </a:cubicBezTo>
                    <a:cubicBezTo>
                      <a:pt x="226" y="144"/>
                      <a:pt x="226" y="144"/>
                      <a:pt x="226" y="144"/>
                    </a:cubicBezTo>
                    <a:cubicBezTo>
                      <a:pt x="225" y="142"/>
                      <a:pt x="225" y="142"/>
                      <a:pt x="225" y="142"/>
                    </a:cubicBezTo>
                    <a:cubicBezTo>
                      <a:pt x="218" y="140"/>
                      <a:pt x="218" y="140"/>
                      <a:pt x="218" y="140"/>
                    </a:cubicBezTo>
                    <a:cubicBezTo>
                      <a:pt x="217" y="143"/>
                      <a:pt x="217" y="143"/>
                      <a:pt x="217" y="143"/>
                    </a:cubicBezTo>
                    <a:cubicBezTo>
                      <a:pt x="213" y="143"/>
                      <a:pt x="213" y="143"/>
                      <a:pt x="213" y="143"/>
                    </a:cubicBezTo>
                    <a:cubicBezTo>
                      <a:pt x="213" y="144"/>
                      <a:pt x="213" y="144"/>
                      <a:pt x="213" y="144"/>
                    </a:cubicBezTo>
                    <a:cubicBezTo>
                      <a:pt x="211" y="146"/>
                      <a:pt x="211" y="146"/>
                      <a:pt x="211" y="146"/>
                    </a:cubicBezTo>
                    <a:cubicBezTo>
                      <a:pt x="210" y="149"/>
                      <a:pt x="210" y="149"/>
                      <a:pt x="210" y="149"/>
                    </a:cubicBezTo>
                    <a:cubicBezTo>
                      <a:pt x="210" y="153"/>
                      <a:pt x="210" y="153"/>
                      <a:pt x="210" y="153"/>
                    </a:cubicBezTo>
                    <a:cubicBezTo>
                      <a:pt x="212" y="155"/>
                      <a:pt x="212" y="155"/>
                      <a:pt x="212" y="155"/>
                    </a:cubicBezTo>
                    <a:cubicBezTo>
                      <a:pt x="212" y="156"/>
                      <a:pt x="212" y="156"/>
                      <a:pt x="212" y="156"/>
                    </a:cubicBezTo>
                    <a:cubicBezTo>
                      <a:pt x="213" y="156"/>
                      <a:pt x="213" y="156"/>
                      <a:pt x="213" y="156"/>
                    </a:cubicBezTo>
                    <a:cubicBezTo>
                      <a:pt x="210" y="159"/>
                      <a:pt x="210" y="159"/>
                      <a:pt x="210" y="159"/>
                    </a:cubicBezTo>
                    <a:cubicBezTo>
                      <a:pt x="208" y="163"/>
                      <a:pt x="208" y="163"/>
                      <a:pt x="208" y="163"/>
                    </a:cubicBezTo>
                    <a:cubicBezTo>
                      <a:pt x="206" y="166"/>
                      <a:pt x="206" y="166"/>
                      <a:pt x="206" y="166"/>
                    </a:cubicBezTo>
                    <a:cubicBezTo>
                      <a:pt x="203" y="166"/>
                      <a:pt x="203" y="166"/>
                      <a:pt x="203" y="166"/>
                    </a:cubicBezTo>
                    <a:cubicBezTo>
                      <a:pt x="201" y="163"/>
                      <a:pt x="201" y="163"/>
                      <a:pt x="201" y="163"/>
                    </a:cubicBezTo>
                    <a:cubicBezTo>
                      <a:pt x="197" y="162"/>
                      <a:pt x="197" y="162"/>
                      <a:pt x="197" y="162"/>
                    </a:cubicBezTo>
                    <a:cubicBezTo>
                      <a:pt x="195" y="160"/>
                      <a:pt x="195" y="160"/>
                      <a:pt x="195" y="160"/>
                    </a:cubicBezTo>
                    <a:cubicBezTo>
                      <a:pt x="192" y="161"/>
                      <a:pt x="192" y="161"/>
                      <a:pt x="192" y="161"/>
                    </a:cubicBezTo>
                    <a:cubicBezTo>
                      <a:pt x="189" y="162"/>
                      <a:pt x="189" y="162"/>
                      <a:pt x="189" y="162"/>
                    </a:cubicBezTo>
                    <a:cubicBezTo>
                      <a:pt x="186" y="165"/>
                      <a:pt x="186" y="165"/>
                      <a:pt x="186" y="165"/>
                    </a:cubicBezTo>
                    <a:cubicBezTo>
                      <a:pt x="183" y="166"/>
                      <a:pt x="183" y="166"/>
                      <a:pt x="183" y="166"/>
                    </a:cubicBezTo>
                    <a:cubicBezTo>
                      <a:pt x="179" y="166"/>
                      <a:pt x="179" y="166"/>
                      <a:pt x="179" y="166"/>
                    </a:cubicBezTo>
                    <a:cubicBezTo>
                      <a:pt x="178" y="168"/>
                      <a:pt x="178" y="168"/>
                      <a:pt x="178" y="168"/>
                    </a:cubicBezTo>
                    <a:cubicBezTo>
                      <a:pt x="176" y="169"/>
                      <a:pt x="176" y="169"/>
                      <a:pt x="176" y="169"/>
                    </a:cubicBezTo>
                    <a:cubicBezTo>
                      <a:pt x="173" y="169"/>
                      <a:pt x="173" y="169"/>
                      <a:pt x="173" y="169"/>
                    </a:cubicBezTo>
                    <a:cubicBezTo>
                      <a:pt x="168" y="170"/>
                      <a:pt x="168" y="170"/>
                      <a:pt x="168" y="170"/>
                    </a:cubicBezTo>
                    <a:cubicBezTo>
                      <a:pt x="165" y="171"/>
                      <a:pt x="165" y="171"/>
                      <a:pt x="165" y="171"/>
                    </a:cubicBezTo>
                    <a:cubicBezTo>
                      <a:pt x="162" y="171"/>
                      <a:pt x="162" y="171"/>
                      <a:pt x="162" y="171"/>
                    </a:cubicBezTo>
                    <a:cubicBezTo>
                      <a:pt x="158" y="172"/>
                      <a:pt x="158" y="172"/>
                      <a:pt x="158" y="172"/>
                    </a:cubicBezTo>
                    <a:cubicBezTo>
                      <a:pt x="157" y="173"/>
                      <a:pt x="157" y="173"/>
                      <a:pt x="157" y="173"/>
                    </a:cubicBezTo>
                    <a:cubicBezTo>
                      <a:pt x="157" y="176"/>
                      <a:pt x="157" y="176"/>
                      <a:pt x="157" y="176"/>
                    </a:cubicBezTo>
                    <a:cubicBezTo>
                      <a:pt x="155" y="179"/>
                      <a:pt x="155" y="179"/>
                      <a:pt x="155" y="179"/>
                    </a:cubicBezTo>
                    <a:cubicBezTo>
                      <a:pt x="157" y="182"/>
                      <a:pt x="157" y="182"/>
                      <a:pt x="157" y="182"/>
                    </a:cubicBezTo>
                    <a:cubicBezTo>
                      <a:pt x="156" y="183"/>
                      <a:pt x="156" y="183"/>
                      <a:pt x="156" y="183"/>
                    </a:cubicBezTo>
                    <a:cubicBezTo>
                      <a:pt x="157" y="184"/>
                      <a:pt x="157" y="184"/>
                      <a:pt x="157" y="184"/>
                    </a:cubicBezTo>
                    <a:cubicBezTo>
                      <a:pt x="156" y="185"/>
                      <a:pt x="156" y="185"/>
                      <a:pt x="156" y="185"/>
                    </a:cubicBezTo>
                    <a:cubicBezTo>
                      <a:pt x="160" y="188"/>
                      <a:pt x="160" y="188"/>
                      <a:pt x="160" y="188"/>
                    </a:cubicBezTo>
                    <a:cubicBezTo>
                      <a:pt x="156" y="193"/>
                      <a:pt x="156" y="193"/>
                      <a:pt x="156" y="193"/>
                    </a:cubicBezTo>
                    <a:cubicBezTo>
                      <a:pt x="155" y="193"/>
                      <a:pt x="155" y="193"/>
                      <a:pt x="155" y="193"/>
                    </a:cubicBezTo>
                    <a:cubicBezTo>
                      <a:pt x="153" y="193"/>
                      <a:pt x="153" y="193"/>
                      <a:pt x="153" y="193"/>
                    </a:cubicBezTo>
                    <a:cubicBezTo>
                      <a:pt x="150" y="194"/>
                      <a:pt x="150" y="194"/>
                      <a:pt x="150" y="194"/>
                    </a:cubicBezTo>
                    <a:cubicBezTo>
                      <a:pt x="145" y="194"/>
                      <a:pt x="145" y="194"/>
                      <a:pt x="145" y="194"/>
                    </a:cubicBezTo>
                    <a:cubicBezTo>
                      <a:pt x="142" y="194"/>
                      <a:pt x="142" y="194"/>
                      <a:pt x="142" y="194"/>
                    </a:cubicBezTo>
                    <a:cubicBezTo>
                      <a:pt x="139" y="197"/>
                      <a:pt x="139" y="197"/>
                      <a:pt x="139" y="197"/>
                    </a:cubicBezTo>
                    <a:cubicBezTo>
                      <a:pt x="139" y="200"/>
                      <a:pt x="139" y="200"/>
                      <a:pt x="139" y="200"/>
                    </a:cubicBezTo>
                    <a:cubicBezTo>
                      <a:pt x="138" y="201"/>
                      <a:pt x="138" y="201"/>
                      <a:pt x="138" y="201"/>
                    </a:cubicBezTo>
                    <a:cubicBezTo>
                      <a:pt x="134" y="198"/>
                      <a:pt x="134" y="198"/>
                      <a:pt x="134" y="198"/>
                    </a:cubicBezTo>
                    <a:cubicBezTo>
                      <a:pt x="134" y="200"/>
                      <a:pt x="134" y="200"/>
                      <a:pt x="134" y="200"/>
                    </a:cubicBezTo>
                    <a:cubicBezTo>
                      <a:pt x="134" y="203"/>
                      <a:pt x="134" y="203"/>
                      <a:pt x="134" y="203"/>
                    </a:cubicBezTo>
                    <a:cubicBezTo>
                      <a:pt x="132" y="206"/>
                      <a:pt x="132" y="206"/>
                      <a:pt x="132" y="206"/>
                    </a:cubicBezTo>
                    <a:cubicBezTo>
                      <a:pt x="127" y="206"/>
                      <a:pt x="127" y="206"/>
                      <a:pt x="127" y="206"/>
                    </a:cubicBezTo>
                    <a:cubicBezTo>
                      <a:pt x="127" y="204"/>
                      <a:pt x="127" y="204"/>
                      <a:pt x="127" y="204"/>
                    </a:cubicBezTo>
                    <a:cubicBezTo>
                      <a:pt x="120" y="203"/>
                      <a:pt x="120" y="203"/>
                      <a:pt x="120" y="203"/>
                    </a:cubicBezTo>
                    <a:cubicBezTo>
                      <a:pt x="119" y="204"/>
                      <a:pt x="119" y="204"/>
                      <a:pt x="119" y="204"/>
                    </a:cubicBezTo>
                    <a:cubicBezTo>
                      <a:pt x="112" y="204"/>
                      <a:pt x="112" y="204"/>
                      <a:pt x="112" y="204"/>
                    </a:cubicBezTo>
                    <a:cubicBezTo>
                      <a:pt x="109" y="203"/>
                      <a:pt x="109" y="203"/>
                      <a:pt x="109" y="203"/>
                    </a:cubicBezTo>
                    <a:cubicBezTo>
                      <a:pt x="104" y="203"/>
                      <a:pt x="104" y="203"/>
                      <a:pt x="104" y="203"/>
                    </a:cubicBezTo>
                    <a:cubicBezTo>
                      <a:pt x="101" y="205"/>
                      <a:pt x="101" y="205"/>
                      <a:pt x="101" y="205"/>
                    </a:cubicBezTo>
                    <a:cubicBezTo>
                      <a:pt x="98" y="208"/>
                      <a:pt x="98" y="208"/>
                      <a:pt x="98" y="208"/>
                    </a:cubicBezTo>
                    <a:cubicBezTo>
                      <a:pt x="96" y="210"/>
                      <a:pt x="96" y="210"/>
                      <a:pt x="96" y="210"/>
                    </a:cubicBezTo>
                    <a:cubicBezTo>
                      <a:pt x="93" y="214"/>
                      <a:pt x="93" y="214"/>
                      <a:pt x="93" y="214"/>
                    </a:cubicBezTo>
                    <a:cubicBezTo>
                      <a:pt x="91" y="216"/>
                      <a:pt x="91" y="216"/>
                      <a:pt x="91" y="216"/>
                    </a:cubicBezTo>
                    <a:cubicBezTo>
                      <a:pt x="86" y="217"/>
                      <a:pt x="86" y="217"/>
                      <a:pt x="86" y="217"/>
                    </a:cubicBezTo>
                    <a:cubicBezTo>
                      <a:pt x="83" y="214"/>
                      <a:pt x="83" y="214"/>
                      <a:pt x="83" y="214"/>
                    </a:cubicBezTo>
                    <a:cubicBezTo>
                      <a:pt x="81" y="215"/>
                      <a:pt x="81" y="215"/>
                      <a:pt x="81" y="215"/>
                    </a:cubicBezTo>
                    <a:cubicBezTo>
                      <a:pt x="78" y="217"/>
                      <a:pt x="78" y="217"/>
                      <a:pt x="78" y="217"/>
                    </a:cubicBezTo>
                    <a:cubicBezTo>
                      <a:pt x="73" y="217"/>
                      <a:pt x="73" y="217"/>
                      <a:pt x="73" y="217"/>
                    </a:cubicBezTo>
                    <a:cubicBezTo>
                      <a:pt x="68" y="217"/>
                      <a:pt x="68" y="217"/>
                      <a:pt x="68" y="217"/>
                    </a:cubicBezTo>
                    <a:cubicBezTo>
                      <a:pt x="65" y="217"/>
                      <a:pt x="65" y="217"/>
                      <a:pt x="65" y="217"/>
                    </a:cubicBezTo>
                    <a:cubicBezTo>
                      <a:pt x="58" y="216"/>
                      <a:pt x="58" y="216"/>
                      <a:pt x="58" y="216"/>
                    </a:cubicBezTo>
                    <a:cubicBezTo>
                      <a:pt x="54" y="216"/>
                      <a:pt x="54" y="216"/>
                      <a:pt x="54" y="216"/>
                    </a:cubicBezTo>
                    <a:cubicBezTo>
                      <a:pt x="50" y="213"/>
                      <a:pt x="50" y="213"/>
                      <a:pt x="50" y="213"/>
                    </a:cubicBezTo>
                    <a:cubicBezTo>
                      <a:pt x="48" y="212"/>
                      <a:pt x="48" y="212"/>
                      <a:pt x="48" y="212"/>
                    </a:cubicBezTo>
                    <a:cubicBezTo>
                      <a:pt x="47" y="210"/>
                      <a:pt x="47" y="210"/>
                      <a:pt x="47" y="210"/>
                    </a:cubicBezTo>
                    <a:cubicBezTo>
                      <a:pt x="48" y="211"/>
                      <a:pt x="48" y="211"/>
                      <a:pt x="48" y="211"/>
                    </a:cubicBezTo>
                    <a:cubicBezTo>
                      <a:pt x="49" y="211"/>
                      <a:pt x="49" y="211"/>
                      <a:pt x="49" y="211"/>
                    </a:cubicBezTo>
                    <a:cubicBezTo>
                      <a:pt x="50" y="210"/>
                      <a:pt x="50" y="210"/>
                      <a:pt x="50" y="210"/>
                    </a:cubicBezTo>
                    <a:cubicBezTo>
                      <a:pt x="50" y="208"/>
                      <a:pt x="50" y="208"/>
                      <a:pt x="50" y="208"/>
                    </a:cubicBezTo>
                    <a:cubicBezTo>
                      <a:pt x="50" y="207"/>
                      <a:pt x="50" y="207"/>
                      <a:pt x="50" y="207"/>
                    </a:cubicBezTo>
                    <a:cubicBezTo>
                      <a:pt x="49" y="206"/>
                      <a:pt x="49" y="206"/>
                      <a:pt x="49" y="206"/>
                    </a:cubicBezTo>
                    <a:cubicBezTo>
                      <a:pt x="49" y="206"/>
                      <a:pt x="49" y="206"/>
                      <a:pt x="49" y="206"/>
                    </a:cubicBezTo>
                    <a:cubicBezTo>
                      <a:pt x="49" y="208"/>
                      <a:pt x="49" y="208"/>
                      <a:pt x="49" y="208"/>
                    </a:cubicBezTo>
                    <a:cubicBezTo>
                      <a:pt x="49" y="209"/>
                      <a:pt x="49" y="209"/>
                      <a:pt x="49" y="209"/>
                    </a:cubicBezTo>
                    <a:cubicBezTo>
                      <a:pt x="49" y="210"/>
                      <a:pt x="49" y="210"/>
                      <a:pt x="49" y="210"/>
                    </a:cubicBezTo>
                    <a:cubicBezTo>
                      <a:pt x="47" y="210"/>
                      <a:pt x="47" y="210"/>
                      <a:pt x="47" y="210"/>
                    </a:cubicBezTo>
                    <a:cubicBezTo>
                      <a:pt x="47" y="210"/>
                      <a:pt x="47" y="210"/>
                      <a:pt x="47" y="210"/>
                    </a:cubicBezTo>
                    <a:cubicBezTo>
                      <a:pt x="44" y="209"/>
                      <a:pt x="44" y="209"/>
                      <a:pt x="44" y="209"/>
                    </a:cubicBezTo>
                    <a:cubicBezTo>
                      <a:pt x="42" y="209"/>
                      <a:pt x="42" y="209"/>
                      <a:pt x="42" y="209"/>
                    </a:cubicBezTo>
                    <a:cubicBezTo>
                      <a:pt x="41" y="208"/>
                      <a:pt x="41" y="208"/>
                      <a:pt x="41" y="208"/>
                    </a:cubicBezTo>
                    <a:cubicBezTo>
                      <a:pt x="40" y="208"/>
                      <a:pt x="40" y="208"/>
                      <a:pt x="40" y="208"/>
                    </a:cubicBezTo>
                    <a:cubicBezTo>
                      <a:pt x="39" y="207"/>
                      <a:pt x="39" y="207"/>
                      <a:pt x="39" y="207"/>
                    </a:cubicBezTo>
                    <a:cubicBezTo>
                      <a:pt x="37" y="206"/>
                      <a:pt x="37" y="206"/>
                      <a:pt x="37" y="206"/>
                    </a:cubicBezTo>
                    <a:cubicBezTo>
                      <a:pt x="36" y="206"/>
                      <a:pt x="36" y="206"/>
                      <a:pt x="36" y="206"/>
                    </a:cubicBezTo>
                    <a:cubicBezTo>
                      <a:pt x="34" y="206"/>
                      <a:pt x="34" y="206"/>
                      <a:pt x="34" y="206"/>
                    </a:cubicBezTo>
                    <a:cubicBezTo>
                      <a:pt x="34" y="206"/>
                      <a:pt x="34" y="206"/>
                      <a:pt x="34" y="206"/>
                    </a:cubicBezTo>
                    <a:cubicBezTo>
                      <a:pt x="32" y="207"/>
                      <a:pt x="32" y="207"/>
                      <a:pt x="32" y="207"/>
                    </a:cubicBezTo>
                    <a:cubicBezTo>
                      <a:pt x="32" y="207"/>
                      <a:pt x="32" y="207"/>
                      <a:pt x="32" y="207"/>
                    </a:cubicBezTo>
                    <a:cubicBezTo>
                      <a:pt x="31" y="207"/>
                      <a:pt x="31" y="207"/>
                      <a:pt x="31" y="207"/>
                    </a:cubicBezTo>
                    <a:cubicBezTo>
                      <a:pt x="30" y="208"/>
                      <a:pt x="30" y="208"/>
                      <a:pt x="30" y="208"/>
                    </a:cubicBezTo>
                    <a:cubicBezTo>
                      <a:pt x="29" y="208"/>
                      <a:pt x="29" y="208"/>
                      <a:pt x="29" y="208"/>
                    </a:cubicBezTo>
                    <a:cubicBezTo>
                      <a:pt x="28" y="208"/>
                      <a:pt x="28" y="208"/>
                      <a:pt x="28" y="208"/>
                    </a:cubicBezTo>
                    <a:cubicBezTo>
                      <a:pt x="27" y="208"/>
                      <a:pt x="27" y="208"/>
                      <a:pt x="27" y="208"/>
                    </a:cubicBezTo>
                    <a:cubicBezTo>
                      <a:pt x="26" y="208"/>
                      <a:pt x="26" y="208"/>
                      <a:pt x="26" y="208"/>
                    </a:cubicBezTo>
                    <a:cubicBezTo>
                      <a:pt x="25" y="209"/>
                      <a:pt x="25" y="209"/>
                      <a:pt x="25" y="209"/>
                    </a:cubicBezTo>
                    <a:cubicBezTo>
                      <a:pt x="25" y="209"/>
                      <a:pt x="25" y="209"/>
                      <a:pt x="25" y="209"/>
                    </a:cubicBezTo>
                    <a:cubicBezTo>
                      <a:pt x="22" y="211"/>
                      <a:pt x="22" y="211"/>
                      <a:pt x="22" y="211"/>
                    </a:cubicBezTo>
                    <a:cubicBezTo>
                      <a:pt x="22" y="211"/>
                      <a:pt x="22" y="211"/>
                      <a:pt x="22" y="211"/>
                    </a:cubicBezTo>
                    <a:cubicBezTo>
                      <a:pt x="21" y="211"/>
                      <a:pt x="21" y="211"/>
                      <a:pt x="21" y="211"/>
                    </a:cubicBezTo>
                    <a:cubicBezTo>
                      <a:pt x="21" y="211"/>
                      <a:pt x="21" y="211"/>
                      <a:pt x="21" y="211"/>
                    </a:cubicBezTo>
                    <a:cubicBezTo>
                      <a:pt x="20" y="212"/>
                      <a:pt x="20" y="212"/>
                      <a:pt x="20" y="212"/>
                    </a:cubicBezTo>
                    <a:cubicBezTo>
                      <a:pt x="19" y="212"/>
                      <a:pt x="19" y="212"/>
                      <a:pt x="19" y="212"/>
                    </a:cubicBezTo>
                    <a:cubicBezTo>
                      <a:pt x="19" y="213"/>
                      <a:pt x="19" y="213"/>
                      <a:pt x="19" y="213"/>
                    </a:cubicBezTo>
                    <a:cubicBezTo>
                      <a:pt x="18" y="213"/>
                      <a:pt x="18" y="213"/>
                      <a:pt x="18" y="213"/>
                    </a:cubicBezTo>
                    <a:cubicBezTo>
                      <a:pt x="18" y="214"/>
                      <a:pt x="18" y="214"/>
                      <a:pt x="18" y="214"/>
                    </a:cubicBezTo>
                    <a:cubicBezTo>
                      <a:pt x="17" y="214"/>
                      <a:pt x="17" y="214"/>
                      <a:pt x="17" y="214"/>
                    </a:cubicBezTo>
                    <a:cubicBezTo>
                      <a:pt x="17" y="215"/>
                      <a:pt x="17" y="215"/>
                      <a:pt x="17" y="215"/>
                    </a:cubicBezTo>
                    <a:cubicBezTo>
                      <a:pt x="17" y="215"/>
                      <a:pt x="17" y="215"/>
                      <a:pt x="17" y="215"/>
                    </a:cubicBezTo>
                    <a:cubicBezTo>
                      <a:pt x="18" y="216"/>
                      <a:pt x="18" y="216"/>
                      <a:pt x="18" y="216"/>
                    </a:cubicBezTo>
                    <a:cubicBezTo>
                      <a:pt x="18" y="216"/>
                      <a:pt x="18" y="216"/>
                      <a:pt x="18" y="216"/>
                    </a:cubicBezTo>
                    <a:cubicBezTo>
                      <a:pt x="19" y="216"/>
                      <a:pt x="19" y="216"/>
                      <a:pt x="19" y="216"/>
                    </a:cubicBezTo>
                    <a:cubicBezTo>
                      <a:pt x="19" y="217"/>
                      <a:pt x="19" y="217"/>
                      <a:pt x="19" y="217"/>
                    </a:cubicBezTo>
                    <a:cubicBezTo>
                      <a:pt x="19" y="217"/>
                      <a:pt x="19" y="217"/>
                      <a:pt x="19" y="217"/>
                    </a:cubicBezTo>
                    <a:cubicBezTo>
                      <a:pt x="19" y="217"/>
                      <a:pt x="19" y="217"/>
                      <a:pt x="19" y="217"/>
                    </a:cubicBezTo>
                    <a:cubicBezTo>
                      <a:pt x="19" y="218"/>
                      <a:pt x="19" y="218"/>
                      <a:pt x="19" y="218"/>
                    </a:cubicBezTo>
                    <a:cubicBezTo>
                      <a:pt x="19" y="219"/>
                      <a:pt x="19" y="219"/>
                      <a:pt x="19" y="219"/>
                    </a:cubicBezTo>
                    <a:cubicBezTo>
                      <a:pt x="18" y="219"/>
                      <a:pt x="18" y="219"/>
                      <a:pt x="18" y="219"/>
                    </a:cubicBezTo>
                    <a:cubicBezTo>
                      <a:pt x="18" y="219"/>
                      <a:pt x="18" y="219"/>
                      <a:pt x="18" y="219"/>
                    </a:cubicBezTo>
                    <a:cubicBezTo>
                      <a:pt x="18" y="220"/>
                      <a:pt x="18" y="220"/>
                      <a:pt x="18" y="220"/>
                    </a:cubicBezTo>
                    <a:cubicBezTo>
                      <a:pt x="18" y="220"/>
                      <a:pt x="18" y="220"/>
                      <a:pt x="18" y="220"/>
                    </a:cubicBezTo>
                    <a:cubicBezTo>
                      <a:pt x="19" y="221"/>
                      <a:pt x="19" y="221"/>
                      <a:pt x="19" y="221"/>
                    </a:cubicBezTo>
                    <a:cubicBezTo>
                      <a:pt x="19" y="221"/>
                      <a:pt x="19" y="221"/>
                      <a:pt x="19" y="221"/>
                    </a:cubicBezTo>
                    <a:cubicBezTo>
                      <a:pt x="20" y="221"/>
                      <a:pt x="20" y="221"/>
                      <a:pt x="20" y="221"/>
                    </a:cubicBezTo>
                    <a:cubicBezTo>
                      <a:pt x="20" y="221"/>
                      <a:pt x="20" y="221"/>
                      <a:pt x="20" y="221"/>
                    </a:cubicBezTo>
                    <a:cubicBezTo>
                      <a:pt x="21" y="222"/>
                      <a:pt x="21" y="222"/>
                      <a:pt x="21" y="222"/>
                    </a:cubicBezTo>
                    <a:cubicBezTo>
                      <a:pt x="21" y="223"/>
                      <a:pt x="21" y="223"/>
                      <a:pt x="21" y="223"/>
                    </a:cubicBezTo>
                    <a:cubicBezTo>
                      <a:pt x="21" y="223"/>
                      <a:pt x="21" y="223"/>
                      <a:pt x="21" y="223"/>
                    </a:cubicBezTo>
                    <a:cubicBezTo>
                      <a:pt x="22" y="223"/>
                      <a:pt x="22" y="223"/>
                      <a:pt x="22" y="223"/>
                    </a:cubicBezTo>
                    <a:cubicBezTo>
                      <a:pt x="22" y="224"/>
                      <a:pt x="22" y="224"/>
                      <a:pt x="22" y="224"/>
                    </a:cubicBezTo>
                    <a:cubicBezTo>
                      <a:pt x="21" y="224"/>
                      <a:pt x="21" y="224"/>
                      <a:pt x="21" y="224"/>
                    </a:cubicBezTo>
                    <a:cubicBezTo>
                      <a:pt x="21" y="224"/>
                      <a:pt x="21" y="224"/>
                      <a:pt x="21" y="224"/>
                    </a:cubicBezTo>
                    <a:cubicBezTo>
                      <a:pt x="22" y="225"/>
                      <a:pt x="22" y="225"/>
                      <a:pt x="22" y="225"/>
                    </a:cubicBezTo>
                    <a:cubicBezTo>
                      <a:pt x="23" y="225"/>
                      <a:pt x="23" y="225"/>
                      <a:pt x="23" y="225"/>
                    </a:cubicBezTo>
                    <a:cubicBezTo>
                      <a:pt x="23" y="226"/>
                      <a:pt x="23" y="226"/>
                      <a:pt x="23" y="226"/>
                    </a:cubicBezTo>
                    <a:cubicBezTo>
                      <a:pt x="23" y="226"/>
                      <a:pt x="23" y="226"/>
                      <a:pt x="23" y="226"/>
                    </a:cubicBezTo>
                    <a:cubicBezTo>
                      <a:pt x="24" y="226"/>
                      <a:pt x="24" y="226"/>
                      <a:pt x="24" y="226"/>
                    </a:cubicBezTo>
                    <a:cubicBezTo>
                      <a:pt x="24" y="227"/>
                      <a:pt x="24" y="227"/>
                      <a:pt x="24" y="227"/>
                    </a:cubicBezTo>
                    <a:cubicBezTo>
                      <a:pt x="24" y="227"/>
                      <a:pt x="24" y="227"/>
                      <a:pt x="24" y="227"/>
                    </a:cubicBezTo>
                    <a:cubicBezTo>
                      <a:pt x="23" y="228"/>
                      <a:pt x="23" y="228"/>
                      <a:pt x="23" y="228"/>
                    </a:cubicBezTo>
                    <a:cubicBezTo>
                      <a:pt x="23" y="228"/>
                      <a:pt x="23" y="228"/>
                      <a:pt x="23" y="228"/>
                    </a:cubicBezTo>
                    <a:cubicBezTo>
                      <a:pt x="23" y="228"/>
                      <a:pt x="23" y="228"/>
                      <a:pt x="23" y="228"/>
                    </a:cubicBezTo>
                    <a:cubicBezTo>
                      <a:pt x="23" y="228"/>
                      <a:pt x="23" y="228"/>
                      <a:pt x="23" y="228"/>
                    </a:cubicBezTo>
                    <a:cubicBezTo>
                      <a:pt x="22" y="228"/>
                      <a:pt x="22" y="228"/>
                      <a:pt x="22" y="228"/>
                    </a:cubicBezTo>
                    <a:cubicBezTo>
                      <a:pt x="22" y="228"/>
                      <a:pt x="22" y="228"/>
                      <a:pt x="22" y="228"/>
                    </a:cubicBezTo>
                    <a:cubicBezTo>
                      <a:pt x="22" y="228"/>
                      <a:pt x="22" y="228"/>
                      <a:pt x="22" y="228"/>
                    </a:cubicBezTo>
                    <a:cubicBezTo>
                      <a:pt x="21" y="228"/>
                      <a:pt x="21" y="228"/>
                      <a:pt x="21" y="228"/>
                    </a:cubicBezTo>
                    <a:cubicBezTo>
                      <a:pt x="21" y="228"/>
                      <a:pt x="21" y="228"/>
                      <a:pt x="21" y="228"/>
                    </a:cubicBezTo>
                    <a:cubicBezTo>
                      <a:pt x="20" y="228"/>
                      <a:pt x="20" y="228"/>
                      <a:pt x="20" y="228"/>
                    </a:cubicBezTo>
                    <a:cubicBezTo>
                      <a:pt x="20" y="227"/>
                      <a:pt x="20" y="227"/>
                      <a:pt x="20" y="227"/>
                    </a:cubicBezTo>
                    <a:cubicBezTo>
                      <a:pt x="19" y="227"/>
                      <a:pt x="19" y="227"/>
                      <a:pt x="19" y="227"/>
                    </a:cubicBezTo>
                    <a:cubicBezTo>
                      <a:pt x="19" y="227"/>
                      <a:pt x="19" y="227"/>
                      <a:pt x="19" y="227"/>
                    </a:cubicBezTo>
                    <a:cubicBezTo>
                      <a:pt x="19" y="227"/>
                      <a:pt x="19" y="227"/>
                      <a:pt x="19" y="227"/>
                    </a:cubicBezTo>
                    <a:cubicBezTo>
                      <a:pt x="18" y="227"/>
                      <a:pt x="18" y="227"/>
                      <a:pt x="18" y="227"/>
                    </a:cubicBezTo>
                    <a:cubicBezTo>
                      <a:pt x="18" y="228"/>
                      <a:pt x="18" y="228"/>
                      <a:pt x="18" y="228"/>
                    </a:cubicBezTo>
                    <a:cubicBezTo>
                      <a:pt x="18" y="228"/>
                      <a:pt x="18" y="228"/>
                      <a:pt x="18" y="228"/>
                    </a:cubicBezTo>
                    <a:cubicBezTo>
                      <a:pt x="17" y="228"/>
                      <a:pt x="17" y="228"/>
                      <a:pt x="17" y="228"/>
                    </a:cubicBezTo>
                    <a:cubicBezTo>
                      <a:pt x="17" y="229"/>
                      <a:pt x="17" y="229"/>
                      <a:pt x="17" y="229"/>
                    </a:cubicBezTo>
                    <a:cubicBezTo>
                      <a:pt x="17" y="230"/>
                      <a:pt x="17" y="230"/>
                      <a:pt x="17" y="230"/>
                    </a:cubicBezTo>
                    <a:cubicBezTo>
                      <a:pt x="17" y="231"/>
                      <a:pt x="17" y="231"/>
                      <a:pt x="17" y="231"/>
                    </a:cubicBezTo>
                    <a:cubicBezTo>
                      <a:pt x="16" y="232"/>
                      <a:pt x="16" y="232"/>
                      <a:pt x="16" y="232"/>
                    </a:cubicBezTo>
                    <a:cubicBezTo>
                      <a:pt x="16" y="234"/>
                      <a:pt x="16" y="234"/>
                      <a:pt x="16" y="234"/>
                    </a:cubicBezTo>
                    <a:cubicBezTo>
                      <a:pt x="16" y="234"/>
                      <a:pt x="16" y="234"/>
                      <a:pt x="16" y="234"/>
                    </a:cubicBezTo>
                    <a:cubicBezTo>
                      <a:pt x="17" y="235"/>
                      <a:pt x="17" y="235"/>
                      <a:pt x="17" y="235"/>
                    </a:cubicBezTo>
                    <a:cubicBezTo>
                      <a:pt x="17" y="235"/>
                      <a:pt x="17" y="235"/>
                      <a:pt x="17" y="235"/>
                    </a:cubicBezTo>
                    <a:cubicBezTo>
                      <a:pt x="17" y="236"/>
                      <a:pt x="17" y="236"/>
                      <a:pt x="17" y="236"/>
                    </a:cubicBezTo>
                    <a:cubicBezTo>
                      <a:pt x="17" y="236"/>
                      <a:pt x="17" y="236"/>
                      <a:pt x="17" y="236"/>
                    </a:cubicBezTo>
                    <a:cubicBezTo>
                      <a:pt x="16" y="236"/>
                      <a:pt x="16" y="236"/>
                      <a:pt x="16" y="236"/>
                    </a:cubicBezTo>
                    <a:cubicBezTo>
                      <a:pt x="16" y="236"/>
                      <a:pt x="16" y="236"/>
                      <a:pt x="16" y="236"/>
                    </a:cubicBezTo>
                    <a:cubicBezTo>
                      <a:pt x="15" y="236"/>
                      <a:pt x="15" y="236"/>
                      <a:pt x="15" y="236"/>
                    </a:cubicBezTo>
                    <a:cubicBezTo>
                      <a:pt x="14" y="236"/>
                      <a:pt x="14" y="236"/>
                      <a:pt x="14" y="236"/>
                    </a:cubicBezTo>
                    <a:cubicBezTo>
                      <a:pt x="14" y="236"/>
                      <a:pt x="14" y="236"/>
                      <a:pt x="14" y="236"/>
                    </a:cubicBezTo>
                    <a:cubicBezTo>
                      <a:pt x="14" y="237"/>
                      <a:pt x="14" y="237"/>
                      <a:pt x="14" y="237"/>
                    </a:cubicBezTo>
                    <a:cubicBezTo>
                      <a:pt x="13" y="237"/>
                      <a:pt x="13" y="237"/>
                      <a:pt x="13" y="237"/>
                    </a:cubicBezTo>
                    <a:cubicBezTo>
                      <a:pt x="13" y="238"/>
                      <a:pt x="13" y="238"/>
                      <a:pt x="13" y="238"/>
                    </a:cubicBezTo>
                    <a:cubicBezTo>
                      <a:pt x="14" y="238"/>
                      <a:pt x="14" y="238"/>
                      <a:pt x="14" y="238"/>
                    </a:cubicBezTo>
                    <a:cubicBezTo>
                      <a:pt x="14" y="238"/>
                      <a:pt x="14" y="238"/>
                      <a:pt x="14" y="238"/>
                    </a:cubicBezTo>
                    <a:cubicBezTo>
                      <a:pt x="14" y="239"/>
                      <a:pt x="14" y="239"/>
                      <a:pt x="14" y="239"/>
                    </a:cubicBezTo>
                    <a:cubicBezTo>
                      <a:pt x="14" y="239"/>
                      <a:pt x="14" y="239"/>
                      <a:pt x="14" y="239"/>
                    </a:cubicBezTo>
                    <a:cubicBezTo>
                      <a:pt x="15" y="240"/>
                      <a:pt x="15" y="240"/>
                      <a:pt x="15" y="240"/>
                    </a:cubicBezTo>
                    <a:cubicBezTo>
                      <a:pt x="16" y="240"/>
                      <a:pt x="16" y="240"/>
                      <a:pt x="16" y="240"/>
                    </a:cubicBezTo>
                    <a:cubicBezTo>
                      <a:pt x="16" y="241"/>
                      <a:pt x="16" y="241"/>
                      <a:pt x="16" y="241"/>
                    </a:cubicBezTo>
                    <a:cubicBezTo>
                      <a:pt x="16" y="241"/>
                      <a:pt x="16" y="241"/>
                      <a:pt x="16" y="241"/>
                    </a:cubicBezTo>
                    <a:cubicBezTo>
                      <a:pt x="16" y="242"/>
                      <a:pt x="16" y="242"/>
                      <a:pt x="16" y="242"/>
                    </a:cubicBezTo>
                    <a:cubicBezTo>
                      <a:pt x="17" y="243"/>
                      <a:pt x="17" y="243"/>
                      <a:pt x="17" y="243"/>
                    </a:cubicBezTo>
                    <a:cubicBezTo>
                      <a:pt x="17" y="244"/>
                      <a:pt x="17" y="244"/>
                      <a:pt x="17" y="244"/>
                    </a:cubicBezTo>
                    <a:cubicBezTo>
                      <a:pt x="17" y="245"/>
                      <a:pt x="17" y="245"/>
                      <a:pt x="17" y="245"/>
                    </a:cubicBezTo>
                    <a:cubicBezTo>
                      <a:pt x="17" y="245"/>
                      <a:pt x="17" y="245"/>
                      <a:pt x="17" y="245"/>
                    </a:cubicBezTo>
                    <a:cubicBezTo>
                      <a:pt x="17" y="246"/>
                      <a:pt x="17" y="246"/>
                      <a:pt x="17" y="246"/>
                    </a:cubicBezTo>
                    <a:cubicBezTo>
                      <a:pt x="18" y="247"/>
                      <a:pt x="18" y="247"/>
                      <a:pt x="18" y="247"/>
                    </a:cubicBezTo>
                    <a:cubicBezTo>
                      <a:pt x="19" y="247"/>
                      <a:pt x="19" y="247"/>
                      <a:pt x="19" y="247"/>
                    </a:cubicBezTo>
                    <a:cubicBezTo>
                      <a:pt x="19" y="247"/>
                      <a:pt x="19" y="247"/>
                      <a:pt x="19" y="247"/>
                    </a:cubicBezTo>
                    <a:cubicBezTo>
                      <a:pt x="20" y="248"/>
                      <a:pt x="20" y="248"/>
                      <a:pt x="20" y="248"/>
                    </a:cubicBezTo>
                    <a:cubicBezTo>
                      <a:pt x="21" y="248"/>
                      <a:pt x="21" y="248"/>
                      <a:pt x="21" y="248"/>
                    </a:cubicBezTo>
                    <a:cubicBezTo>
                      <a:pt x="22" y="248"/>
                      <a:pt x="22" y="248"/>
                      <a:pt x="22" y="248"/>
                    </a:cubicBezTo>
                    <a:cubicBezTo>
                      <a:pt x="23" y="249"/>
                      <a:pt x="23" y="249"/>
                      <a:pt x="23" y="249"/>
                    </a:cubicBezTo>
                    <a:cubicBezTo>
                      <a:pt x="23" y="249"/>
                      <a:pt x="23" y="249"/>
                      <a:pt x="23" y="249"/>
                    </a:cubicBezTo>
                    <a:cubicBezTo>
                      <a:pt x="24" y="249"/>
                      <a:pt x="24" y="249"/>
                      <a:pt x="24" y="249"/>
                    </a:cubicBezTo>
                    <a:cubicBezTo>
                      <a:pt x="24" y="250"/>
                      <a:pt x="24" y="250"/>
                      <a:pt x="24" y="250"/>
                    </a:cubicBezTo>
                    <a:cubicBezTo>
                      <a:pt x="24" y="251"/>
                      <a:pt x="24" y="251"/>
                      <a:pt x="24" y="251"/>
                    </a:cubicBezTo>
                    <a:cubicBezTo>
                      <a:pt x="24" y="251"/>
                      <a:pt x="24" y="251"/>
                      <a:pt x="24" y="251"/>
                    </a:cubicBezTo>
                    <a:cubicBezTo>
                      <a:pt x="24" y="252"/>
                      <a:pt x="24" y="252"/>
                      <a:pt x="24" y="252"/>
                    </a:cubicBezTo>
                    <a:cubicBezTo>
                      <a:pt x="24" y="253"/>
                      <a:pt x="24" y="253"/>
                      <a:pt x="24" y="253"/>
                    </a:cubicBezTo>
                    <a:cubicBezTo>
                      <a:pt x="24" y="253"/>
                      <a:pt x="24" y="253"/>
                      <a:pt x="24" y="253"/>
                    </a:cubicBezTo>
                    <a:cubicBezTo>
                      <a:pt x="24" y="253"/>
                      <a:pt x="24" y="253"/>
                      <a:pt x="24" y="253"/>
                    </a:cubicBezTo>
                    <a:cubicBezTo>
                      <a:pt x="24" y="254"/>
                      <a:pt x="24" y="254"/>
                      <a:pt x="24" y="254"/>
                    </a:cubicBezTo>
                    <a:cubicBezTo>
                      <a:pt x="24" y="255"/>
                      <a:pt x="24" y="255"/>
                      <a:pt x="24" y="255"/>
                    </a:cubicBezTo>
                    <a:cubicBezTo>
                      <a:pt x="24" y="255"/>
                      <a:pt x="24" y="255"/>
                      <a:pt x="24" y="255"/>
                    </a:cubicBezTo>
                    <a:cubicBezTo>
                      <a:pt x="24" y="256"/>
                      <a:pt x="24" y="256"/>
                      <a:pt x="24" y="256"/>
                    </a:cubicBezTo>
                    <a:cubicBezTo>
                      <a:pt x="23" y="256"/>
                      <a:pt x="23" y="256"/>
                      <a:pt x="23" y="256"/>
                    </a:cubicBezTo>
                    <a:cubicBezTo>
                      <a:pt x="23" y="257"/>
                      <a:pt x="23" y="257"/>
                      <a:pt x="23" y="257"/>
                    </a:cubicBezTo>
                    <a:cubicBezTo>
                      <a:pt x="23" y="258"/>
                      <a:pt x="23" y="258"/>
                      <a:pt x="23" y="258"/>
                    </a:cubicBezTo>
                    <a:cubicBezTo>
                      <a:pt x="23" y="258"/>
                      <a:pt x="23" y="258"/>
                      <a:pt x="23" y="258"/>
                    </a:cubicBezTo>
                    <a:cubicBezTo>
                      <a:pt x="23" y="259"/>
                      <a:pt x="23" y="259"/>
                      <a:pt x="23" y="259"/>
                    </a:cubicBezTo>
                    <a:cubicBezTo>
                      <a:pt x="23" y="259"/>
                      <a:pt x="23" y="259"/>
                      <a:pt x="23" y="259"/>
                    </a:cubicBezTo>
                    <a:cubicBezTo>
                      <a:pt x="24" y="260"/>
                      <a:pt x="24" y="260"/>
                      <a:pt x="24" y="260"/>
                    </a:cubicBezTo>
                    <a:cubicBezTo>
                      <a:pt x="24" y="260"/>
                      <a:pt x="24" y="260"/>
                      <a:pt x="24" y="260"/>
                    </a:cubicBezTo>
                    <a:cubicBezTo>
                      <a:pt x="24" y="261"/>
                      <a:pt x="24" y="261"/>
                      <a:pt x="24" y="261"/>
                    </a:cubicBezTo>
                    <a:cubicBezTo>
                      <a:pt x="24" y="261"/>
                      <a:pt x="24" y="261"/>
                      <a:pt x="24" y="261"/>
                    </a:cubicBezTo>
                    <a:cubicBezTo>
                      <a:pt x="25" y="261"/>
                      <a:pt x="25" y="261"/>
                      <a:pt x="25" y="261"/>
                    </a:cubicBezTo>
                    <a:cubicBezTo>
                      <a:pt x="25" y="262"/>
                      <a:pt x="25" y="262"/>
                      <a:pt x="25" y="262"/>
                    </a:cubicBezTo>
                    <a:cubicBezTo>
                      <a:pt x="25" y="262"/>
                      <a:pt x="25" y="262"/>
                      <a:pt x="25" y="262"/>
                    </a:cubicBezTo>
                    <a:cubicBezTo>
                      <a:pt x="25" y="263"/>
                      <a:pt x="25" y="263"/>
                      <a:pt x="25" y="263"/>
                    </a:cubicBezTo>
                    <a:cubicBezTo>
                      <a:pt x="25" y="263"/>
                      <a:pt x="25" y="263"/>
                      <a:pt x="25" y="263"/>
                    </a:cubicBezTo>
                    <a:cubicBezTo>
                      <a:pt x="25" y="264"/>
                      <a:pt x="25" y="264"/>
                      <a:pt x="25" y="264"/>
                    </a:cubicBezTo>
                    <a:cubicBezTo>
                      <a:pt x="24" y="264"/>
                      <a:pt x="24" y="264"/>
                      <a:pt x="24" y="264"/>
                    </a:cubicBezTo>
                    <a:cubicBezTo>
                      <a:pt x="24" y="265"/>
                      <a:pt x="24" y="265"/>
                      <a:pt x="24" y="265"/>
                    </a:cubicBezTo>
                    <a:cubicBezTo>
                      <a:pt x="24" y="265"/>
                      <a:pt x="24" y="265"/>
                      <a:pt x="24" y="265"/>
                    </a:cubicBezTo>
                    <a:cubicBezTo>
                      <a:pt x="23" y="266"/>
                      <a:pt x="23" y="266"/>
                      <a:pt x="23" y="266"/>
                    </a:cubicBezTo>
                    <a:cubicBezTo>
                      <a:pt x="24" y="266"/>
                      <a:pt x="24" y="266"/>
                      <a:pt x="24" y="266"/>
                    </a:cubicBezTo>
                    <a:cubicBezTo>
                      <a:pt x="23" y="267"/>
                      <a:pt x="23" y="267"/>
                      <a:pt x="23" y="267"/>
                    </a:cubicBezTo>
                    <a:cubicBezTo>
                      <a:pt x="23" y="267"/>
                      <a:pt x="23" y="267"/>
                      <a:pt x="23" y="267"/>
                    </a:cubicBezTo>
                    <a:cubicBezTo>
                      <a:pt x="23" y="268"/>
                      <a:pt x="23" y="268"/>
                      <a:pt x="23" y="268"/>
                    </a:cubicBezTo>
                    <a:cubicBezTo>
                      <a:pt x="23" y="268"/>
                      <a:pt x="23" y="268"/>
                      <a:pt x="23" y="268"/>
                    </a:cubicBezTo>
                    <a:cubicBezTo>
                      <a:pt x="22" y="268"/>
                      <a:pt x="22" y="268"/>
                      <a:pt x="22" y="268"/>
                    </a:cubicBezTo>
                    <a:cubicBezTo>
                      <a:pt x="21" y="269"/>
                      <a:pt x="21" y="269"/>
                      <a:pt x="21" y="269"/>
                    </a:cubicBezTo>
                    <a:cubicBezTo>
                      <a:pt x="21" y="269"/>
                      <a:pt x="21" y="269"/>
                      <a:pt x="21" y="269"/>
                    </a:cubicBezTo>
                    <a:cubicBezTo>
                      <a:pt x="20" y="269"/>
                      <a:pt x="20" y="269"/>
                      <a:pt x="20" y="269"/>
                    </a:cubicBezTo>
                    <a:cubicBezTo>
                      <a:pt x="20" y="269"/>
                      <a:pt x="20" y="269"/>
                      <a:pt x="20" y="269"/>
                    </a:cubicBezTo>
                    <a:cubicBezTo>
                      <a:pt x="20" y="269"/>
                      <a:pt x="20" y="269"/>
                      <a:pt x="20" y="269"/>
                    </a:cubicBezTo>
                    <a:cubicBezTo>
                      <a:pt x="19" y="268"/>
                      <a:pt x="19" y="268"/>
                      <a:pt x="19" y="268"/>
                    </a:cubicBezTo>
                    <a:cubicBezTo>
                      <a:pt x="19" y="268"/>
                      <a:pt x="19" y="268"/>
                      <a:pt x="19" y="268"/>
                    </a:cubicBezTo>
                    <a:cubicBezTo>
                      <a:pt x="18" y="268"/>
                      <a:pt x="18" y="268"/>
                      <a:pt x="18" y="268"/>
                    </a:cubicBezTo>
                    <a:cubicBezTo>
                      <a:pt x="17" y="268"/>
                      <a:pt x="17" y="268"/>
                      <a:pt x="17" y="268"/>
                    </a:cubicBezTo>
                    <a:cubicBezTo>
                      <a:pt x="17" y="268"/>
                      <a:pt x="17" y="268"/>
                      <a:pt x="17" y="268"/>
                    </a:cubicBezTo>
                    <a:cubicBezTo>
                      <a:pt x="16" y="268"/>
                      <a:pt x="16" y="268"/>
                      <a:pt x="16" y="268"/>
                    </a:cubicBezTo>
                    <a:cubicBezTo>
                      <a:pt x="16" y="268"/>
                      <a:pt x="16" y="268"/>
                      <a:pt x="16" y="268"/>
                    </a:cubicBezTo>
                    <a:cubicBezTo>
                      <a:pt x="15" y="268"/>
                      <a:pt x="15" y="268"/>
                      <a:pt x="15" y="268"/>
                    </a:cubicBezTo>
                    <a:cubicBezTo>
                      <a:pt x="14" y="268"/>
                      <a:pt x="14" y="268"/>
                      <a:pt x="14" y="268"/>
                    </a:cubicBezTo>
                    <a:cubicBezTo>
                      <a:pt x="14" y="268"/>
                      <a:pt x="14" y="268"/>
                      <a:pt x="14" y="268"/>
                    </a:cubicBezTo>
                    <a:cubicBezTo>
                      <a:pt x="14" y="268"/>
                      <a:pt x="14" y="268"/>
                      <a:pt x="14" y="268"/>
                    </a:cubicBezTo>
                    <a:cubicBezTo>
                      <a:pt x="13" y="268"/>
                      <a:pt x="13" y="268"/>
                      <a:pt x="13" y="268"/>
                    </a:cubicBezTo>
                    <a:cubicBezTo>
                      <a:pt x="13" y="268"/>
                      <a:pt x="13" y="268"/>
                      <a:pt x="13" y="268"/>
                    </a:cubicBezTo>
                    <a:cubicBezTo>
                      <a:pt x="12" y="268"/>
                      <a:pt x="12" y="268"/>
                      <a:pt x="12" y="268"/>
                    </a:cubicBezTo>
                    <a:cubicBezTo>
                      <a:pt x="11" y="268"/>
                      <a:pt x="11" y="268"/>
                      <a:pt x="11" y="268"/>
                    </a:cubicBezTo>
                    <a:cubicBezTo>
                      <a:pt x="10" y="268"/>
                      <a:pt x="10" y="268"/>
                      <a:pt x="10" y="268"/>
                    </a:cubicBezTo>
                    <a:cubicBezTo>
                      <a:pt x="10" y="268"/>
                      <a:pt x="10" y="268"/>
                      <a:pt x="10" y="268"/>
                    </a:cubicBezTo>
                    <a:cubicBezTo>
                      <a:pt x="10" y="268"/>
                      <a:pt x="10" y="268"/>
                      <a:pt x="10" y="268"/>
                    </a:cubicBezTo>
                    <a:cubicBezTo>
                      <a:pt x="9" y="267"/>
                      <a:pt x="9" y="267"/>
                      <a:pt x="9" y="267"/>
                    </a:cubicBezTo>
                    <a:cubicBezTo>
                      <a:pt x="9" y="267"/>
                      <a:pt x="9" y="267"/>
                      <a:pt x="9" y="267"/>
                    </a:cubicBezTo>
                    <a:cubicBezTo>
                      <a:pt x="9" y="267"/>
                      <a:pt x="9" y="267"/>
                      <a:pt x="9" y="267"/>
                    </a:cubicBezTo>
                    <a:cubicBezTo>
                      <a:pt x="8" y="267"/>
                      <a:pt x="8" y="267"/>
                      <a:pt x="8" y="267"/>
                    </a:cubicBezTo>
                    <a:cubicBezTo>
                      <a:pt x="8" y="266"/>
                      <a:pt x="8" y="266"/>
                      <a:pt x="8" y="266"/>
                    </a:cubicBezTo>
                    <a:cubicBezTo>
                      <a:pt x="7" y="266"/>
                      <a:pt x="7" y="266"/>
                      <a:pt x="7" y="266"/>
                    </a:cubicBezTo>
                    <a:cubicBezTo>
                      <a:pt x="7" y="266"/>
                      <a:pt x="7" y="266"/>
                      <a:pt x="7" y="266"/>
                    </a:cubicBezTo>
                    <a:cubicBezTo>
                      <a:pt x="6" y="265"/>
                      <a:pt x="6" y="265"/>
                      <a:pt x="6" y="265"/>
                    </a:cubicBezTo>
                    <a:cubicBezTo>
                      <a:pt x="6" y="265"/>
                      <a:pt x="6" y="265"/>
                      <a:pt x="6" y="265"/>
                    </a:cubicBezTo>
                    <a:cubicBezTo>
                      <a:pt x="5" y="265"/>
                      <a:pt x="5" y="265"/>
                      <a:pt x="5" y="265"/>
                    </a:cubicBezTo>
                    <a:cubicBezTo>
                      <a:pt x="5" y="265"/>
                      <a:pt x="5" y="265"/>
                      <a:pt x="5" y="265"/>
                    </a:cubicBezTo>
                    <a:cubicBezTo>
                      <a:pt x="4" y="265"/>
                      <a:pt x="4" y="265"/>
                      <a:pt x="4" y="265"/>
                    </a:cubicBezTo>
                    <a:cubicBezTo>
                      <a:pt x="4" y="265"/>
                      <a:pt x="4" y="265"/>
                      <a:pt x="4" y="265"/>
                    </a:cubicBezTo>
                    <a:cubicBezTo>
                      <a:pt x="3" y="265"/>
                      <a:pt x="3" y="265"/>
                      <a:pt x="3" y="265"/>
                    </a:cubicBezTo>
                    <a:cubicBezTo>
                      <a:pt x="3" y="265"/>
                      <a:pt x="3" y="265"/>
                      <a:pt x="3" y="265"/>
                    </a:cubicBezTo>
                    <a:cubicBezTo>
                      <a:pt x="2" y="265"/>
                      <a:pt x="2" y="265"/>
                      <a:pt x="2" y="265"/>
                    </a:cubicBezTo>
                    <a:cubicBezTo>
                      <a:pt x="3" y="266"/>
                      <a:pt x="3" y="266"/>
                      <a:pt x="3" y="266"/>
                    </a:cubicBezTo>
                    <a:cubicBezTo>
                      <a:pt x="3" y="266"/>
                      <a:pt x="3" y="266"/>
                      <a:pt x="3" y="266"/>
                    </a:cubicBezTo>
                    <a:cubicBezTo>
                      <a:pt x="3" y="267"/>
                      <a:pt x="3" y="267"/>
                      <a:pt x="3" y="267"/>
                    </a:cubicBezTo>
                    <a:cubicBezTo>
                      <a:pt x="3" y="267"/>
                      <a:pt x="3" y="267"/>
                      <a:pt x="3" y="267"/>
                    </a:cubicBezTo>
                    <a:cubicBezTo>
                      <a:pt x="3" y="268"/>
                      <a:pt x="3" y="268"/>
                      <a:pt x="3" y="268"/>
                    </a:cubicBezTo>
                    <a:cubicBezTo>
                      <a:pt x="2" y="268"/>
                      <a:pt x="2" y="268"/>
                      <a:pt x="2" y="268"/>
                    </a:cubicBezTo>
                    <a:cubicBezTo>
                      <a:pt x="2" y="269"/>
                      <a:pt x="2" y="269"/>
                      <a:pt x="2" y="269"/>
                    </a:cubicBezTo>
                    <a:cubicBezTo>
                      <a:pt x="2" y="269"/>
                      <a:pt x="2" y="269"/>
                      <a:pt x="2" y="269"/>
                    </a:cubicBezTo>
                    <a:cubicBezTo>
                      <a:pt x="2" y="269"/>
                      <a:pt x="2" y="269"/>
                      <a:pt x="2" y="269"/>
                    </a:cubicBezTo>
                    <a:cubicBezTo>
                      <a:pt x="1" y="269"/>
                      <a:pt x="1" y="269"/>
                      <a:pt x="1" y="269"/>
                    </a:cubicBezTo>
                    <a:cubicBezTo>
                      <a:pt x="0" y="270"/>
                      <a:pt x="0" y="270"/>
                      <a:pt x="0" y="270"/>
                    </a:cubicBezTo>
                    <a:cubicBezTo>
                      <a:pt x="0" y="270"/>
                      <a:pt x="0" y="270"/>
                      <a:pt x="0" y="270"/>
                    </a:cubicBezTo>
                    <a:cubicBezTo>
                      <a:pt x="0" y="270"/>
                      <a:pt x="0" y="270"/>
                      <a:pt x="0" y="270"/>
                    </a:cubicBezTo>
                    <a:cubicBezTo>
                      <a:pt x="1" y="271"/>
                      <a:pt x="1" y="271"/>
                      <a:pt x="1" y="271"/>
                    </a:cubicBezTo>
                    <a:cubicBezTo>
                      <a:pt x="1" y="271"/>
                      <a:pt x="1" y="271"/>
                      <a:pt x="1" y="271"/>
                    </a:cubicBezTo>
                    <a:cubicBezTo>
                      <a:pt x="2" y="271"/>
                      <a:pt x="2" y="271"/>
                      <a:pt x="2" y="271"/>
                    </a:cubicBezTo>
                    <a:cubicBezTo>
                      <a:pt x="2" y="271"/>
                      <a:pt x="2" y="271"/>
                      <a:pt x="2" y="271"/>
                    </a:cubicBezTo>
                    <a:cubicBezTo>
                      <a:pt x="3" y="271"/>
                      <a:pt x="3" y="271"/>
                      <a:pt x="3" y="271"/>
                    </a:cubicBezTo>
                    <a:cubicBezTo>
                      <a:pt x="3" y="271"/>
                      <a:pt x="3" y="271"/>
                      <a:pt x="3" y="271"/>
                    </a:cubicBezTo>
                    <a:cubicBezTo>
                      <a:pt x="4" y="271"/>
                      <a:pt x="4" y="271"/>
                      <a:pt x="4" y="271"/>
                    </a:cubicBezTo>
                    <a:cubicBezTo>
                      <a:pt x="5" y="271"/>
                      <a:pt x="5" y="271"/>
                      <a:pt x="5" y="271"/>
                    </a:cubicBezTo>
                    <a:cubicBezTo>
                      <a:pt x="5" y="271"/>
                      <a:pt x="5" y="271"/>
                      <a:pt x="5" y="271"/>
                    </a:cubicBezTo>
                    <a:cubicBezTo>
                      <a:pt x="5" y="272"/>
                      <a:pt x="5" y="272"/>
                      <a:pt x="5" y="272"/>
                    </a:cubicBezTo>
                    <a:cubicBezTo>
                      <a:pt x="6" y="272"/>
                      <a:pt x="6" y="272"/>
                      <a:pt x="6" y="272"/>
                    </a:cubicBezTo>
                    <a:cubicBezTo>
                      <a:pt x="6" y="272"/>
                      <a:pt x="6" y="272"/>
                      <a:pt x="6" y="272"/>
                    </a:cubicBezTo>
                    <a:cubicBezTo>
                      <a:pt x="7" y="272"/>
                      <a:pt x="7" y="272"/>
                      <a:pt x="7" y="272"/>
                    </a:cubicBezTo>
                    <a:cubicBezTo>
                      <a:pt x="7" y="273"/>
                      <a:pt x="7" y="273"/>
                      <a:pt x="7" y="273"/>
                    </a:cubicBezTo>
                    <a:cubicBezTo>
                      <a:pt x="7" y="273"/>
                      <a:pt x="7" y="273"/>
                      <a:pt x="7" y="273"/>
                    </a:cubicBezTo>
                    <a:cubicBezTo>
                      <a:pt x="7" y="274"/>
                      <a:pt x="7" y="274"/>
                      <a:pt x="7" y="274"/>
                    </a:cubicBezTo>
                    <a:cubicBezTo>
                      <a:pt x="7" y="274"/>
                      <a:pt x="7" y="274"/>
                      <a:pt x="7" y="274"/>
                    </a:cubicBezTo>
                    <a:cubicBezTo>
                      <a:pt x="7" y="275"/>
                      <a:pt x="7" y="275"/>
                      <a:pt x="7" y="275"/>
                    </a:cubicBezTo>
                    <a:cubicBezTo>
                      <a:pt x="7" y="275"/>
                      <a:pt x="7" y="275"/>
                      <a:pt x="7" y="275"/>
                    </a:cubicBezTo>
                    <a:cubicBezTo>
                      <a:pt x="7" y="276"/>
                      <a:pt x="7" y="276"/>
                      <a:pt x="7" y="276"/>
                    </a:cubicBezTo>
                    <a:cubicBezTo>
                      <a:pt x="6" y="277"/>
                      <a:pt x="6" y="277"/>
                      <a:pt x="6" y="277"/>
                    </a:cubicBezTo>
                    <a:cubicBezTo>
                      <a:pt x="6" y="278"/>
                      <a:pt x="6" y="278"/>
                      <a:pt x="6" y="278"/>
                    </a:cubicBezTo>
                    <a:cubicBezTo>
                      <a:pt x="6" y="279"/>
                      <a:pt x="6" y="279"/>
                      <a:pt x="6" y="279"/>
                    </a:cubicBezTo>
                    <a:cubicBezTo>
                      <a:pt x="6" y="280"/>
                      <a:pt x="6" y="280"/>
                      <a:pt x="6" y="280"/>
                    </a:cubicBezTo>
                    <a:cubicBezTo>
                      <a:pt x="6" y="280"/>
                      <a:pt x="6" y="280"/>
                      <a:pt x="6" y="280"/>
                    </a:cubicBezTo>
                    <a:cubicBezTo>
                      <a:pt x="6" y="281"/>
                      <a:pt x="6" y="281"/>
                      <a:pt x="6" y="281"/>
                    </a:cubicBezTo>
                    <a:cubicBezTo>
                      <a:pt x="6" y="282"/>
                      <a:pt x="6" y="282"/>
                      <a:pt x="6" y="282"/>
                    </a:cubicBezTo>
                    <a:cubicBezTo>
                      <a:pt x="6" y="282"/>
                      <a:pt x="6" y="282"/>
                      <a:pt x="6" y="282"/>
                    </a:cubicBezTo>
                    <a:cubicBezTo>
                      <a:pt x="6" y="282"/>
                      <a:pt x="6" y="282"/>
                      <a:pt x="6" y="282"/>
                    </a:cubicBezTo>
                    <a:cubicBezTo>
                      <a:pt x="5" y="283"/>
                      <a:pt x="5" y="283"/>
                      <a:pt x="5" y="283"/>
                    </a:cubicBezTo>
                    <a:cubicBezTo>
                      <a:pt x="5" y="283"/>
                      <a:pt x="5" y="283"/>
                      <a:pt x="5" y="283"/>
                    </a:cubicBezTo>
                    <a:cubicBezTo>
                      <a:pt x="4" y="283"/>
                      <a:pt x="4" y="283"/>
                      <a:pt x="4" y="283"/>
                    </a:cubicBezTo>
                    <a:cubicBezTo>
                      <a:pt x="4" y="283"/>
                      <a:pt x="4" y="283"/>
                      <a:pt x="4" y="283"/>
                    </a:cubicBezTo>
                    <a:cubicBezTo>
                      <a:pt x="3" y="284"/>
                      <a:pt x="3" y="284"/>
                      <a:pt x="3" y="284"/>
                    </a:cubicBezTo>
                    <a:cubicBezTo>
                      <a:pt x="3" y="284"/>
                      <a:pt x="3" y="284"/>
                      <a:pt x="3" y="284"/>
                    </a:cubicBezTo>
                    <a:cubicBezTo>
                      <a:pt x="3" y="285"/>
                      <a:pt x="3" y="285"/>
                      <a:pt x="3" y="285"/>
                    </a:cubicBezTo>
                    <a:cubicBezTo>
                      <a:pt x="3" y="285"/>
                      <a:pt x="3" y="285"/>
                      <a:pt x="3" y="285"/>
                    </a:cubicBezTo>
                    <a:cubicBezTo>
                      <a:pt x="4" y="286"/>
                      <a:pt x="4" y="286"/>
                      <a:pt x="4" y="286"/>
                    </a:cubicBezTo>
                    <a:cubicBezTo>
                      <a:pt x="4" y="286"/>
                      <a:pt x="4" y="286"/>
                      <a:pt x="4" y="286"/>
                    </a:cubicBezTo>
                    <a:cubicBezTo>
                      <a:pt x="4" y="287"/>
                      <a:pt x="4" y="287"/>
                      <a:pt x="4" y="287"/>
                    </a:cubicBezTo>
                    <a:cubicBezTo>
                      <a:pt x="4" y="288"/>
                      <a:pt x="4" y="288"/>
                      <a:pt x="4" y="288"/>
                    </a:cubicBezTo>
                    <a:cubicBezTo>
                      <a:pt x="4" y="288"/>
                      <a:pt x="4" y="288"/>
                      <a:pt x="4" y="288"/>
                    </a:cubicBezTo>
                    <a:cubicBezTo>
                      <a:pt x="3" y="289"/>
                      <a:pt x="3" y="289"/>
                      <a:pt x="3" y="289"/>
                    </a:cubicBezTo>
                    <a:cubicBezTo>
                      <a:pt x="2" y="290"/>
                      <a:pt x="2" y="290"/>
                      <a:pt x="2" y="290"/>
                    </a:cubicBezTo>
                    <a:cubicBezTo>
                      <a:pt x="2" y="290"/>
                      <a:pt x="2" y="290"/>
                      <a:pt x="2" y="290"/>
                    </a:cubicBezTo>
                    <a:cubicBezTo>
                      <a:pt x="2" y="291"/>
                      <a:pt x="2" y="291"/>
                      <a:pt x="2" y="291"/>
                    </a:cubicBezTo>
                    <a:cubicBezTo>
                      <a:pt x="2" y="292"/>
                      <a:pt x="2" y="292"/>
                      <a:pt x="2" y="292"/>
                    </a:cubicBezTo>
                    <a:cubicBezTo>
                      <a:pt x="1" y="292"/>
                      <a:pt x="1" y="292"/>
                      <a:pt x="1" y="292"/>
                    </a:cubicBezTo>
                    <a:cubicBezTo>
                      <a:pt x="1" y="293"/>
                      <a:pt x="1" y="293"/>
                      <a:pt x="1" y="293"/>
                    </a:cubicBezTo>
                    <a:cubicBezTo>
                      <a:pt x="2" y="294"/>
                      <a:pt x="2" y="294"/>
                      <a:pt x="2" y="294"/>
                    </a:cubicBezTo>
                    <a:cubicBezTo>
                      <a:pt x="2" y="294"/>
                      <a:pt x="2" y="294"/>
                      <a:pt x="2" y="294"/>
                    </a:cubicBezTo>
                    <a:cubicBezTo>
                      <a:pt x="2" y="295"/>
                      <a:pt x="2" y="295"/>
                      <a:pt x="2" y="295"/>
                    </a:cubicBezTo>
                    <a:cubicBezTo>
                      <a:pt x="2" y="296"/>
                      <a:pt x="2" y="296"/>
                      <a:pt x="2" y="296"/>
                    </a:cubicBezTo>
                    <a:cubicBezTo>
                      <a:pt x="2" y="296"/>
                      <a:pt x="2" y="296"/>
                      <a:pt x="2" y="296"/>
                    </a:cubicBezTo>
                    <a:cubicBezTo>
                      <a:pt x="2" y="297"/>
                      <a:pt x="2" y="297"/>
                      <a:pt x="2" y="297"/>
                    </a:cubicBezTo>
                    <a:cubicBezTo>
                      <a:pt x="2" y="298"/>
                      <a:pt x="2" y="298"/>
                      <a:pt x="2" y="298"/>
                    </a:cubicBezTo>
                    <a:cubicBezTo>
                      <a:pt x="2" y="298"/>
                      <a:pt x="2" y="298"/>
                      <a:pt x="2" y="298"/>
                    </a:cubicBezTo>
                    <a:cubicBezTo>
                      <a:pt x="2" y="298"/>
                      <a:pt x="2" y="298"/>
                      <a:pt x="2" y="298"/>
                    </a:cubicBezTo>
                    <a:cubicBezTo>
                      <a:pt x="3" y="299"/>
                      <a:pt x="3" y="299"/>
                      <a:pt x="3" y="299"/>
                    </a:cubicBezTo>
                    <a:cubicBezTo>
                      <a:pt x="3" y="300"/>
                      <a:pt x="3" y="300"/>
                      <a:pt x="3" y="300"/>
                    </a:cubicBezTo>
                    <a:cubicBezTo>
                      <a:pt x="4" y="300"/>
                      <a:pt x="4" y="300"/>
                      <a:pt x="4" y="300"/>
                    </a:cubicBezTo>
                    <a:cubicBezTo>
                      <a:pt x="4" y="301"/>
                      <a:pt x="4" y="301"/>
                      <a:pt x="4" y="301"/>
                    </a:cubicBezTo>
                    <a:cubicBezTo>
                      <a:pt x="4" y="301"/>
                      <a:pt x="4" y="301"/>
                      <a:pt x="4" y="301"/>
                    </a:cubicBezTo>
                    <a:cubicBezTo>
                      <a:pt x="4" y="302"/>
                      <a:pt x="4" y="302"/>
                      <a:pt x="4" y="302"/>
                    </a:cubicBezTo>
                    <a:cubicBezTo>
                      <a:pt x="5" y="302"/>
                      <a:pt x="5" y="302"/>
                      <a:pt x="5" y="302"/>
                    </a:cubicBezTo>
                    <a:cubicBezTo>
                      <a:pt x="6" y="303"/>
                      <a:pt x="6" y="303"/>
                      <a:pt x="6" y="303"/>
                    </a:cubicBezTo>
                    <a:cubicBezTo>
                      <a:pt x="6" y="304"/>
                      <a:pt x="6" y="304"/>
                      <a:pt x="6" y="304"/>
                    </a:cubicBezTo>
                    <a:cubicBezTo>
                      <a:pt x="7" y="304"/>
                      <a:pt x="7" y="304"/>
                      <a:pt x="7" y="304"/>
                    </a:cubicBezTo>
                    <a:cubicBezTo>
                      <a:pt x="7" y="304"/>
                      <a:pt x="7" y="304"/>
                      <a:pt x="7" y="304"/>
                    </a:cubicBezTo>
                    <a:cubicBezTo>
                      <a:pt x="8" y="304"/>
                      <a:pt x="8" y="304"/>
                      <a:pt x="8" y="304"/>
                    </a:cubicBezTo>
                    <a:cubicBezTo>
                      <a:pt x="9" y="304"/>
                      <a:pt x="9" y="304"/>
                      <a:pt x="9" y="304"/>
                    </a:cubicBezTo>
                    <a:cubicBezTo>
                      <a:pt x="10" y="304"/>
                      <a:pt x="10" y="304"/>
                      <a:pt x="10" y="304"/>
                    </a:cubicBezTo>
                    <a:cubicBezTo>
                      <a:pt x="10" y="304"/>
                      <a:pt x="10" y="304"/>
                      <a:pt x="10" y="304"/>
                    </a:cubicBezTo>
                    <a:cubicBezTo>
                      <a:pt x="11" y="304"/>
                      <a:pt x="11" y="304"/>
                      <a:pt x="11" y="304"/>
                    </a:cubicBezTo>
                    <a:cubicBezTo>
                      <a:pt x="12" y="304"/>
                      <a:pt x="12" y="304"/>
                      <a:pt x="12" y="304"/>
                    </a:cubicBezTo>
                    <a:cubicBezTo>
                      <a:pt x="12" y="304"/>
                      <a:pt x="12" y="304"/>
                      <a:pt x="12" y="304"/>
                    </a:cubicBezTo>
                    <a:cubicBezTo>
                      <a:pt x="13" y="304"/>
                      <a:pt x="13" y="304"/>
                      <a:pt x="13" y="304"/>
                    </a:cubicBezTo>
                    <a:cubicBezTo>
                      <a:pt x="13" y="304"/>
                      <a:pt x="13" y="304"/>
                      <a:pt x="13" y="304"/>
                    </a:cubicBezTo>
                    <a:cubicBezTo>
                      <a:pt x="13" y="305"/>
                      <a:pt x="13" y="305"/>
                      <a:pt x="13" y="305"/>
                    </a:cubicBezTo>
                    <a:cubicBezTo>
                      <a:pt x="13" y="305"/>
                      <a:pt x="13" y="305"/>
                      <a:pt x="13" y="305"/>
                    </a:cubicBezTo>
                    <a:cubicBezTo>
                      <a:pt x="14" y="306"/>
                      <a:pt x="14" y="306"/>
                      <a:pt x="14" y="306"/>
                    </a:cubicBezTo>
                    <a:cubicBezTo>
                      <a:pt x="14" y="306"/>
                      <a:pt x="14" y="306"/>
                      <a:pt x="14" y="306"/>
                    </a:cubicBezTo>
                    <a:cubicBezTo>
                      <a:pt x="14" y="306"/>
                      <a:pt x="14" y="306"/>
                      <a:pt x="14" y="306"/>
                    </a:cubicBezTo>
                    <a:cubicBezTo>
                      <a:pt x="14" y="307"/>
                      <a:pt x="14" y="307"/>
                      <a:pt x="14" y="307"/>
                    </a:cubicBezTo>
                    <a:cubicBezTo>
                      <a:pt x="13" y="307"/>
                      <a:pt x="13" y="307"/>
                      <a:pt x="13" y="307"/>
                    </a:cubicBezTo>
                    <a:cubicBezTo>
                      <a:pt x="13" y="307"/>
                      <a:pt x="13" y="307"/>
                      <a:pt x="13" y="307"/>
                    </a:cubicBezTo>
                    <a:cubicBezTo>
                      <a:pt x="12" y="308"/>
                      <a:pt x="12" y="308"/>
                      <a:pt x="12" y="308"/>
                    </a:cubicBezTo>
                    <a:cubicBezTo>
                      <a:pt x="12" y="308"/>
                      <a:pt x="12" y="308"/>
                      <a:pt x="12" y="308"/>
                    </a:cubicBezTo>
                    <a:cubicBezTo>
                      <a:pt x="11" y="309"/>
                      <a:pt x="11" y="309"/>
                      <a:pt x="11" y="309"/>
                    </a:cubicBezTo>
                    <a:cubicBezTo>
                      <a:pt x="11" y="309"/>
                      <a:pt x="11" y="309"/>
                      <a:pt x="11" y="309"/>
                    </a:cubicBezTo>
                    <a:cubicBezTo>
                      <a:pt x="10" y="309"/>
                      <a:pt x="10" y="309"/>
                      <a:pt x="10" y="309"/>
                    </a:cubicBezTo>
                    <a:cubicBezTo>
                      <a:pt x="9" y="309"/>
                      <a:pt x="9" y="309"/>
                      <a:pt x="9" y="309"/>
                    </a:cubicBezTo>
                    <a:cubicBezTo>
                      <a:pt x="9" y="310"/>
                      <a:pt x="9" y="310"/>
                      <a:pt x="9" y="310"/>
                    </a:cubicBezTo>
                    <a:cubicBezTo>
                      <a:pt x="9" y="310"/>
                      <a:pt x="9" y="310"/>
                      <a:pt x="9" y="310"/>
                    </a:cubicBezTo>
                    <a:cubicBezTo>
                      <a:pt x="9" y="311"/>
                      <a:pt x="9" y="311"/>
                      <a:pt x="9" y="311"/>
                    </a:cubicBezTo>
                    <a:cubicBezTo>
                      <a:pt x="9" y="311"/>
                      <a:pt x="9" y="311"/>
                      <a:pt x="9" y="311"/>
                    </a:cubicBezTo>
                    <a:cubicBezTo>
                      <a:pt x="9" y="311"/>
                      <a:pt x="9" y="311"/>
                      <a:pt x="9" y="311"/>
                    </a:cubicBezTo>
                    <a:cubicBezTo>
                      <a:pt x="9" y="312"/>
                      <a:pt x="9" y="312"/>
                      <a:pt x="9" y="312"/>
                    </a:cubicBezTo>
                    <a:cubicBezTo>
                      <a:pt x="9" y="312"/>
                      <a:pt x="9" y="312"/>
                      <a:pt x="9" y="312"/>
                    </a:cubicBezTo>
                    <a:cubicBezTo>
                      <a:pt x="10" y="313"/>
                      <a:pt x="10" y="313"/>
                      <a:pt x="10" y="313"/>
                    </a:cubicBezTo>
                    <a:cubicBezTo>
                      <a:pt x="11" y="313"/>
                      <a:pt x="11" y="313"/>
                      <a:pt x="11" y="313"/>
                    </a:cubicBezTo>
                    <a:cubicBezTo>
                      <a:pt x="11" y="313"/>
                      <a:pt x="11" y="313"/>
                      <a:pt x="11" y="313"/>
                    </a:cubicBezTo>
                    <a:cubicBezTo>
                      <a:pt x="12" y="314"/>
                      <a:pt x="12" y="314"/>
                      <a:pt x="12" y="314"/>
                    </a:cubicBezTo>
                    <a:cubicBezTo>
                      <a:pt x="12" y="315"/>
                      <a:pt x="12" y="315"/>
                      <a:pt x="12" y="315"/>
                    </a:cubicBezTo>
                    <a:cubicBezTo>
                      <a:pt x="12" y="315"/>
                      <a:pt x="12" y="315"/>
                      <a:pt x="12" y="315"/>
                    </a:cubicBezTo>
                    <a:cubicBezTo>
                      <a:pt x="12" y="315"/>
                      <a:pt x="12" y="315"/>
                      <a:pt x="12" y="315"/>
                    </a:cubicBezTo>
                    <a:cubicBezTo>
                      <a:pt x="12" y="316"/>
                      <a:pt x="12" y="316"/>
                      <a:pt x="12" y="316"/>
                    </a:cubicBezTo>
                    <a:cubicBezTo>
                      <a:pt x="12" y="318"/>
                      <a:pt x="12" y="318"/>
                      <a:pt x="12" y="318"/>
                    </a:cubicBezTo>
                    <a:cubicBezTo>
                      <a:pt x="12" y="318"/>
                      <a:pt x="12" y="318"/>
                      <a:pt x="12" y="318"/>
                    </a:cubicBezTo>
                    <a:cubicBezTo>
                      <a:pt x="12" y="319"/>
                      <a:pt x="12" y="319"/>
                      <a:pt x="12" y="319"/>
                    </a:cubicBezTo>
                    <a:cubicBezTo>
                      <a:pt x="12" y="319"/>
                      <a:pt x="12" y="319"/>
                      <a:pt x="12" y="319"/>
                    </a:cubicBezTo>
                    <a:cubicBezTo>
                      <a:pt x="12" y="319"/>
                      <a:pt x="12" y="319"/>
                      <a:pt x="12" y="319"/>
                    </a:cubicBezTo>
                    <a:cubicBezTo>
                      <a:pt x="13" y="319"/>
                      <a:pt x="13" y="319"/>
                      <a:pt x="13" y="319"/>
                    </a:cubicBezTo>
                    <a:cubicBezTo>
                      <a:pt x="13" y="319"/>
                      <a:pt x="13" y="319"/>
                      <a:pt x="13" y="319"/>
                    </a:cubicBezTo>
                    <a:cubicBezTo>
                      <a:pt x="14" y="319"/>
                      <a:pt x="14" y="319"/>
                      <a:pt x="14" y="319"/>
                    </a:cubicBezTo>
                    <a:cubicBezTo>
                      <a:pt x="14" y="319"/>
                      <a:pt x="14" y="319"/>
                      <a:pt x="14" y="319"/>
                    </a:cubicBezTo>
                    <a:cubicBezTo>
                      <a:pt x="15" y="319"/>
                      <a:pt x="15" y="319"/>
                      <a:pt x="15" y="319"/>
                    </a:cubicBezTo>
                    <a:cubicBezTo>
                      <a:pt x="15" y="319"/>
                      <a:pt x="15" y="319"/>
                      <a:pt x="15" y="319"/>
                    </a:cubicBezTo>
                    <a:cubicBezTo>
                      <a:pt x="16" y="319"/>
                      <a:pt x="16" y="319"/>
                      <a:pt x="16" y="319"/>
                    </a:cubicBezTo>
                    <a:cubicBezTo>
                      <a:pt x="16" y="319"/>
                      <a:pt x="16" y="319"/>
                      <a:pt x="16" y="319"/>
                    </a:cubicBezTo>
                    <a:cubicBezTo>
                      <a:pt x="16" y="319"/>
                      <a:pt x="16" y="319"/>
                      <a:pt x="16" y="319"/>
                    </a:cubicBezTo>
                    <a:cubicBezTo>
                      <a:pt x="17" y="319"/>
                      <a:pt x="17" y="319"/>
                      <a:pt x="17" y="319"/>
                    </a:cubicBezTo>
                    <a:cubicBezTo>
                      <a:pt x="18" y="319"/>
                      <a:pt x="18" y="319"/>
                      <a:pt x="18" y="319"/>
                    </a:cubicBezTo>
                    <a:cubicBezTo>
                      <a:pt x="19" y="319"/>
                      <a:pt x="19" y="319"/>
                      <a:pt x="19" y="319"/>
                    </a:cubicBezTo>
                    <a:cubicBezTo>
                      <a:pt x="19" y="319"/>
                      <a:pt x="19" y="319"/>
                      <a:pt x="19" y="319"/>
                    </a:cubicBezTo>
                    <a:cubicBezTo>
                      <a:pt x="20" y="319"/>
                      <a:pt x="20" y="319"/>
                      <a:pt x="20" y="319"/>
                    </a:cubicBezTo>
                    <a:cubicBezTo>
                      <a:pt x="20" y="319"/>
                      <a:pt x="20" y="319"/>
                      <a:pt x="20" y="319"/>
                    </a:cubicBezTo>
                    <a:cubicBezTo>
                      <a:pt x="20" y="320"/>
                      <a:pt x="20" y="320"/>
                      <a:pt x="20" y="320"/>
                    </a:cubicBezTo>
                    <a:cubicBezTo>
                      <a:pt x="21" y="320"/>
                      <a:pt x="21" y="320"/>
                      <a:pt x="21" y="320"/>
                    </a:cubicBezTo>
                    <a:cubicBezTo>
                      <a:pt x="21" y="321"/>
                      <a:pt x="21" y="321"/>
                      <a:pt x="21" y="321"/>
                    </a:cubicBezTo>
                    <a:cubicBezTo>
                      <a:pt x="21" y="321"/>
                      <a:pt x="21" y="321"/>
                      <a:pt x="21" y="321"/>
                    </a:cubicBezTo>
                    <a:cubicBezTo>
                      <a:pt x="22" y="321"/>
                      <a:pt x="22" y="321"/>
                      <a:pt x="22" y="321"/>
                    </a:cubicBezTo>
                    <a:cubicBezTo>
                      <a:pt x="22" y="321"/>
                      <a:pt x="22" y="321"/>
                      <a:pt x="22" y="321"/>
                    </a:cubicBezTo>
                    <a:cubicBezTo>
                      <a:pt x="23" y="320"/>
                      <a:pt x="23" y="320"/>
                      <a:pt x="23" y="320"/>
                    </a:cubicBezTo>
                    <a:cubicBezTo>
                      <a:pt x="23" y="320"/>
                      <a:pt x="23" y="320"/>
                      <a:pt x="23" y="320"/>
                    </a:cubicBezTo>
                    <a:cubicBezTo>
                      <a:pt x="23" y="319"/>
                      <a:pt x="23" y="319"/>
                      <a:pt x="23" y="319"/>
                    </a:cubicBezTo>
                    <a:cubicBezTo>
                      <a:pt x="23" y="319"/>
                      <a:pt x="23" y="319"/>
                      <a:pt x="23" y="319"/>
                    </a:cubicBezTo>
                    <a:cubicBezTo>
                      <a:pt x="23" y="319"/>
                      <a:pt x="23" y="319"/>
                      <a:pt x="23" y="319"/>
                    </a:cubicBezTo>
                    <a:cubicBezTo>
                      <a:pt x="23" y="318"/>
                      <a:pt x="23" y="318"/>
                      <a:pt x="23" y="318"/>
                    </a:cubicBezTo>
                    <a:cubicBezTo>
                      <a:pt x="23" y="317"/>
                      <a:pt x="23" y="317"/>
                      <a:pt x="23" y="317"/>
                    </a:cubicBezTo>
                    <a:cubicBezTo>
                      <a:pt x="23" y="317"/>
                      <a:pt x="23" y="317"/>
                      <a:pt x="23" y="317"/>
                    </a:cubicBezTo>
                    <a:cubicBezTo>
                      <a:pt x="24" y="316"/>
                      <a:pt x="24" y="316"/>
                      <a:pt x="24" y="316"/>
                    </a:cubicBezTo>
                    <a:cubicBezTo>
                      <a:pt x="24" y="315"/>
                      <a:pt x="24" y="315"/>
                      <a:pt x="24" y="315"/>
                    </a:cubicBezTo>
                    <a:cubicBezTo>
                      <a:pt x="25" y="315"/>
                      <a:pt x="25" y="315"/>
                      <a:pt x="25" y="315"/>
                    </a:cubicBezTo>
                    <a:cubicBezTo>
                      <a:pt x="25" y="314"/>
                      <a:pt x="25" y="314"/>
                      <a:pt x="25" y="314"/>
                    </a:cubicBezTo>
                    <a:cubicBezTo>
                      <a:pt x="25" y="313"/>
                      <a:pt x="25" y="313"/>
                      <a:pt x="25" y="313"/>
                    </a:cubicBezTo>
                    <a:cubicBezTo>
                      <a:pt x="25" y="313"/>
                      <a:pt x="25" y="313"/>
                      <a:pt x="25" y="313"/>
                    </a:cubicBezTo>
                    <a:cubicBezTo>
                      <a:pt x="26" y="312"/>
                      <a:pt x="26" y="312"/>
                      <a:pt x="26" y="312"/>
                    </a:cubicBezTo>
                    <a:cubicBezTo>
                      <a:pt x="27" y="312"/>
                      <a:pt x="27" y="312"/>
                      <a:pt x="27" y="312"/>
                    </a:cubicBezTo>
                    <a:cubicBezTo>
                      <a:pt x="27" y="312"/>
                      <a:pt x="27" y="312"/>
                      <a:pt x="27" y="312"/>
                    </a:cubicBezTo>
                    <a:cubicBezTo>
                      <a:pt x="28" y="312"/>
                      <a:pt x="28" y="312"/>
                      <a:pt x="28" y="312"/>
                    </a:cubicBezTo>
                    <a:cubicBezTo>
                      <a:pt x="28" y="313"/>
                      <a:pt x="28" y="313"/>
                      <a:pt x="28" y="313"/>
                    </a:cubicBezTo>
                    <a:cubicBezTo>
                      <a:pt x="28" y="313"/>
                      <a:pt x="28" y="313"/>
                      <a:pt x="28" y="313"/>
                    </a:cubicBezTo>
                    <a:cubicBezTo>
                      <a:pt x="29" y="313"/>
                      <a:pt x="29" y="313"/>
                      <a:pt x="29" y="313"/>
                    </a:cubicBezTo>
                    <a:cubicBezTo>
                      <a:pt x="29" y="313"/>
                      <a:pt x="29" y="313"/>
                      <a:pt x="29" y="313"/>
                    </a:cubicBezTo>
                    <a:cubicBezTo>
                      <a:pt x="30" y="313"/>
                      <a:pt x="30" y="313"/>
                      <a:pt x="30" y="313"/>
                    </a:cubicBezTo>
                    <a:cubicBezTo>
                      <a:pt x="31" y="314"/>
                      <a:pt x="31" y="314"/>
                      <a:pt x="31" y="314"/>
                    </a:cubicBezTo>
                    <a:cubicBezTo>
                      <a:pt x="31" y="314"/>
                      <a:pt x="31" y="314"/>
                      <a:pt x="31" y="314"/>
                    </a:cubicBezTo>
                    <a:cubicBezTo>
                      <a:pt x="31" y="314"/>
                      <a:pt x="31" y="314"/>
                      <a:pt x="31" y="314"/>
                    </a:cubicBezTo>
                    <a:cubicBezTo>
                      <a:pt x="32" y="314"/>
                      <a:pt x="32" y="314"/>
                      <a:pt x="32" y="314"/>
                    </a:cubicBezTo>
                    <a:cubicBezTo>
                      <a:pt x="32" y="313"/>
                      <a:pt x="32" y="313"/>
                      <a:pt x="32" y="313"/>
                    </a:cubicBezTo>
                    <a:cubicBezTo>
                      <a:pt x="33" y="313"/>
                      <a:pt x="33" y="313"/>
                      <a:pt x="33" y="313"/>
                    </a:cubicBezTo>
                    <a:cubicBezTo>
                      <a:pt x="33" y="313"/>
                      <a:pt x="33" y="313"/>
                      <a:pt x="33" y="313"/>
                    </a:cubicBezTo>
                    <a:cubicBezTo>
                      <a:pt x="33" y="313"/>
                      <a:pt x="33" y="313"/>
                      <a:pt x="33" y="313"/>
                    </a:cubicBezTo>
                    <a:cubicBezTo>
                      <a:pt x="33" y="313"/>
                      <a:pt x="33" y="313"/>
                      <a:pt x="33" y="313"/>
                    </a:cubicBezTo>
                    <a:cubicBezTo>
                      <a:pt x="34" y="313"/>
                      <a:pt x="34" y="313"/>
                      <a:pt x="34" y="313"/>
                    </a:cubicBezTo>
                    <a:cubicBezTo>
                      <a:pt x="34" y="312"/>
                      <a:pt x="34" y="312"/>
                      <a:pt x="34" y="312"/>
                    </a:cubicBezTo>
                    <a:cubicBezTo>
                      <a:pt x="35" y="313"/>
                      <a:pt x="35" y="313"/>
                      <a:pt x="35" y="313"/>
                    </a:cubicBezTo>
                    <a:cubicBezTo>
                      <a:pt x="35" y="313"/>
                      <a:pt x="35" y="313"/>
                      <a:pt x="35" y="313"/>
                    </a:cubicBezTo>
                    <a:cubicBezTo>
                      <a:pt x="36" y="313"/>
                      <a:pt x="36" y="313"/>
                      <a:pt x="36" y="313"/>
                    </a:cubicBezTo>
                    <a:cubicBezTo>
                      <a:pt x="36" y="314"/>
                      <a:pt x="36" y="314"/>
                      <a:pt x="36" y="314"/>
                    </a:cubicBezTo>
                    <a:cubicBezTo>
                      <a:pt x="36" y="315"/>
                      <a:pt x="36" y="315"/>
                      <a:pt x="36" y="315"/>
                    </a:cubicBezTo>
                    <a:cubicBezTo>
                      <a:pt x="36" y="315"/>
                      <a:pt x="36" y="315"/>
                      <a:pt x="36" y="315"/>
                    </a:cubicBezTo>
                    <a:cubicBezTo>
                      <a:pt x="36" y="315"/>
                      <a:pt x="36" y="315"/>
                      <a:pt x="36" y="315"/>
                    </a:cubicBezTo>
                    <a:cubicBezTo>
                      <a:pt x="36" y="315"/>
                      <a:pt x="36" y="315"/>
                      <a:pt x="36" y="315"/>
                    </a:cubicBezTo>
                    <a:cubicBezTo>
                      <a:pt x="36" y="315"/>
                      <a:pt x="36" y="315"/>
                      <a:pt x="36" y="315"/>
                    </a:cubicBezTo>
                    <a:cubicBezTo>
                      <a:pt x="36" y="316"/>
                      <a:pt x="36" y="316"/>
                      <a:pt x="36" y="316"/>
                    </a:cubicBezTo>
                    <a:cubicBezTo>
                      <a:pt x="36" y="316"/>
                      <a:pt x="36" y="316"/>
                      <a:pt x="36" y="316"/>
                    </a:cubicBezTo>
                    <a:cubicBezTo>
                      <a:pt x="37" y="317"/>
                      <a:pt x="37" y="317"/>
                      <a:pt x="37" y="317"/>
                    </a:cubicBezTo>
                    <a:cubicBezTo>
                      <a:pt x="37" y="317"/>
                      <a:pt x="37" y="317"/>
                      <a:pt x="37" y="317"/>
                    </a:cubicBezTo>
                    <a:cubicBezTo>
                      <a:pt x="37" y="318"/>
                      <a:pt x="37" y="318"/>
                      <a:pt x="37" y="318"/>
                    </a:cubicBezTo>
                    <a:cubicBezTo>
                      <a:pt x="38" y="318"/>
                      <a:pt x="38" y="318"/>
                      <a:pt x="38" y="318"/>
                    </a:cubicBezTo>
                    <a:cubicBezTo>
                      <a:pt x="38" y="319"/>
                      <a:pt x="38" y="319"/>
                      <a:pt x="38" y="319"/>
                    </a:cubicBezTo>
                    <a:cubicBezTo>
                      <a:pt x="39" y="319"/>
                      <a:pt x="39" y="319"/>
                      <a:pt x="39" y="319"/>
                    </a:cubicBezTo>
                    <a:cubicBezTo>
                      <a:pt x="40" y="320"/>
                      <a:pt x="40" y="320"/>
                      <a:pt x="40" y="320"/>
                    </a:cubicBezTo>
                    <a:cubicBezTo>
                      <a:pt x="40" y="321"/>
                      <a:pt x="40" y="321"/>
                      <a:pt x="40" y="321"/>
                    </a:cubicBezTo>
                    <a:cubicBezTo>
                      <a:pt x="41" y="321"/>
                      <a:pt x="41" y="321"/>
                      <a:pt x="41" y="321"/>
                    </a:cubicBezTo>
                    <a:cubicBezTo>
                      <a:pt x="41" y="321"/>
                      <a:pt x="41" y="321"/>
                      <a:pt x="41" y="321"/>
                    </a:cubicBezTo>
                    <a:cubicBezTo>
                      <a:pt x="42" y="320"/>
                      <a:pt x="42" y="320"/>
                      <a:pt x="42" y="320"/>
                    </a:cubicBezTo>
                    <a:cubicBezTo>
                      <a:pt x="42" y="320"/>
                      <a:pt x="42" y="320"/>
                      <a:pt x="42" y="320"/>
                    </a:cubicBezTo>
                    <a:cubicBezTo>
                      <a:pt x="42" y="319"/>
                      <a:pt x="42" y="319"/>
                      <a:pt x="42" y="319"/>
                    </a:cubicBezTo>
                    <a:cubicBezTo>
                      <a:pt x="41" y="317"/>
                      <a:pt x="41" y="317"/>
                      <a:pt x="41" y="317"/>
                    </a:cubicBezTo>
                    <a:cubicBezTo>
                      <a:pt x="40" y="316"/>
                      <a:pt x="40" y="316"/>
                      <a:pt x="40" y="316"/>
                    </a:cubicBezTo>
                    <a:cubicBezTo>
                      <a:pt x="40" y="315"/>
                      <a:pt x="40" y="315"/>
                      <a:pt x="40" y="315"/>
                    </a:cubicBezTo>
                    <a:cubicBezTo>
                      <a:pt x="39" y="315"/>
                      <a:pt x="39" y="315"/>
                      <a:pt x="39" y="315"/>
                    </a:cubicBezTo>
                    <a:cubicBezTo>
                      <a:pt x="39" y="314"/>
                      <a:pt x="39" y="314"/>
                      <a:pt x="39" y="314"/>
                    </a:cubicBezTo>
                    <a:cubicBezTo>
                      <a:pt x="38" y="313"/>
                      <a:pt x="38" y="313"/>
                      <a:pt x="38" y="313"/>
                    </a:cubicBezTo>
                    <a:cubicBezTo>
                      <a:pt x="39" y="312"/>
                      <a:pt x="39" y="312"/>
                      <a:pt x="39" y="312"/>
                    </a:cubicBezTo>
                    <a:cubicBezTo>
                      <a:pt x="40" y="311"/>
                      <a:pt x="40" y="311"/>
                      <a:pt x="40" y="311"/>
                    </a:cubicBezTo>
                    <a:cubicBezTo>
                      <a:pt x="40" y="311"/>
                      <a:pt x="40" y="311"/>
                      <a:pt x="40" y="311"/>
                    </a:cubicBezTo>
                    <a:cubicBezTo>
                      <a:pt x="41" y="312"/>
                      <a:pt x="41" y="312"/>
                      <a:pt x="41" y="312"/>
                    </a:cubicBezTo>
                    <a:cubicBezTo>
                      <a:pt x="43" y="313"/>
                      <a:pt x="43" y="313"/>
                      <a:pt x="43" y="313"/>
                    </a:cubicBezTo>
                    <a:cubicBezTo>
                      <a:pt x="43" y="313"/>
                      <a:pt x="43" y="313"/>
                      <a:pt x="43" y="313"/>
                    </a:cubicBezTo>
                    <a:cubicBezTo>
                      <a:pt x="44" y="315"/>
                      <a:pt x="44" y="315"/>
                      <a:pt x="44" y="315"/>
                    </a:cubicBezTo>
                    <a:cubicBezTo>
                      <a:pt x="44" y="315"/>
                      <a:pt x="44" y="315"/>
                      <a:pt x="44" y="315"/>
                    </a:cubicBezTo>
                    <a:cubicBezTo>
                      <a:pt x="45" y="315"/>
                      <a:pt x="45" y="315"/>
                      <a:pt x="45" y="315"/>
                    </a:cubicBezTo>
                    <a:cubicBezTo>
                      <a:pt x="46" y="316"/>
                      <a:pt x="46" y="316"/>
                      <a:pt x="46" y="316"/>
                    </a:cubicBezTo>
                    <a:cubicBezTo>
                      <a:pt x="47" y="316"/>
                      <a:pt x="47" y="316"/>
                      <a:pt x="47" y="316"/>
                    </a:cubicBezTo>
                    <a:cubicBezTo>
                      <a:pt x="47" y="318"/>
                      <a:pt x="47" y="318"/>
                      <a:pt x="47" y="318"/>
                    </a:cubicBezTo>
                    <a:cubicBezTo>
                      <a:pt x="47" y="318"/>
                      <a:pt x="47" y="318"/>
                      <a:pt x="47" y="318"/>
                    </a:cubicBezTo>
                    <a:cubicBezTo>
                      <a:pt x="47" y="319"/>
                      <a:pt x="47" y="319"/>
                      <a:pt x="47" y="319"/>
                    </a:cubicBezTo>
                    <a:cubicBezTo>
                      <a:pt x="47" y="319"/>
                      <a:pt x="47" y="319"/>
                      <a:pt x="47" y="319"/>
                    </a:cubicBezTo>
                    <a:cubicBezTo>
                      <a:pt x="47" y="320"/>
                      <a:pt x="47" y="320"/>
                      <a:pt x="47" y="320"/>
                    </a:cubicBezTo>
                    <a:cubicBezTo>
                      <a:pt x="47" y="321"/>
                      <a:pt x="47" y="321"/>
                      <a:pt x="47" y="321"/>
                    </a:cubicBezTo>
                    <a:cubicBezTo>
                      <a:pt x="47" y="322"/>
                      <a:pt x="47" y="322"/>
                      <a:pt x="47" y="322"/>
                    </a:cubicBezTo>
                    <a:cubicBezTo>
                      <a:pt x="47" y="323"/>
                      <a:pt x="47" y="323"/>
                      <a:pt x="47" y="323"/>
                    </a:cubicBezTo>
                    <a:cubicBezTo>
                      <a:pt x="46" y="323"/>
                      <a:pt x="46" y="323"/>
                      <a:pt x="46" y="323"/>
                    </a:cubicBezTo>
                    <a:cubicBezTo>
                      <a:pt x="45" y="323"/>
                      <a:pt x="45" y="323"/>
                      <a:pt x="45" y="323"/>
                    </a:cubicBezTo>
                    <a:cubicBezTo>
                      <a:pt x="44" y="323"/>
                      <a:pt x="44" y="323"/>
                      <a:pt x="44" y="323"/>
                    </a:cubicBezTo>
                    <a:cubicBezTo>
                      <a:pt x="42" y="323"/>
                      <a:pt x="42" y="323"/>
                      <a:pt x="42" y="323"/>
                    </a:cubicBezTo>
                    <a:cubicBezTo>
                      <a:pt x="41" y="323"/>
                      <a:pt x="41" y="323"/>
                      <a:pt x="41" y="323"/>
                    </a:cubicBezTo>
                    <a:cubicBezTo>
                      <a:pt x="40" y="324"/>
                      <a:pt x="40" y="324"/>
                      <a:pt x="40" y="324"/>
                    </a:cubicBezTo>
                    <a:cubicBezTo>
                      <a:pt x="39" y="325"/>
                      <a:pt x="39" y="325"/>
                      <a:pt x="39" y="325"/>
                    </a:cubicBezTo>
                    <a:cubicBezTo>
                      <a:pt x="40" y="326"/>
                      <a:pt x="40" y="326"/>
                      <a:pt x="40" y="326"/>
                    </a:cubicBezTo>
                    <a:cubicBezTo>
                      <a:pt x="40" y="326"/>
                      <a:pt x="40" y="326"/>
                      <a:pt x="40" y="326"/>
                    </a:cubicBezTo>
                    <a:cubicBezTo>
                      <a:pt x="40" y="327"/>
                      <a:pt x="40" y="327"/>
                      <a:pt x="40" y="327"/>
                    </a:cubicBezTo>
                    <a:cubicBezTo>
                      <a:pt x="40" y="328"/>
                      <a:pt x="40" y="328"/>
                      <a:pt x="40" y="328"/>
                    </a:cubicBezTo>
                    <a:cubicBezTo>
                      <a:pt x="40" y="328"/>
                      <a:pt x="40" y="328"/>
                      <a:pt x="40" y="328"/>
                    </a:cubicBezTo>
                    <a:cubicBezTo>
                      <a:pt x="39" y="330"/>
                      <a:pt x="39" y="330"/>
                      <a:pt x="39" y="330"/>
                    </a:cubicBezTo>
                    <a:cubicBezTo>
                      <a:pt x="38" y="330"/>
                      <a:pt x="38" y="330"/>
                      <a:pt x="38" y="330"/>
                    </a:cubicBezTo>
                    <a:cubicBezTo>
                      <a:pt x="37" y="330"/>
                      <a:pt x="37" y="330"/>
                      <a:pt x="37" y="330"/>
                    </a:cubicBezTo>
                    <a:cubicBezTo>
                      <a:pt x="37" y="330"/>
                      <a:pt x="37" y="330"/>
                      <a:pt x="37" y="330"/>
                    </a:cubicBezTo>
                    <a:cubicBezTo>
                      <a:pt x="37" y="330"/>
                      <a:pt x="37" y="330"/>
                      <a:pt x="37" y="330"/>
                    </a:cubicBezTo>
                    <a:cubicBezTo>
                      <a:pt x="37" y="331"/>
                      <a:pt x="37" y="331"/>
                      <a:pt x="37" y="331"/>
                    </a:cubicBezTo>
                    <a:cubicBezTo>
                      <a:pt x="37" y="331"/>
                      <a:pt x="37" y="331"/>
                      <a:pt x="37" y="331"/>
                    </a:cubicBezTo>
                    <a:cubicBezTo>
                      <a:pt x="38" y="331"/>
                      <a:pt x="38" y="331"/>
                      <a:pt x="38" y="331"/>
                    </a:cubicBezTo>
                    <a:cubicBezTo>
                      <a:pt x="38" y="332"/>
                      <a:pt x="38" y="332"/>
                      <a:pt x="38" y="332"/>
                    </a:cubicBezTo>
                    <a:cubicBezTo>
                      <a:pt x="38" y="332"/>
                      <a:pt x="38" y="332"/>
                      <a:pt x="38" y="332"/>
                    </a:cubicBezTo>
                    <a:cubicBezTo>
                      <a:pt x="38" y="333"/>
                      <a:pt x="38" y="333"/>
                      <a:pt x="38" y="333"/>
                    </a:cubicBezTo>
                    <a:cubicBezTo>
                      <a:pt x="39" y="334"/>
                      <a:pt x="39" y="334"/>
                      <a:pt x="39" y="334"/>
                    </a:cubicBezTo>
                    <a:cubicBezTo>
                      <a:pt x="39" y="335"/>
                      <a:pt x="39" y="335"/>
                      <a:pt x="39" y="335"/>
                    </a:cubicBezTo>
                    <a:cubicBezTo>
                      <a:pt x="40" y="335"/>
                      <a:pt x="40" y="335"/>
                      <a:pt x="40" y="335"/>
                    </a:cubicBezTo>
                    <a:cubicBezTo>
                      <a:pt x="41" y="335"/>
                      <a:pt x="41" y="335"/>
                      <a:pt x="41" y="335"/>
                    </a:cubicBezTo>
                    <a:cubicBezTo>
                      <a:pt x="42" y="336"/>
                      <a:pt x="42" y="336"/>
                      <a:pt x="42" y="336"/>
                    </a:cubicBezTo>
                    <a:cubicBezTo>
                      <a:pt x="43" y="336"/>
                      <a:pt x="43" y="336"/>
                      <a:pt x="43" y="336"/>
                    </a:cubicBezTo>
                    <a:cubicBezTo>
                      <a:pt x="44" y="337"/>
                      <a:pt x="44" y="337"/>
                      <a:pt x="44" y="337"/>
                    </a:cubicBezTo>
                    <a:cubicBezTo>
                      <a:pt x="44" y="338"/>
                      <a:pt x="44" y="338"/>
                      <a:pt x="44" y="338"/>
                    </a:cubicBezTo>
                    <a:cubicBezTo>
                      <a:pt x="43" y="339"/>
                      <a:pt x="43" y="339"/>
                      <a:pt x="43" y="339"/>
                    </a:cubicBezTo>
                    <a:cubicBezTo>
                      <a:pt x="43" y="340"/>
                      <a:pt x="43" y="340"/>
                      <a:pt x="43" y="340"/>
                    </a:cubicBezTo>
                    <a:cubicBezTo>
                      <a:pt x="44" y="340"/>
                      <a:pt x="44" y="340"/>
                      <a:pt x="44" y="340"/>
                    </a:cubicBezTo>
                    <a:cubicBezTo>
                      <a:pt x="44" y="341"/>
                      <a:pt x="44" y="341"/>
                      <a:pt x="44" y="341"/>
                    </a:cubicBezTo>
                    <a:cubicBezTo>
                      <a:pt x="44" y="342"/>
                      <a:pt x="44" y="342"/>
                      <a:pt x="44" y="342"/>
                    </a:cubicBezTo>
                    <a:cubicBezTo>
                      <a:pt x="43" y="342"/>
                      <a:pt x="43" y="342"/>
                      <a:pt x="43" y="342"/>
                    </a:cubicBezTo>
                    <a:cubicBezTo>
                      <a:pt x="42" y="342"/>
                      <a:pt x="42" y="342"/>
                      <a:pt x="42" y="342"/>
                    </a:cubicBezTo>
                    <a:cubicBezTo>
                      <a:pt x="41" y="342"/>
                      <a:pt x="41" y="342"/>
                      <a:pt x="41" y="342"/>
                    </a:cubicBezTo>
                    <a:cubicBezTo>
                      <a:pt x="40" y="341"/>
                      <a:pt x="40" y="341"/>
                      <a:pt x="40" y="341"/>
                    </a:cubicBezTo>
                    <a:cubicBezTo>
                      <a:pt x="40" y="341"/>
                      <a:pt x="40" y="341"/>
                      <a:pt x="40" y="341"/>
                    </a:cubicBezTo>
                    <a:cubicBezTo>
                      <a:pt x="40" y="340"/>
                      <a:pt x="40" y="340"/>
                      <a:pt x="40" y="340"/>
                    </a:cubicBezTo>
                    <a:cubicBezTo>
                      <a:pt x="40" y="339"/>
                      <a:pt x="40" y="339"/>
                      <a:pt x="40" y="339"/>
                    </a:cubicBezTo>
                    <a:cubicBezTo>
                      <a:pt x="40" y="339"/>
                      <a:pt x="40" y="339"/>
                      <a:pt x="40" y="339"/>
                    </a:cubicBezTo>
                    <a:cubicBezTo>
                      <a:pt x="39" y="338"/>
                      <a:pt x="39" y="338"/>
                      <a:pt x="39" y="338"/>
                    </a:cubicBezTo>
                    <a:cubicBezTo>
                      <a:pt x="39" y="338"/>
                      <a:pt x="39" y="338"/>
                      <a:pt x="39" y="338"/>
                    </a:cubicBezTo>
                    <a:cubicBezTo>
                      <a:pt x="39" y="338"/>
                      <a:pt x="39" y="338"/>
                      <a:pt x="39" y="338"/>
                    </a:cubicBezTo>
                    <a:cubicBezTo>
                      <a:pt x="39" y="337"/>
                      <a:pt x="39" y="337"/>
                      <a:pt x="39" y="337"/>
                    </a:cubicBezTo>
                    <a:cubicBezTo>
                      <a:pt x="39" y="337"/>
                      <a:pt x="39" y="337"/>
                      <a:pt x="39" y="337"/>
                    </a:cubicBezTo>
                    <a:cubicBezTo>
                      <a:pt x="39" y="336"/>
                      <a:pt x="39" y="336"/>
                      <a:pt x="39" y="336"/>
                    </a:cubicBezTo>
                    <a:cubicBezTo>
                      <a:pt x="39" y="336"/>
                      <a:pt x="39" y="336"/>
                      <a:pt x="39" y="336"/>
                    </a:cubicBezTo>
                    <a:cubicBezTo>
                      <a:pt x="38" y="335"/>
                      <a:pt x="38" y="335"/>
                      <a:pt x="38" y="335"/>
                    </a:cubicBezTo>
                    <a:cubicBezTo>
                      <a:pt x="38" y="335"/>
                      <a:pt x="38" y="335"/>
                      <a:pt x="38" y="335"/>
                    </a:cubicBezTo>
                    <a:cubicBezTo>
                      <a:pt x="38" y="334"/>
                      <a:pt x="38" y="334"/>
                      <a:pt x="38" y="334"/>
                    </a:cubicBezTo>
                    <a:cubicBezTo>
                      <a:pt x="38" y="334"/>
                      <a:pt x="38" y="334"/>
                      <a:pt x="38" y="334"/>
                    </a:cubicBezTo>
                    <a:cubicBezTo>
                      <a:pt x="38" y="334"/>
                      <a:pt x="38" y="334"/>
                      <a:pt x="38" y="334"/>
                    </a:cubicBezTo>
                    <a:cubicBezTo>
                      <a:pt x="38" y="333"/>
                      <a:pt x="38" y="333"/>
                      <a:pt x="38" y="333"/>
                    </a:cubicBezTo>
                    <a:cubicBezTo>
                      <a:pt x="38" y="333"/>
                      <a:pt x="38" y="333"/>
                      <a:pt x="38" y="333"/>
                    </a:cubicBezTo>
                    <a:cubicBezTo>
                      <a:pt x="37" y="333"/>
                      <a:pt x="37" y="333"/>
                      <a:pt x="37" y="333"/>
                    </a:cubicBezTo>
                    <a:cubicBezTo>
                      <a:pt x="37" y="332"/>
                      <a:pt x="37" y="332"/>
                      <a:pt x="37" y="332"/>
                    </a:cubicBezTo>
                    <a:cubicBezTo>
                      <a:pt x="36" y="332"/>
                      <a:pt x="36" y="332"/>
                      <a:pt x="36" y="332"/>
                    </a:cubicBezTo>
                    <a:cubicBezTo>
                      <a:pt x="36" y="332"/>
                      <a:pt x="36" y="332"/>
                      <a:pt x="36" y="332"/>
                    </a:cubicBezTo>
                    <a:cubicBezTo>
                      <a:pt x="36" y="332"/>
                      <a:pt x="36" y="332"/>
                      <a:pt x="36" y="332"/>
                    </a:cubicBezTo>
                    <a:cubicBezTo>
                      <a:pt x="35" y="332"/>
                      <a:pt x="35" y="332"/>
                      <a:pt x="35" y="332"/>
                    </a:cubicBezTo>
                    <a:cubicBezTo>
                      <a:pt x="35" y="333"/>
                      <a:pt x="35" y="333"/>
                      <a:pt x="35" y="333"/>
                    </a:cubicBezTo>
                    <a:cubicBezTo>
                      <a:pt x="34" y="333"/>
                      <a:pt x="34" y="333"/>
                      <a:pt x="34" y="333"/>
                    </a:cubicBezTo>
                    <a:cubicBezTo>
                      <a:pt x="34" y="333"/>
                      <a:pt x="34" y="333"/>
                      <a:pt x="34" y="333"/>
                    </a:cubicBezTo>
                    <a:cubicBezTo>
                      <a:pt x="34" y="333"/>
                      <a:pt x="34" y="333"/>
                      <a:pt x="34" y="333"/>
                    </a:cubicBezTo>
                    <a:cubicBezTo>
                      <a:pt x="33" y="334"/>
                      <a:pt x="33" y="334"/>
                      <a:pt x="33" y="334"/>
                    </a:cubicBezTo>
                    <a:cubicBezTo>
                      <a:pt x="33" y="334"/>
                      <a:pt x="33" y="334"/>
                      <a:pt x="33" y="334"/>
                    </a:cubicBezTo>
                    <a:cubicBezTo>
                      <a:pt x="32" y="334"/>
                      <a:pt x="32" y="334"/>
                      <a:pt x="32" y="334"/>
                    </a:cubicBezTo>
                    <a:cubicBezTo>
                      <a:pt x="31" y="334"/>
                      <a:pt x="31" y="334"/>
                      <a:pt x="31" y="334"/>
                    </a:cubicBezTo>
                    <a:cubicBezTo>
                      <a:pt x="31" y="334"/>
                      <a:pt x="31" y="334"/>
                      <a:pt x="31" y="334"/>
                    </a:cubicBezTo>
                    <a:cubicBezTo>
                      <a:pt x="31" y="334"/>
                      <a:pt x="31" y="334"/>
                      <a:pt x="31" y="334"/>
                    </a:cubicBezTo>
                    <a:cubicBezTo>
                      <a:pt x="30" y="334"/>
                      <a:pt x="30" y="334"/>
                      <a:pt x="30" y="334"/>
                    </a:cubicBezTo>
                    <a:cubicBezTo>
                      <a:pt x="29" y="334"/>
                      <a:pt x="29" y="334"/>
                      <a:pt x="29" y="334"/>
                    </a:cubicBezTo>
                    <a:cubicBezTo>
                      <a:pt x="29" y="334"/>
                      <a:pt x="29" y="334"/>
                      <a:pt x="29" y="334"/>
                    </a:cubicBezTo>
                    <a:cubicBezTo>
                      <a:pt x="28" y="334"/>
                      <a:pt x="28" y="334"/>
                      <a:pt x="28" y="334"/>
                    </a:cubicBezTo>
                    <a:cubicBezTo>
                      <a:pt x="28" y="334"/>
                      <a:pt x="28" y="334"/>
                      <a:pt x="28" y="334"/>
                    </a:cubicBezTo>
                    <a:cubicBezTo>
                      <a:pt x="28" y="334"/>
                      <a:pt x="28" y="334"/>
                      <a:pt x="28" y="334"/>
                    </a:cubicBezTo>
                    <a:cubicBezTo>
                      <a:pt x="27" y="334"/>
                      <a:pt x="27" y="334"/>
                      <a:pt x="27" y="334"/>
                    </a:cubicBezTo>
                    <a:cubicBezTo>
                      <a:pt x="26" y="334"/>
                      <a:pt x="26" y="334"/>
                      <a:pt x="26" y="334"/>
                    </a:cubicBezTo>
                    <a:cubicBezTo>
                      <a:pt x="26" y="334"/>
                      <a:pt x="26" y="334"/>
                      <a:pt x="26" y="334"/>
                    </a:cubicBezTo>
                    <a:cubicBezTo>
                      <a:pt x="25" y="334"/>
                      <a:pt x="25" y="334"/>
                      <a:pt x="25" y="334"/>
                    </a:cubicBezTo>
                    <a:cubicBezTo>
                      <a:pt x="25" y="334"/>
                      <a:pt x="25" y="334"/>
                      <a:pt x="25" y="334"/>
                    </a:cubicBezTo>
                    <a:cubicBezTo>
                      <a:pt x="24" y="333"/>
                      <a:pt x="24" y="333"/>
                      <a:pt x="24" y="333"/>
                    </a:cubicBezTo>
                    <a:cubicBezTo>
                      <a:pt x="24" y="333"/>
                      <a:pt x="24" y="333"/>
                      <a:pt x="24" y="333"/>
                    </a:cubicBezTo>
                    <a:cubicBezTo>
                      <a:pt x="23" y="332"/>
                      <a:pt x="23" y="332"/>
                      <a:pt x="23" y="332"/>
                    </a:cubicBezTo>
                    <a:cubicBezTo>
                      <a:pt x="23" y="332"/>
                      <a:pt x="23" y="332"/>
                      <a:pt x="23" y="332"/>
                    </a:cubicBezTo>
                    <a:cubicBezTo>
                      <a:pt x="22" y="332"/>
                      <a:pt x="22" y="332"/>
                      <a:pt x="22" y="332"/>
                    </a:cubicBezTo>
                    <a:cubicBezTo>
                      <a:pt x="21" y="331"/>
                      <a:pt x="21" y="331"/>
                      <a:pt x="21" y="331"/>
                    </a:cubicBezTo>
                    <a:cubicBezTo>
                      <a:pt x="21" y="331"/>
                      <a:pt x="21" y="331"/>
                      <a:pt x="21" y="331"/>
                    </a:cubicBezTo>
                    <a:cubicBezTo>
                      <a:pt x="20" y="331"/>
                      <a:pt x="20" y="331"/>
                      <a:pt x="20" y="331"/>
                    </a:cubicBezTo>
                    <a:cubicBezTo>
                      <a:pt x="20" y="331"/>
                      <a:pt x="20" y="331"/>
                      <a:pt x="20" y="331"/>
                    </a:cubicBezTo>
                    <a:cubicBezTo>
                      <a:pt x="19" y="331"/>
                      <a:pt x="19" y="331"/>
                      <a:pt x="19" y="331"/>
                    </a:cubicBezTo>
                    <a:cubicBezTo>
                      <a:pt x="19" y="330"/>
                      <a:pt x="19" y="330"/>
                      <a:pt x="19" y="330"/>
                    </a:cubicBezTo>
                    <a:cubicBezTo>
                      <a:pt x="19" y="330"/>
                      <a:pt x="19" y="330"/>
                      <a:pt x="19" y="330"/>
                    </a:cubicBezTo>
                    <a:cubicBezTo>
                      <a:pt x="19" y="329"/>
                      <a:pt x="19" y="329"/>
                      <a:pt x="19" y="329"/>
                    </a:cubicBezTo>
                    <a:cubicBezTo>
                      <a:pt x="19" y="329"/>
                      <a:pt x="19" y="329"/>
                      <a:pt x="19" y="329"/>
                    </a:cubicBezTo>
                    <a:cubicBezTo>
                      <a:pt x="19" y="329"/>
                      <a:pt x="19" y="329"/>
                      <a:pt x="19" y="329"/>
                    </a:cubicBezTo>
                    <a:cubicBezTo>
                      <a:pt x="19" y="328"/>
                      <a:pt x="19" y="328"/>
                      <a:pt x="19" y="328"/>
                    </a:cubicBezTo>
                    <a:cubicBezTo>
                      <a:pt x="19" y="327"/>
                      <a:pt x="19" y="327"/>
                      <a:pt x="19" y="327"/>
                    </a:cubicBezTo>
                    <a:cubicBezTo>
                      <a:pt x="19" y="327"/>
                      <a:pt x="19" y="327"/>
                      <a:pt x="19" y="327"/>
                    </a:cubicBezTo>
                    <a:cubicBezTo>
                      <a:pt x="19" y="327"/>
                      <a:pt x="19" y="327"/>
                      <a:pt x="19" y="327"/>
                    </a:cubicBezTo>
                    <a:cubicBezTo>
                      <a:pt x="19" y="326"/>
                      <a:pt x="19" y="326"/>
                      <a:pt x="19" y="326"/>
                    </a:cubicBezTo>
                    <a:cubicBezTo>
                      <a:pt x="19" y="326"/>
                      <a:pt x="19" y="326"/>
                      <a:pt x="19" y="326"/>
                    </a:cubicBezTo>
                    <a:cubicBezTo>
                      <a:pt x="19" y="325"/>
                      <a:pt x="19" y="325"/>
                      <a:pt x="19" y="325"/>
                    </a:cubicBezTo>
                    <a:cubicBezTo>
                      <a:pt x="18" y="325"/>
                      <a:pt x="18" y="325"/>
                      <a:pt x="18" y="325"/>
                    </a:cubicBezTo>
                    <a:cubicBezTo>
                      <a:pt x="18" y="325"/>
                      <a:pt x="18" y="325"/>
                      <a:pt x="18" y="325"/>
                    </a:cubicBezTo>
                    <a:cubicBezTo>
                      <a:pt x="18" y="324"/>
                      <a:pt x="18" y="324"/>
                      <a:pt x="18" y="324"/>
                    </a:cubicBezTo>
                    <a:cubicBezTo>
                      <a:pt x="18" y="324"/>
                      <a:pt x="18" y="324"/>
                      <a:pt x="18" y="324"/>
                    </a:cubicBezTo>
                    <a:cubicBezTo>
                      <a:pt x="18" y="324"/>
                      <a:pt x="18" y="324"/>
                      <a:pt x="18" y="324"/>
                    </a:cubicBezTo>
                    <a:cubicBezTo>
                      <a:pt x="18" y="323"/>
                      <a:pt x="18" y="323"/>
                      <a:pt x="18" y="323"/>
                    </a:cubicBezTo>
                    <a:cubicBezTo>
                      <a:pt x="17" y="323"/>
                      <a:pt x="17" y="323"/>
                      <a:pt x="17" y="323"/>
                    </a:cubicBezTo>
                    <a:cubicBezTo>
                      <a:pt x="17" y="323"/>
                      <a:pt x="17" y="323"/>
                      <a:pt x="17" y="323"/>
                    </a:cubicBezTo>
                    <a:cubicBezTo>
                      <a:pt x="16" y="323"/>
                      <a:pt x="16" y="323"/>
                      <a:pt x="16" y="323"/>
                    </a:cubicBezTo>
                    <a:cubicBezTo>
                      <a:pt x="16" y="323"/>
                      <a:pt x="16" y="323"/>
                      <a:pt x="16" y="323"/>
                    </a:cubicBezTo>
                    <a:cubicBezTo>
                      <a:pt x="15" y="323"/>
                      <a:pt x="15" y="323"/>
                      <a:pt x="15" y="323"/>
                    </a:cubicBezTo>
                    <a:cubicBezTo>
                      <a:pt x="15" y="323"/>
                      <a:pt x="15" y="323"/>
                      <a:pt x="15" y="323"/>
                    </a:cubicBezTo>
                    <a:cubicBezTo>
                      <a:pt x="14" y="323"/>
                      <a:pt x="14" y="323"/>
                      <a:pt x="14" y="323"/>
                    </a:cubicBezTo>
                    <a:cubicBezTo>
                      <a:pt x="13" y="323"/>
                      <a:pt x="13" y="323"/>
                      <a:pt x="13" y="323"/>
                    </a:cubicBezTo>
                    <a:cubicBezTo>
                      <a:pt x="13" y="323"/>
                      <a:pt x="13" y="323"/>
                      <a:pt x="13" y="323"/>
                    </a:cubicBezTo>
                    <a:cubicBezTo>
                      <a:pt x="12" y="323"/>
                      <a:pt x="12" y="323"/>
                      <a:pt x="12" y="323"/>
                    </a:cubicBezTo>
                    <a:cubicBezTo>
                      <a:pt x="12" y="324"/>
                      <a:pt x="12" y="324"/>
                      <a:pt x="12" y="324"/>
                    </a:cubicBezTo>
                    <a:cubicBezTo>
                      <a:pt x="11" y="324"/>
                      <a:pt x="11" y="324"/>
                      <a:pt x="11" y="324"/>
                    </a:cubicBezTo>
                    <a:cubicBezTo>
                      <a:pt x="11" y="325"/>
                      <a:pt x="11" y="325"/>
                      <a:pt x="11" y="325"/>
                    </a:cubicBezTo>
                    <a:cubicBezTo>
                      <a:pt x="11" y="325"/>
                      <a:pt x="11" y="325"/>
                      <a:pt x="11" y="325"/>
                    </a:cubicBezTo>
                    <a:cubicBezTo>
                      <a:pt x="11" y="326"/>
                      <a:pt x="11" y="326"/>
                      <a:pt x="11" y="326"/>
                    </a:cubicBezTo>
                    <a:cubicBezTo>
                      <a:pt x="11" y="326"/>
                      <a:pt x="11" y="326"/>
                      <a:pt x="11" y="326"/>
                    </a:cubicBezTo>
                    <a:cubicBezTo>
                      <a:pt x="11" y="327"/>
                      <a:pt x="11" y="327"/>
                      <a:pt x="11" y="327"/>
                    </a:cubicBezTo>
                    <a:cubicBezTo>
                      <a:pt x="11" y="327"/>
                      <a:pt x="11" y="327"/>
                      <a:pt x="11" y="327"/>
                    </a:cubicBezTo>
                    <a:cubicBezTo>
                      <a:pt x="12" y="327"/>
                      <a:pt x="12" y="327"/>
                      <a:pt x="12" y="327"/>
                    </a:cubicBezTo>
                    <a:cubicBezTo>
                      <a:pt x="12" y="328"/>
                      <a:pt x="12" y="328"/>
                      <a:pt x="12" y="328"/>
                    </a:cubicBezTo>
                    <a:cubicBezTo>
                      <a:pt x="13" y="328"/>
                      <a:pt x="13" y="328"/>
                      <a:pt x="13" y="328"/>
                    </a:cubicBezTo>
                    <a:cubicBezTo>
                      <a:pt x="13" y="328"/>
                      <a:pt x="13" y="328"/>
                      <a:pt x="13" y="328"/>
                    </a:cubicBezTo>
                    <a:cubicBezTo>
                      <a:pt x="13" y="328"/>
                      <a:pt x="13" y="328"/>
                      <a:pt x="13" y="328"/>
                    </a:cubicBezTo>
                    <a:cubicBezTo>
                      <a:pt x="14" y="329"/>
                      <a:pt x="14" y="329"/>
                      <a:pt x="14" y="329"/>
                    </a:cubicBezTo>
                    <a:cubicBezTo>
                      <a:pt x="14" y="329"/>
                      <a:pt x="14" y="329"/>
                      <a:pt x="14" y="329"/>
                    </a:cubicBezTo>
                    <a:cubicBezTo>
                      <a:pt x="14" y="330"/>
                      <a:pt x="14" y="330"/>
                      <a:pt x="14" y="330"/>
                    </a:cubicBezTo>
                    <a:cubicBezTo>
                      <a:pt x="14" y="330"/>
                      <a:pt x="14" y="330"/>
                      <a:pt x="14" y="330"/>
                    </a:cubicBezTo>
                    <a:cubicBezTo>
                      <a:pt x="14" y="330"/>
                      <a:pt x="14" y="330"/>
                      <a:pt x="14" y="330"/>
                    </a:cubicBezTo>
                    <a:cubicBezTo>
                      <a:pt x="14" y="331"/>
                      <a:pt x="14" y="331"/>
                      <a:pt x="14" y="331"/>
                    </a:cubicBezTo>
                    <a:cubicBezTo>
                      <a:pt x="14" y="332"/>
                      <a:pt x="14" y="332"/>
                      <a:pt x="14" y="332"/>
                    </a:cubicBezTo>
                    <a:cubicBezTo>
                      <a:pt x="16" y="334"/>
                      <a:pt x="16" y="334"/>
                      <a:pt x="16" y="334"/>
                    </a:cubicBezTo>
                    <a:cubicBezTo>
                      <a:pt x="16" y="334"/>
                      <a:pt x="16" y="334"/>
                      <a:pt x="16" y="334"/>
                    </a:cubicBezTo>
                    <a:cubicBezTo>
                      <a:pt x="17" y="335"/>
                      <a:pt x="17" y="335"/>
                      <a:pt x="17" y="335"/>
                    </a:cubicBezTo>
                    <a:cubicBezTo>
                      <a:pt x="17" y="335"/>
                      <a:pt x="17" y="335"/>
                      <a:pt x="17" y="335"/>
                    </a:cubicBezTo>
                    <a:cubicBezTo>
                      <a:pt x="17" y="336"/>
                      <a:pt x="17" y="336"/>
                      <a:pt x="17" y="336"/>
                    </a:cubicBezTo>
                    <a:cubicBezTo>
                      <a:pt x="18" y="336"/>
                      <a:pt x="18" y="336"/>
                      <a:pt x="18" y="336"/>
                    </a:cubicBezTo>
                    <a:cubicBezTo>
                      <a:pt x="18" y="337"/>
                      <a:pt x="18" y="337"/>
                      <a:pt x="18" y="337"/>
                    </a:cubicBezTo>
                    <a:cubicBezTo>
                      <a:pt x="19" y="337"/>
                      <a:pt x="19" y="337"/>
                      <a:pt x="19" y="337"/>
                    </a:cubicBezTo>
                    <a:cubicBezTo>
                      <a:pt x="19" y="338"/>
                      <a:pt x="19" y="338"/>
                      <a:pt x="19" y="338"/>
                    </a:cubicBezTo>
                    <a:cubicBezTo>
                      <a:pt x="19" y="338"/>
                      <a:pt x="19" y="338"/>
                      <a:pt x="19" y="338"/>
                    </a:cubicBezTo>
                    <a:cubicBezTo>
                      <a:pt x="19" y="339"/>
                      <a:pt x="19" y="339"/>
                      <a:pt x="19" y="339"/>
                    </a:cubicBezTo>
                    <a:cubicBezTo>
                      <a:pt x="19" y="340"/>
                      <a:pt x="19" y="340"/>
                      <a:pt x="19" y="340"/>
                    </a:cubicBezTo>
                    <a:cubicBezTo>
                      <a:pt x="19" y="340"/>
                      <a:pt x="19" y="340"/>
                      <a:pt x="19" y="340"/>
                    </a:cubicBezTo>
                    <a:cubicBezTo>
                      <a:pt x="19" y="340"/>
                      <a:pt x="19" y="340"/>
                      <a:pt x="19" y="340"/>
                    </a:cubicBezTo>
                    <a:cubicBezTo>
                      <a:pt x="19" y="341"/>
                      <a:pt x="19" y="341"/>
                      <a:pt x="19" y="341"/>
                    </a:cubicBezTo>
                    <a:cubicBezTo>
                      <a:pt x="19" y="341"/>
                      <a:pt x="19" y="341"/>
                      <a:pt x="19" y="341"/>
                    </a:cubicBezTo>
                    <a:cubicBezTo>
                      <a:pt x="19" y="342"/>
                      <a:pt x="19" y="342"/>
                      <a:pt x="19" y="342"/>
                    </a:cubicBezTo>
                    <a:cubicBezTo>
                      <a:pt x="18" y="342"/>
                      <a:pt x="18" y="342"/>
                      <a:pt x="18" y="342"/>
                    </a:cubicBezTo>
                    <a:cubicBezTo>
                      <a:pt x="17" y="343"/>
                      <a:pt x="17" y="343"/>
                      <a:pt x="17" y="343"/>
                    </a:cubicBezTo>
                    <a:cubicBezTo>
                      <a:pt x="17" y="343"/>
                      <a:pt x="17" y="343"/>
                      <a:pt x="17" y="343"/>
                    </a:cubicBezTo>
                    <a:cubicBezTo>
                      <a:pt x="17" y="343"/>
                      <a:pt x="17" y="343"/>
                      <a:pt x="17" y="343"/>
                    </a:cubicBezTo>
                    <a:cubicBezTo>
                      <a:pt x="16" y="343"/>
                      <a:pt x="16" y="343"/>
                      <a:pt x="16" y="343"/>
                    </a:cubicBezTo>
                    <a:cubicBezTo>
                      <a:pt x="16" y="344"/>
                      <a:pt x="16" y="344"/>
                      <a:pt x="16" y="344"/>
                    </a:cubicBezTo>
                    <a:cubicBezTo>
                      <a:pt x="16" y="344"/>
                      <a:pt x="16" y="344"/>
                      <a:pt x="16" y="344"/>
                    </a:cubicBezTo>
                    <a:cubicBezTo>
                      <a:pt x="16" y="345"/>
                      <a:pt x="16" y="345"/>
                      <a:pt x="16" y="345"/>
                    </a:cubicBezTo>
                    <a:cubicBezTo>
                      <a:pt x="16" y="346"/>
                      <a:pt x="16" y="346"/>
                      <a:pt x="16" y="346"/>
                    </a:cubicBezTo>
                    <a:cubicBezTo>
                      <a:pt x="16" y="346"/>
                      <a:pt x="16" y="346"/>
                      <a:pt x="16" y="346"/>
                    </a:cubicBezTo>
                    <a:cubicBezTo>
                      <a:pt x="16" y="347"/>
                      <a:pt x="16" y="347"/>
                      <a:pt x="16" y="347"/>
                    </a:cubicBezTo>
                    <a:cubicBezTo>
                      <a:pt x="16" y="347"/>
                      <a:pt x="16" y="347"/>
                      <a:pt x="16" y="347"/>
                    </a:cubicBezTo>
                    <a:cubicBezTo>
                      <a:pt x="15" y="348"/>
                      <a:pt x="15" y="348"/>
                      <a:pt x="15" y="348"/>
                    </a:cubicBezTo>
                    <a:cubicBezTo>
                      <a:pt x="15" y="348"/>
                      <a:pt x="15" y="348"/>
                      <a:pt x="15" y="348"/>
                    </a:cubicBezTo>
                    <a:cubicBezTo>
                      <a:pt x="15" y="349"/>
                      <a:pt x="15" y="349"/>
                      <a:pt x="15" y="349"/>
                    </a:cubicBezTo>
                    <a:cubicBezTo>
                      <a:pt x="15" y="349"/>
                      <a:pt x="15" y="349"/>
                      <a:pt x="15" y="349"/>
                    </a:cubicBezTo>
                    <a:cubicBezTo>
                      <a:pt x="16" y="350"/>
                      <a:pt x="16" y="350"/>
                      <a:pt x="16" y="350"/>
                    </a:cubicBezTo>
                    <a:cubicBezTo>
                      <a:pt x="16" y="350"/>
                      <a:pt x="16" y="350"/>
                      <a:pt x="16" y="350"/>
                    </a:cubicBezTo>
                    <a:cubicBezTo>
                      <a:pt x="16" y="351"/>
                      <a:pt x="16" y="351"/>
                      <a:pt x="16" y="351"/>
                    </a:cubicBezTo>
                    <a:cubicBezTo>
                      <a:pt x="16" y="351"/>
                      <a:pt x="16" y="351"/>
                      <a:pt x="16" y="351"/>
                    </a:cubicBezTo>
                    <a:cubicBezTo>
                      <a:pt x="17" y="351"/>
                      <a:pt x="17" y="351"/>
                      <a:pt x="17" y="351"/>
                    </a:cubicBezTo>
                    <a:cubicBezTo>
                      <a:pt x="17" y="351"/>
                      <a:pt x="17" y="351"/>
                      <a:pt x="17" y="351"/>
                    </a:cubicBezTo>
                    <a:cubicBezTo>
                      <a:pt x="17" y="351"/>
                      <a:pt x="17" y="351"/>
                      <a:pt x="17" y="351"/>
                    </a:cubicBezTo>
                    <a:cubicBezTo>
                      <a:pt x="18" y="350"/>
                      <a:pt x="18" y="350"/>
                      <a:pt x="18" y="350"/>
                    </a:cubicBezTo>
                    <a:cubicBezTo>
                      <a:pt x="18" y="350"/>
                      <a:pt x="18" y="350"/>
                      <a:pt x="18" y="350"/>
                    </a:cubicBezTo>
                    <a:cubicBezTo>
                      <a:pt x="19" y="350"/>
                      <a:pt x="19" y="350"/>
                      <a:pt x="19" y="350"/>
                    </a:cubicBezTo>
                    <a:cubicBezTo>
                      <a:pt x="19" y="349"/>
                      <a:pt x="19" y="349"/>
                      <a:pt x="19" y="349"/>
                    </a:cubicBezTo>
                    <a:cubicBezTo>
                      <a:pt x="19" y="349"/>
                      <a:pt x="19" y="349"/>
                      <a:pt x="19" y="349"/>
                    </a:cubicBezTo>
                    <a:cubicBezTo>
                      <a:pt x="20" y="349"/>
                      <a:pt x="20" y="349"/>
                      <a:pt x="20" y="349"/>
                    </a:cubicBezTo>
                    <a:cubicBezTo>
                      <a:pt x="20" y="349"/>
                      <a:pt x="20" y="349"/>
                      <a:pt x="20" y="349"/>
                    </a:cubicBezTo>
                    <a:cubicBezTo>
                      <a:pt x="20" y="349"/>
                      <a:pt x="20" y="349"/>
                      <a:pt x="20" y="349"/>
                    </a:cubicBezTo>
                    <a:cubicBezTo>
                      <a:pt x="20" y="349"/>
                      <a:pt x="20" y="349"/>
                      <a:pt x="20" y="349"/>
                    </a:cubicBezTo>
                    <a:cubicBezTo>
                      <a:pt x="21" y="350"/>
                      <a:pt x="21" y="350"/>
                      <a:pt x="21" y="350"/>
                    </a:cubicBezTo>
                    <a:cubicBezTo>
                      <a:pt x="21" y="350"/>
                      <a:pt x="21" y="350"/>
                      <a:pt x="21" y="350"/>
                    </a:cubicBezTo>
                    <a:cubicBezTo>
                      <a:pt x="21" y="350"/>
                      <a:pt x="21" y="350"/>
                      <a:pt x="21" y="350"/>
                    </a:cubicBezTo>
                    <a:cubicBezTo>
                      <a:pt x="21" y="350"/>
                      <a:pt x="21" y="350"/>
                      <a:pt x="21" y="350"/>
                    </a:cubicBezTo>
                    <a:cubicBezTo>
                      <a:pt x="22" y="351"/>
                      <a:pt x="22" y="351"/>
                      <a:pt x="22" y="351"/>
                    </a:cubicBezTo>
                    <a:cubicBezTo>
                      <a:pt x="22" y="351"/>
                      <a:pt x="22" y="351"/>
                      <a:pt x="22" y="351"/>
                    </a:cubicBezTo>
                    <a:cubicBezTo>
                      <a:pt x="22" y="351"/>
                      <a:pt x="22" y="351"/>
                      <a:pt x="22" y="351"/>
                    </a:cubicBezTo>
                    <a:cubicBezTo>
                      <a:pt x="23" y="351"/>
                      <a:pt x="23" y="351"/>
                      <a:pt x="23" y="351"/>
                    </a:cubicBezTo>
                    <a:cubicBezTo>
                      <a:pt x="23" y="351"/>
                      <a:pt x="23" y="351"/>
                      <a:pt x="23" y="351"/>
                    </a:cubicBezTo>
                    <a:cubicBezTo>
                      <a:pt x="23" y="350"/>
                      <a:pt x="23" y="350"/>
                      <a:pt x="23" y="350"/>
                    </a:cubicBezTo>
                    <a:cubicBezTo>
                      <a:pt x="24" y="350"/>
                      <a:pt x="24" y="350"/>
                      <a:pt x="24" y="350"/>
                    </a:cubicBezTo>
                    <a:cubicBezTo>
                      <a:pt x="24" y="350"/>
                      <a:pt x="24" y="350"/>
                      <a:pt x="24" y="350"/>
                    </a:cubicBezTo>
                    <a:cubicBezTo>
                      <a:pt x="24" y="349"/>
                      <a:pt x="24" y="349"/>
                      <a:pt x="24" y="349"/>
                    </a:cubicBezTo>
                    <a:cubicBezTo>
                      <a:pt x="25" y="349"/>
                      <a:pt x="25" y="349"/>
                      <a:pt x="25" y="349"/>
                    </a:cubicBezTo>
                    <a:cubicBezTo>
                      <a:pt x="25" y="349"/>
                      <a:pt x="25" y="349"/>
                      <a:pt x="25" y="349"/>
                    </a:cubicBezTo>
                    <a:cubicBezTo>
                      <a:pt x="26" y="349"/>
                      <a:pt x="26" y="349"/>
                      <a:pt x="26" y="349"/>
                    </a:cubicBezTo>
                    <a:cubicBezTo>
                      <a:pt x="26" y="349"/>
                      <a:pt x="26" y="349"/>
                      <a:pt x="26" y="349"/>
                    </a:cubicBezTo>
                    <a:cubicBezTo>
                      <a:pt x="27" y="349"/>
                      <a:pt x="27" y="349"/>
                      <a:pt x="27" y="349"/>
                    </a:cubicBezTo>
                    <a:cubicBezTo>
                      <a:pt x="27" y="349"/>
                      <a:pt x="27" y="349"/>
                      <a:pt x="27" y="349"/>
                    </a:cubicBezTo>
                    <a:cubicBezTo>
                      <a:pt x="28" y="349"/>
                      <a:pt x="28" y="349"/>
                      <a:pt x="28" y="349"/>
                    </a:cubicBezTo>
                    <a:cubicBezTo>
                      <a:pt x="28" y="349"/>
                      <a:pt x="28" y="349"/>
                      <a:pt x="28" y="349"/>
                    </a:cubicBezTo>
                    <a:cubicBezTo>
                      <a:pt x="29" y="349"/>
                      <a:pt x="29" y="349"/>
                      <a:pt x="29" y="349"/>
                    </a:cubicBezTo>
                    <a:cubicBezTo>
                      <a:pt x="29" y="348"/>
                      <a:pt x="29" y="348"/>
                      <a:pt x="29" y="348"/>
                    </a:cubicBezTo>
                    <a:cubicBezTo>
                      <a:pt x="29" y="348"/>
                      <a:pt x="29" y="348"/>
                      <a:pt x="29" y="348"/>
                    </a:cubicBezTo>
                    <a:cubicBezTo>
                      <a:pt x="30" y="348"/>
                      <a:pt x="30" y="348"/>
                      <a:pt x="30" y="348"/>
                    </a:cubicBezTo>
                    <a:cubicBezTo>
                      <a:pt x="30" y="348"/>
                      <a:pt x="30" y="348"/>
                      <a:pt x="30" y="348"/>
                    </a:cubicBezTo>
                    <a:cubicBezTo>
                      <a:pt x="30" y="347"/>
                      <a:pt x="30" y="347"/>
                      <a:pt x="30" y="347"/>
                    </a:cubicBezTo>
                    <a:cubicBezTo>
                      <a:pt x="30" y="347"/>
                      <a:pt x="30" y="347"/>
                      <a:pt x="30" y="347"/>
                    </a:cubicBezTo>
                    <a:cubicBezTo>
                      <a:pt x="30" y="347"/>
                      <a:pt x="30" y="347"/>
                      <a:pt x="30" y="347"/>
                    </a:cubicBezTo>
                    <a:cubicBezTo>
                      <a:pt x="30" y="347"/>
                      <a:pt x="30" y="347"/>
                      <a:pt x="30" y="347"/>
                    </a:cubicBezTo>
                    <a:cubicBezTo>
                      <a:pt x="29" y="347"/>
                      <a:pt x="29" y="347"/>
                      <a:pt x="29" y="347"/>
                    </a:cubicBezTo>
                    <a:cubicBezTo>
                      <a:pt x="29" y="347"/>
                      <a:pt x="29" y="347"/>
                      <a:pt x="29" y="347"/>
                    </a:cubicBezTo>
                    <a:cubicBezTo>
                      <a:pt x="28" y="347"/>
                      <a:pt x="28" y="347"/>
                      <a:pt x="28" y="347"/>
                    </a:cubicBezTo>
                    <a:cubicBezTo>
                      <a:pt x="28" y="347"/>
                      <a:pt x="28" y="347"/>
                      <a:pt x="28" y="347"/>
                    </a:cubicBezTo>
                    <a:cubicBezTo>
                      <a:pt x="28" y="346"/>
                      <a:pt x="28" y="346"/>
                      <a:pt x="28" y="346"/>
                    </a:cubicBezTo>
                    <a:cubicBezTo>
                      <a:pt x="27" y="346"/>
                      <a:pt x="27" y="346"/>
                      <a:pt x="27" y="346"/>
                    </a:cubicBezTo>
                    <a:cubicBezTo>
                      <a:pt x="27" y="346"/>
                      <a:pt x="27" y="346"/>
                      <a:pt x="27" y="346"/>
                    </a:cubicBezTo>
                    <a:cubicBezTo>
                      <a:pt x="27" y="345"/>
                      <a:pt x="27" y="345"/>
                      <a:pt x="27" y="345"/>
                    </a:cubicBezTo>
                    <a:cubicBezTo>
                      <a:pt x="27" y="345"/>
                      <a:pt x="27" y="345"/>
                      <a:pt x="27" y="345"/>
                    </a:cubicBezTo>
                    <a:cubicBezTo>
                      <a:pt x="27" y="344"/>
                      <a:pt x="27" y="344"/>
                      <a:pt x="27" y="344"/>
                    </a:cubicBezTo>
                    <a:cubicBezTo>
                      <a:pt x="27" y="344"/>
                      <a:pt x="27" y="344"/>
                      <a:pt x="27" y="344"/>
                    </a:cubicBezTo>
                    <a:cubicBezTo>
                      <a:pt x="27" y="343"/>
                      <a:pt x="27" y="343"/>
                      <a:pt x="27" y="343"/>
                    </a:cubicBezTo>
                    <a:cubicBezTo>
                      <a:pt x="27" y="343"/>
                      <a:pt x="27" y="343"/>
                      <a:pt x="27" y="343"/>
                    </a:cubicBezTo>
                    <a:cubicBezTo>
                      <a:pt x="27" y="343"/>
                      <a:pt x="27" y="343"/>
                      <a:pt x="27" y="343"/>
                    </a:cubicBezTo>
                    <a:cubicBezTo>
                      <a:pt x="27" y="342"/>
                      <a:pt x="27" y="342"/>
                      <a:pt x="27" y="342"/>
                    </a:cubicBezTo>
                    <a:cubicBezTo>
                      <a:pt x="27" y="342"/>
                      <a:pt x="27" y="342"/>
                      <a:pt x="27" y="342"/>
                    </a:cubicBezTo>
                    <a:cubicBezTo>
                      <a:pt x="27" y="341"/>
                      <a:pt x="27" y="341"/>
                      <a:pt x="27" y="341"/>
                    </a:cubicBezTo>
                    <a:cubicBezTo>
                      <a:pt x="28" y="341"/>
                      <a:pt x="28" y="341"/>
                      <a:pt x="28" y="341"/>
                    </a:cubicBezTo>
                    <a:cubicBezTo>
                      <a:pt x="28" y="341"/>
                      <a:pt x="28" y="341"/>
                      <a:pt x="28" y="341"/>
                    </a:cubicBezTo>
                    <a:cubicBezTo>
                      <a:pt x="28" y="341"/>
                      <a:pt x="28" y="341"/>
                      <a:pt x="28" y="341"/>
                    </a:cubicBezTo>
                    <a:cubicBezTo>
                      <a:pt x="29" y="342"/>
                      <a:pt x="29" y="342"/>
                      <a:pt x="29" y="342"/>
                    </a:cubicBezTo>
                    <a:cubicBezTo>
                      <a:pt x="29" y="342"/>
                      <a:pt x="29" y="342"/>
                      <a:pt x="29" y="342"/>
                    </a:cubicBezTo>
                    <a:cubicBezTo>
                      <a:pt x="29" y="342"/>
                      <a:pt x="29" y="342"/>
                      <a:pt x="29" y="342"/>
                    </a:cubicBezTo>
                    <a:cubicBezTo>
                      <a:pt x="30" y="343"/>
                      <a:pt x="30" y="343"/>
                      <a:pt x="30" y="343"/>
                    </a:cubicBezTo>
                    <a:cubicBezTo>
                      <a:pt x="30" y="343"/>
                      <a:pt x="30" y="343"/>
                      <a:pt x="30" y="343"/>
                    </a:cubicBezTo>
                    <a:cubicBezTo>
                      <a:pt x="30" y="343"/>
                      <a:pt x="30" y="343"/>
                      <a:pt x="30" y="343"/>
                    </a:cubicBezTo>
                    <a:cubicBezTo>
                      <a:pt x="31" y="344"/>
                      <a:pt x="31" y="344"/>
                      <a:pt x="31" y="344"/>
                    </a:cubicBezTo>
                    <a:cubicBezTo>
                      <a:pt x="31" y="344"/>
                      <a:pt x="31" y="344"/>
                      <a:pt x="31" y="344"/>
                    </a:cubicBezTo>
                    <a:cubicBezTo>
                      <a:pt x="32" y="344"/>
                      <a:pt x="32" y="344"/>
                      <a:pt x="32" y="344"/>
                    </a:cubicBezTo>
                    <a:cubicBezTo>
                      <a:pt x="32" y="344"/>
                      <a:pt x="32" y="344"/>
                      <a:pt x="32" y="344"/>
                    </a:cubicBezTo>
                    <a:cubicBezTo>
                      <a:pt x="32" y="344"/>
                      <a:pt x="32" y="344"/>
                      <a:pt x="32" y="344"/>
                    </a:cubicBezTo>
                    <a:cubicBezTo>
                      <a:pt x="33" y="344"/>
                      <a:pt x="33" y="344"/>
                      <a:pt x="33" y="344"/>
                    </a:cubicBezTo>
                    <a:cubicBezTo>
                      <a:pt x="33" y="344"/>
                      <a:pt x="33" y="344"/>
                      <a:pt x="33" y="344"/>
                    </a:cubicBezTo>
                    <a:cubicBezTo>
                      <a:pt x="34" y="344"/>
                      <a:pt x="34" y="344"/>
                      <a:pt x="34" y="344"/>
                    </a:cubicBezTo>
                    <a:cubicBezTo>
                      <a:pt x="34" y="344"/>
                      <a:pt x="34" y="344"/>
                      <a:pt x="34" y="344"/>
                    </a:cubicBezTo>
                    <a:cubicBezTo>
                      <a:pt x="35" y="344"/>
                      <a:pt x="35" y="344"/>
                      <a:pt x="35" y="344"/>
                    </a:cubicBezTo>
                    <a:cubicBezTo>
                      <a:pt x="35" y="344"/>
                      <a:pt x="35" y="344"/>
                      <a:pt x="35" y="344"/>
                    </a:cubicBezTo>
                    <a:cubicBezTo>
                      <a:pt x="35" y="344"/>
                      <a:pt x="35" y="344"/>
                      <a:pt x="35" y="344"/>
                    </a:cubicBezTo>
                    <a:cubicBezTo>
                      <a:pt x="36" y="344"/>
                      <a:pt x="36" y="344"/>
                      <a:pt x="36" y="344"/>
                    </a:cubicBezTo>
                    <a:cubicBezTo>
                      <a:pt x="36" y="344"/>
                      <a:pt x="36" y="344"/>
                      <a:pt x="36" y="344"/>
                    </a:cubicBezTo>
                    <a:cubicBezTo>
                      <a:pt x="36" y="344"/>
                      <a:pt x="36" y="344"/>
                      <a:pt x="36" y="344"/>
                    </a:cubicBezTo>
                    <a:cubicBezTo>
                      <a:pt x="37" y="344"/>
                      <a:pt x="37" y="344"/>
                      <a:pt x="37" y="344"/>
                    </a:cubicBezTo>
                    <a:cubicBezTo>
                      <a:pt x="37" y="344"/>
                      <a:pt x="37" y="344"/>
                      <a:pt x="37" y="344"/>
                    </a:cubicBezTo>
                    <a:cubicBezTo>
                      <a:pt x="38" y="344"/>
                      <a:pt x="38" y="344"/>
                      <a:pt x="38" y="344"/>
                    </a:cubicBezTo>
                    <a:cubicBezTo>
                      <a:pt x="38" y="345"/>
                      <a:pt x="38" y="345"/>
                      <a:pt x="38" y="345"/>
                    </a:cubicBezTo>
                    <a:cubicBezTo>
                      <a:pt x="38" y="345"/>
                      <a:pt x="38" y="345"/>
                      <a:pt x="38" y="345"/>
                    </a:cubicBezTo>
                    <a:cubicBezTo>
                      <a:pt x="38" y="345"/>
                      <a:pt x="38" y="345"/>
                      <a:pt x="38" y="345"/>
                    </a:cubicBezTo>
                    <a:cubicBezTo>
                      <a:pt x="38" y="345"/>
                      <a:pt x="38" y="345"/>
                      <a:pt x="38" y="345"/>
                    </a:cubicBezTo>
                    <a:cubicBezTo>
                      <a:pt x="38" y="345"/>
                      <a:pt x="38" y="345"/>
                      <a:pt x="38" y="345"/>
                    </a:cubicBezTo>
                    <a:cubicBezTo>
                      <a:pt x="39" y="345"/>
                      <a:pt x="39" y="345"/>
                      <a:pt x="39" y="345"/>
                    </a:cubicBezTo>
                    <a:cubicBezTo>
                      <a:pt x="40" y="345"/>
                      <a:pt x="40" y="345"/>
                      <a:pt x="40" y="345"/>
                    </a:cubicBezTo>
                    <a:cubicBezTo>
                      <a:pt x="40" y="345"/>
                      <a:pt x="40" y="345"/>
                      <a:pt x="40" y="345"/>
                    </a:cubicBezTo>
                    <a:cubicBezTo>
                      <a:pt x="40" y="345"/>
                      <a:pt x="40" y="345"/>
                      <a:pt x="40" y="345"/>
                    </a:cubicBezTo>
                    <a:cubicBezTo>
                      <a:pt x="41" y="345"/>
                      <a:pt x="41" y="345"/>
                      <a:pt x="41" y="345"/>
                    </a:cubicBezTo>
                    <a:cubicBezTo>
                      <a:pt x="41" y="345"/>
                      <a:pt x="41" y="345"/>
                      <a:pt x="41" y="345"/>
                    </a:cubicBezTo>
                    <a:cubicBezTo>
                      <a:pt x="42" y="345"/>
                      <a:pt x="42" y="345"/>
                      <a:pt x="42" y="345"/>
                    </a:cubicBezTo>
                    <a:cubicBezTo>
                      <a:pt x="43" y="345"/>
                      <a:pt x="43" y="345"/>
                      <a:pt x="43" y="345"/>
                    </a:cubicBezTo>
                    <a:cubicBezTo>
                      <a:pt x="43" y="346"/>
                      <a:pt x="43" y="346"/>
                      <a:pt x="43" y="346"/>
                    </a:cubicBezTo>
                    <a:cubicBezTo>
                      <a:pt x="43" y="347"/>
                      <a:pt x="43" y="347"/>
                      <a:pt x="43" y="347"/>
                    </a:cubicBezTo>
                    <a:cubicBezTo>
                      <a:pt x="43" y="347"/>
                      <a:pt x="43" y="347"/>
                      <a:pt x="43" y="347"/>
                    </a:cubicBezTo>
                    <a:cubicBezTo>
                      <a:pt x="44" y="348"/>
                      <a:pt x="44" y="348"/>
                      <a:pt x="44" y="348"/>
                    </a:cubicBezTo>
                    <a:cubicBezTo>
                      <a:pt x="44" y="348"/>
                      <a:pt x="44" y="348"/>
                      <a:pt x="44" y="348"/>
                    </a:cubicBezTo>
                    <a:cubicBezTo>
                      <a:pt x="44" y="348"/>
                      <a:pt x="44" y="348"/>
                      <a:pt x="44" y="348"/>
                    </a:cubicBezTo>
                    <a:cubicBezTo>
                      <a:pt x="43" y="349"/>
                      <a:pt x="43" y="349"/>
                      <a:pt x="43" y="349"/>
                    </a:cubicBezTo>
                    <a:cubicBezTo>
                      <a:pt x="43" y="349"/>
                      <a:pt x="43" y="349"/>
                      <a:pt x="43" y="349"/>
                    </a:cubicBezTo>
                    <a:cubicBezTo>
                      <a:pt x="43" y="349"/>
                      <a:pt x="43" y="349"/>
                      <a:pt x="43" y="349"/>
                    </a:cubicBezTo>
                    <a:cubicBezTo>
                      <a:pt x="43" y="351"/>
                      <a:pt x="43" y="351"/>
                      <a:pt x="43" y="351"/>
                    </a:cubicBezTo>
                    <a:cubicBezTo>
                      <a:pt x="43" y="351"/>
                      <a:pt x="43" y="351"/>
                      <a:pt x="43" y="351"/>
                    </a:cubicBezTo>
                    <a:cubicBezTo>
                      <a:pt x="44" y="353"/>
                      <a:pt x="44" y="353"/>
                      <a:pt x="44" y="353"/>
                    </a:cubicBezTo>
                    <a:cubicBezTo>
                      <a:pt x="44" y="354"/>
                      <a:pt x="44" y="354"/>
                      <a:pt x="44" y="354"/>
                    </a:cubicBezTo>
                    <a:cubicBezTo>
                      <a:pt x="45" y="354"/>
                      <a:pt x="45" y="354"/>
                      <a:pt x="45" y="354"/>
                    </a:cubicBezTo>
                    <a:cubicBezTo>
                      <a:pt x="46" y="354"/>
                      <a:pt x="46" y="354"/>
                      <a:pt x="46" y="354"/>
                    </a:cubicBezTo>
                    <a:cubicBezTo>
                      <a:pt x="46" y="354"/>
                      <a:pt x="46" y="354"/>
                      <a:pt x="46" y="354"/>
                    </a:cubicBezTo>
                    <a:cubicBezTo>
                      <a:pt x="47" y="354"/>
                      <a:pt x="47" y="354"/>
                      <a:pt x="47" y="354"/>
                    </a:cubicBezTo>
                    <a:cubicBezTo>
                      <a:pt x="47" y="353"/>
                      <a:pt x="47" y="353"/>
                      <a:pt x="47" y="353"/>
                    </a:cubicBezTo>
                    <a:cubicBezTo>
                      <a:pt x="47" y="352"/>
                      <a:pt x="47" y="352"/>
                      <a:pt x="47" y="352"/>
                    </a:cubicBezTo>
                    <a:cubicBezTo>
                      <a:pt x="48" y="351"/>
                      <a:pt x="48" y="351"/>
                      <a:pt x="48" y="351"/>
                    </a:cubicBezTo>
                    <a:cubicBezTo>
                      <a:pt x="49" y="350"/>
                      <a:pt x="49" y="350"/>
                      <a:pt x="49" y="350"/>
                    </a:cubicBezTo>
                    <a:cubicBezTo>
                      <a:pt x="51" y="350"/>
                      <a:pt x="51" y="350"/>
                      <a:pt x="51" y="350"/>
                    </a:cubicBezTo>
                    <a:cubicBezTo>
                      <a:pt x="51" y="350"/>
                      <a:pt x="51" y="350"/>
                      <a:pt x="51" y="350"/>
                    </a:cubicBezTo>
                    <a:cubicBezTo>
                      <a:pt x="52" y="351"/>
                      <a:pt x="52" y="351"/>
                      <a:pt x="52" y="351"/>
                    </a:cubicBezTo>
                    <a:cubicBezTo>
                      <a:pt x="52" y="351"/>
                      <a:pt x="52" y="351"/>
                      <a:pt x="52" y="351"/>
                    </a:cubicBezTo>
                    <a:cubicBezTo>
                      <a:pt x="53" y="351"/>
                      <a:pt x="53" y="351"/>
                      <a:pt x="53" y="351"/>
                    </a:cubicBezTo>
                    <a:cubicBezTo>
                      <a:pt x="54" y="351"/>
                      <a:pt x="54" y="351"/>
                      <a:pt x="54" y="351"/>
                    </a:cubicBezTo>
                    <a:cubicBezTo>
                      <a:pt x="54" y="351"/>
                      <a:pt x="54" y="351"/>
                      <a:pt x="54" y="351"/>
                    </a:cubicBezTo>
                    <a:cubicBezTo>
                      <a:pt x="54" y="351"/>
                      <a:pt x="54" y="351"/>
                      <a:pt x="54" y="351"/>
                    </a:cubicBezTo>
                    <a:cubicBezTo>
                      <a:pt x="55" y="350"/>
                      <a:pt x="55" y="350"/>
                      <a:pt x="55" y="350"/>
                    </a:cubicBezTo>
                    <a:cubicBezTo>
                      <a:pt x="55" y="349"/>
                      <a:pt x="55" y="349"/>
                      <a:pt x="55" y="349"/>
                    </a:cubicBezTo>
                    <a:cubicBezTo>
                      <a:pt x="56" y="349"/>
                      <a:pt x="56" y="349"/>
                      <a:pt x="56" y="349"/>
                    </a:cubicBezTo>
                    <a:cubicBezTo>
                      <a:pt x="56" y="349"/>
                      <a:pt x="56" y="349"/>
                      <a:pt x="56" y="349"/>
                    </a:cubicBezTo>
                    <a:cubicBezTo>
                      <a:pt x="57" y="349"/>
                      <a:pt x="57" y="349"/>
                      <a:pt x="57" y="349"/>
                    </a:cubicBezTo>
                    <a:cubicBezTo>
                      <a:pt x="57" y="349"/>
                      <a:pt x="57" y="349"/>
                      <a:pt x="57" y="349"/>
                    </a:cubicBezTo>
                    <a:cubicBezTo>
                      <a:pt x="58" y="350"/>
                      <a:pt x="58" y="350"/>
                      <a:pt x="58" y="350"/>
                    </a:cubicBezTo>
                    <a:cubicBezTo>
                      <a:pt x="58" y="351"/>
                      <a:pt x="58" y="351"/>
                      <a:pt x="58" y="351"/>
                    </a:cubicBezTo>
                    <a:cubicBezTo>
                      <a:pt x="59" y="351"/>
                      <a:pt x="59" y="351"/>
                      <a:pt x="59" y="351"/>
                    </a:cubicBezTo>
                    <a:cubicBezTo>
                      <a:pt x="59" y="351"/>
                      <a:pt x="59" y="351"/>
                      <a:pt x="59" y="351"/>
                    </a:cubicBezTo>
                    <a:cubicBezTo>
                      <a:pt x="60" y="351"/>
                      <a:pt x="60" y="351"/>
                      <a:pt x="60" y="351"/>
                    </a:cubicBezTo>
                    <a:cubicBezTo>
                      <a:pt x="60" y="351"/>
                      <a:pt x="60" y="351"/>
                      <a:pt x="60" y="351"/>
                    </a:cubicBezTo>
                    <a:cubicBezTo>
                      <a:pt x="61" y="351"/>
                      <a:pt x="61" y="351"/>
                      <a:pt x="61" y="351"/>
                    </a:cubicBezTo>
                    <a:cubicBezTo>
                      <a:pt x="61" y="351"/>
                      <a:pt x="61" y="351"/>
                      <a:pt x="61" y="351"/>
                    </a:cubicBezTo>
                    <a:cubicBezTo>
                      <a:pt x="61" y="350"/>
                      <a:pt x="61" y="350"/>
                      <a:pt x="61" y="350"/>
                    </a:cubicBezTo>
                    <a:cubicBezTo>
                      <a:pt x="61" y="349"/>
                      <a:pt x="61" y="349"/>
                      <a:pt x="61" y="349"/>
                    </a:cubicBezTo>
                    <a:cubicBezTo>
                      <a:pt x="62" y="348"/>
                      <a:pt x="62" y="348"/>
                      <a:pt x="62" y="348"/>
                    </a:cubicBezTo>
                    <a:cubicBezTo>
                      <a:pt x="62" y="347"/>
                      <a:pt x="62" y="347"/>
                      <a:pt x="62" y="347"/>
                    </a:cubicBezTo>
                    <a:cubicBezTo>
                      <a:pt x="63" y="347"/>
                      <a:pt x="63" y="347"/>
                      <a:pt x="63" y="347"/>
                    </a:cubicBezTo>
                    <a:cubicBezTo>
                      <a:pt x="63" y="347"/>
                      <a:pt x="63" y="347"/>
                      <a:pt x="63" y="347"/>
                    </a:cubicBezTo>
                    <a:cubicBezTo>
                      <a:pt x="63" y="346"/>
                      <a:pt x="63" y="346"/>
                      <a:pt x="63" y="346"/>
                    </a:cubicBezTo>
                    <a:cubicBezTo>
                      <a:pt x="64" y="346"/>
                      <a:pt x="64" y="346"/>
                      <a:pt x="64" y="346"/>
                    </a:cubicBezTo>
                    <a:cubicBezTo>
                      <a:pt x="64" y="345"/>
                      <a:pt x="64" y="345"/>
                      <a:pt x="64" y="345"/>
                    </a:cubicBezTo>
                    <a:cubicBezTo>
                      <a:pt x="65" y="345"/>
                      <a:pt x="65" y="345"/>
                      <a:pt x="65" y="345"/>
                    </a:cubicBezTo>
                    <a:cubicBezTo>
                      <a:pt x="66" y="345"/>
                      <a:pt x="66" y="345"/>
                      <a:pt x="66" y="345"/>
                    </a:cubicBezTo>
                    <a:cubicBezTo>
                      <a:pt x="67" y="345"/>
                      <a:pt x="67" y="345"/>
                      <a:pt x="67" y="345"/>
                    </a:cubicBezTo>
                    <a:cubicBezTo>
                      <a:pt x="68" y="343"/>
                      <a:pt x="68" y="343"/>
                      <a:pt x="68" y="343"/>
                    </a:cubicBezTo>
                    <a:cubicBezTo>
                      <a:pt x="68" y="343"/>
                      <a:pt x="68" y="343"/>
                      <a:pt x="68" y="343"/>
                    </a:cubicBezTo>
                    <a:cubicBezTo>
                      <a:pt x="68" y="341"/>
                      <a:pt x="68" y="341"/>
                      <a:pt x="68" y="341"/>
                    </a:cubicBezTo>
                    <a:cubicBezTo>
                      <a:pt x="68" y="341"/>
                      <a:pt x="68" y="341"/>
                      <a:pt x="68" y="341"/>
                    </a:cubicBezTo>
                    <a:cubicBezTo>
                      <a:pt x="67" y="340"/>
                      <a:pt x="67" y="340"/>
                      <a:pt x="67" y="340"/>
                    </a:cubicBezTo>
                    <a:cubicBezTo>
                      <a:pt x="67" y="339"/>
                      <a:pt x="67" y="339"/>
                      <a:pt x="67" y="339"/>
                    </a:cubicBezTo>
                    <a:cubicBezTo>
                      <a:pt x="68" y="338"/>
                      <a:pt x="68" y="338"/>
                      <a:pt x="68" y="338"/>
                    </a:cubicBezTo>
                    <a:cubicBezTo>
                      <a:pt x="68" y="338"/>
                      <a:pt x="68" y="338"/>
                      <a:pt x="68" y="338"/>
                    </a:cubicBezTo>
                    <a:cubicBezTo>
                      <a:pt x="70" y="338"/>
                      <a:pt x="70" y="338"/>
                      <a:pt x="70" y="338"/>
                    </a:cubicBezTo>
                    <a:cubicBezTo>
                      <a:pt x="70" y="338"/>
                      <a:pt x="70" y="338"/>
                      <a:pt x="70" y="338"/>
                    </a:cubicBezTo>
                    <a:cubicBezTo>
                      <a:pt x="71" y="338"/>
                      <a:pt x="71" y="338"/>
                      <a:pt x="71" y="338"/>
                    </a:cubicBezTo>
                    <a:cubicBezTo>
                      <a:pt x="72" y="339"/>
                      <a:pt x="72" y="339"/>
                      <a:pt x="72" y="339"/>
                    </a:cubicBezTo>
                    <a:cubicBezTo>
                      <a:pt x="72" y="339"/>
                      <a:pt x="72" y="339"/>
                      <a:pt x="72" y="339"/>
                    </a:cubicBezTo>
                    <a:cubicBezTo>
                      <a:pt x="73" y="340"/>
                      <a:pt x="73" y="340"/>
                      <a:pt x="73" y="340"/>
                    </a:cubicBezTo>
                    <a:cubicBezTo>
                      <a:pt x="74" y="340"/>
                      <a:pt x="74" y="340"/>
                      <a:pt x="74" y="340"/>
                    </a:cubicBezTo>
                    <a:cubicBezTo>
                      <a:pt x="74" y="341"/>
                      <a:pt x="74" y="341"/>
                      <a:pt x="74" y="341"/>
                    </a:cubicBezTo>
                    <a:cubicBezTo>
                      <a:pt x="75" y="341"/>
                      <a:pt x="75" y="341"/>
                      <a:pt x="75" y="341"/>
                    </a:cubicBezTo>
                    <a:cubicBezTo>
                      <a:pt x="76" y="340"/>
                      <a:pt x="76" y="340"/>
                      <a:pt x="76" y="340"/>
                    </a:cubicBezTo>
                    <a:cubicBezTo>
                      <a:pt x="76" y="340"/>
                      <a:pt x="76" y="340"/>
                      <a:pt x="76" y="340"/>
                    </a:cubicBezTo>
                    <a:cubicBezTo>
                      <a:pt x="76" y="339"/>
                      <a:pt x="76" y="339"/>
                      <a:pt x="76" y="339"/>
                    </a:cubicBezTo>
                    <a:cubicBezTo>
                      <a:pt x="77" y="338"/>
                      <a:pt x="77" y="338"/>
                      <a:pt x="77" y="338"/>
                    </a:cubicBezTo>
                    <a:cubicBezTo>
                      <a:pt x="78" y="338"/>
                      <a:pt x="78" y="338"/>
                      <a:pt x="78" y="338"/>
                    </a:cubicBezTo>
                    <a:cubicBezTo>
                      <a:pt x="78" y="338"/>
                      <a:pt x="78" y="338"/>
                      <a:pt x="78" y="338"/>
                    </a:cubicBezTo>
                    <a:cubicBezTo>
                      <a:pt x="79" y="339"/>
                      <a:pt x="79" y="339"/>
                      <a:pt x="79" y="339"/>
                    </a:cubicBezTo>
                    <a:cubicBezTo>
                      <a:pt x="79" y="340"/>
                      <a:pt x="79" y="340"/>
                      <a:pt x="79" y="340"/>
                    </a:cubicBezTo>
                    <a:cubicBezTo>
                      <a:pt x="79" y="341"/>
                      <a:pt x="79" y="341"/>
                      <a:pt x="79" y="341"/>
                    </a:cubicBezTo>
                    <a:cubicBezTo>
                      <a:pt x="78" y="342"/>
                      <a:pt x="78" y="342"/>
                      <a:pt x="78" y="342"/>
                    </a:cubicBezTo>
                    <a:cubicBezTo>
                      <a:pt x="77" y="343"/>
                      <a:pt x="77" y="343"/>
                      <a:pt x="77" y="343"/>
                    </a:cubicBezTo>
                    <a:cubicBezTo>
                      <a:pt x="76" y="344"/>
                      <a:pt x="76" y="344"/>
                      <a:pt x="76" y="344"/>
                    </a:cubicBezTo>
                    <a:cubicBezTo>
                      <a:pt x="76" y="344"/>
                      <a:pt x="76" y="344"/>
                      <a:pt x="76" y="344"/>
                    </a:cubicBezTo>
                    <a:cubicBezTo>
                      <a:pt x="77" y="345"/>
                      <a:pt x="77" y="345"/>
                      <a:pt x="77" y="345"/>
                    </a:cubicBezTo>
                    <a:cubicBezTo>
                      <a:pt x="78" y="345"/>
                      <a:pt x="78" y="345"/>
                      <a:pt x="78" y="345"/>
                    </a:cubicBezTo>
                    <a:cubicBezTo>
                      <a:pt x="78" y="345"/>
                      <a:pt x="78" y="345"/>
                      <a:pt x="78" y="345"/>
                    </a:cubicBezTo>
                    <a:cubicBezTo>
                      <a:pt x="81" y="343"/>
                      <a:pt x="81" y="343"/>
                      <a:pt x="81" y="343"/>
                    </a:cubicBezTo>
                    <a:cubicBezTo>
                      <a:pt x="82" y="343"/>
                      <a:pt x="82" y="343"/>
                      <a:pt x="82" y="343"/>
                    </a:cubicBezTo>
                    <a:cubicBezTo>
                      <a:pt x="82" y="344"/>
                      <a:pt x="82" y="344"/>
                      <a:pt x="82" y="344"/>
                    </a:cubicBezTo>
                    <a:cubicBezTo>
                      <a:pt x="83" y="344"/>
                      <a:pt x="83" y="344"/>
                      <a:pt x="83" y="344"/>
                    </a:cubicBezTo>
                    <a:cubicBezTo>
                      <a:pt x="84" y="344"/>
                      <a:pt x="84" y="344"/>
                      <a:pt x="84" y="344"/>
                    </a:cubicBezTo>
                    <a:cubicBezTo>
                      <a:pt x="84" y="344"/>
                      <a:pt x="84" y="344"/>
                      <a:pt x="84" y="344"/>
                    </a:cubicBezTo>
                    <a:cubicBezTo>
                      <a:pt x="85" y="343"/>
                      <a:pt x="85" y="343"/>
                      <a:pt x="85" y="343"/>
                    </a:cubicBezTo>
                    <a:cubicBezTo>
                      <a:pt x="86" y="343"/>
                      <a:pt x="86" y="343"/>
                      <a:pt x="86" y="343"/>
                    </a:cubicBezTo>
                    <a:cubicBezTo>
                      <a:pt x="86" y="343"/>
                      <a:pt x="86" y="343"/>
                      <a:pt x="86" y="343"/>
                    </a:cubicBezTo>
                    <a:cubicBezTo>
                      <a:pt x="87" y="343"/>
                      <a:pt x="87" y="343"/>
                      <a:pt x="87" y="343"/>
                    </a:cubicBezTo>
                    <a:cubicBezTo>
                      <a:pt x="88" y="344"/>
                      <a:pt x="88" y="344"/>
                      <a:pt x="88" y="344"/>
                    </a:cubicBezTo>
                    <a:cubicBezTo>
                      <a:pt x="89" y="344"/>
                      <a:pt x="89" y="344"/>
                      <a:pt x="89" y="344"/>
                    </a:cubicBezTo>
                    <a:cubicBezTo>
                      <a:pt x="89" y="346"/>
                      <a:pt x="89" y="346"/>
                      <a:pt x="89" y="346"/>
                    </a:cubicBezTo>
                    <a:cubicBezTo>
                      <a:pt x="89" y="349"/>
                      <a:pt x="89" y="349"/>
                      <a:pt x="89" y="349"/>
                    </a:cubicBezTo>
                    <a:cubicBezTo>
                      <a:pt x="89" y="349"/>
                      <a:pt x="89" y="349"/>
                      <a:pt x="89" y="349"/>
                    </a:cubicBezTo>
                    <a:cubicBezTo>
                      <a:pt x="88" y="350"/>
                      <a:pt x="88" y="350"/>
                      <a:pt x="88" y="350"/>
                    </a:cubicBezTo>
                    <a:cubicBezTo>
                      <a:pt x="87" y="350"/>
                      <a:pt x="87" y="350"/>
                      <a:pt x="87" y="350"/>
                    </a:cubicBezTo>
                    <a:cubicBezTo>
                      <a:pt x="87" y="349"/>
                      <a:pt x="87" y="349"/>
                      <a:pt x="87" y="349"/>
                    </a:cubicBezTo>
                    <a:cubicBezTo>
                      <a:pt x="86" y="349"/>
                      <a:pt x="86" y="349"/>
                      <a:pt x="86" y="349"/>
                    </a:cubicBezTo>
                    <a:cubicBezTo>
                      <a:pt x="85" y="349"/>
                      <a:pt x="85" y="349"/>
                      <a:pt x="85" y="349"/>
                    </a:cubicBezTo>
                    <a:cubicBezTo>
                      <a:pt x="83" y="349"/>
                      <a:pt x="83" y="349"/>
                      <a:pt x="83" y="349"/>
                    </a:cubicBezTo>
                    <a:cubicBezTo>
                      <a:pt x="83" y="349"/>
                      <a:pt x="83" y="349"/>
                      <a:pt x="83" y="349"/>
                    </a:cubicBezTo>
                    <a:cubicBezTo>
                      <a:pt x="83" y="350"/>
                      <a:pt x="83" y="350"/>
                      <a:pt x="83" y="350"/>
                    </a:cubicBezTo>
                    <a:cubicBezTo>
                      <a:pt x="84" y="351"/>
                      <a:pt x="84" y="351"/>
                      <a:pt x="84" y="351"/>
                    </a:cubicBezTo>
                    <a:cubicBezTo>
                      <a:pt x="85" y="351"/>
                      <a:pt x="85" y="351"/>
                      <a:pt x="85" y="351"/>
                    </a:cubicBezTo>
                    <a:cubicBezTo>
                      <a:pt x="86" y="351"/>
                      <a:pt x="86" y="351"/>
                      <a:pt x="86" y="351"/>
                    </a:cubicBezTo>
                    <a:cubicBezTo>
                      <a:pt x="87" y="352"/>
                      <a:pt x="87" y="352"/>
                      <a:pt x="87" y="352"/>
                    </a:cubicBezTo>
                    <a:cubicBezTo>
                      <a:pt x="87" y="352"/>
                      <a:pt x="87" y="352"/>
                      <a:pt x="87" y="352"/>
                    </a:cubicBezTo>
                    <a:cubicBezTo>
                      <a:pt x="88" y="352"/>
                      <a:pt x="88" y="352"/>
                      <a:pt x="88" y="352"/>
                    </a:cubicBezTo>
                    <a:cubicBezTo>
                      <a:pt x="88" y="353"/>
                      <a:pt x="88" y="353"/>
                      <a:pt x="88" y="353"/>
                    </a:cubicBezTo>
                    <a:cubicBezTo>
                      <a:pt x="87" y="354"/>
                      <a:pt x="87" y="354"/>
                      <a:pt x="87" y="354"/>
                    </a:cubicBezTo>
                    <a:cubicBezTo>
                      <a:pt x="87" y="354"/>
                      <a:pt x="87" y="354"/>
                      <a:pt x="87" y="354"/>
                    </a:cubicBezTo>
                    <a:cubicBezTo>
                      <a:pt x="86" y="354"/>
                      <a:pt x="86" y="354"/>
                      <a:pt x="86" y="354"/>
                    </a:cubicBezTo>
                    <a:cubicBezTo>
                      <a:pt x="86" y="355"/>
                      <a:pt x="86" y="355"/>
                      <a:pt x="86" y="355"/>
                    </a:cubicBezTo>
                    <a:cubicBezTo>
                      <a:pt x="86" y="356"/>
                      <a:pt x="86" y="356"/>
                      <a:pt x="86" y="356"/>
                    </a:cubicBezTo>
                    <a:cubicBezTo>
                      <a:pt x="86" y="357"/>
                      <a:pt x="86" y="357"/>
                      <a:pt x="86" y="357"/>
                    </a:cubicBezTo>
                    <a:cubicBezTo>
                      <a:pt x="87" y="357"/>
                      <a:pt x="87" y="357"/>
                      <a:pt x="87" y="357"/>
                    </a:cubicBezTo>
                    <a:cubicBezTo>
                      <a:pt x="88" y="357"/>
                      <a:pt x="88" y="357"/>
                      <a:pt x="88" y="357"/>
                    </a:cubicBezTo>
                    <a:cubicBezTo>
                      <a:pt x="89" y="357"/>
                      <a:pt x="89" y="357"/>
                      <a:pt x="89" y="357"/>
                    </a:cubicBezTo>
                    <a:cubicBezTo>
                      <a:pt x="90" y="357"/>
                      <a:pt x="90" y="357"/>
                      <a:pt x="90" y="357"/>
                    </a:cubicBezTo>
                    <a:cubicBezTo>
                      <a:pt x="91" y="356"/>
                      <a:pt x="91" y="356"/>
                      <a:pt x="91" y="356"/>
                    </a:cubicBezTo>
                    <a:cubicBezTo>
                      <a:pt x="92" y="357"/>
                      <a:pt x="92" y="357"/>
                      <a:pt x="92" y="357"/>
                    </a:cubicBezTo>
                    <a:cubicBezTo>
                      <a:pt x="93" y="358"/>
                      <a:pt x="93" y="358"/>
                      <a:pt x="93" y="358"/>
                    </a:cubicBezTo>
                    <a:cubicBezTo>
                      <a:pt x="93" y="360"/>
                      <a:pt x="93" y="360"/>
                      <a:pt x="93" y="360"/>
                    </a:cubicBezTo>
                    <a:cubicBezTo>
                      <a:pt x="93" y="360"/>
                      <a:pt x="93" y="360"/>
                      <a:pt x="93" y="360"/>
                    </a:cubicBezTo>
                    <a:cubicBezTo>
                      <a:pt x="93" y="361"/>
                      <a:pt x="93" y="361"/>
                      <a:pt x="93" y="361"/>
                    </a:cubicBezTo>
                    <a:cubicBezTo>
                      <a:pt x="94" y="362"/>
                      <a:pt x="94" y="362"/>
                      <a:pt x="94" y="362"/>
                    </a:cubicBezTo>
                    <a:cubicBezTo>
                      <a:pt x="95" y="362"/>
                      <a:pt x="95" y="362"/>
                      <a:pt x="95" y="362"/>
                    </a:cubicBezTo>
                    <a:cubicBezTo>
                      <a:pt x="97" y="362"/>
                      <a:pt x="97" y="362"/>
                      <a:pt x="97" y="362"/>
                    </a:cubicBezTo>
                    <a:cubicBezTo>
                      <a:pt x="98" y="362"/>
                      <a:pt x="98" y="362"/>
                      <a:pt x="98" y="362"/>
                    </a:cubicBezTo>
                    <a:cubicBezTo>
                      <a:pt x="99" y="361"/>
                      <a:pt x="99" y="361"/>
                      <a:pt x="99" y="361"/>
                    </a:cubicBezTo>
                    <a:cubicBezTo>
                      <a:pt x="101" y="361"/>
                      <a:pt x="101" y="361"/>
                      <a:pt x="101" y="361"/>
                    </a:cubicBezTo>
                    <a:cubicBezTo>
                      <a:pt x="102" y="361"/>
                      <a:pt x="102" y="361"/>
                      <a:pt x="102" y="361"/>
                    </a:cubicBezTo>
                    <a:cubicBezTo>
                      <a:pt x="104" y="361"/>
                      <a:pt x="104" y="361"/>
                      <a:pt x="104" y="361"/>
                    </a:cubicBezTo>
                    <a:cubicBezTo>
                      <a:pt x="106" y="361"/>
                      <a:pt x="106" y="361"/>
                      <a:pt x="106" y="361"/>
                    </a:cubicBezTo>
                    <a:cubicBezTo>
                      <a:pt x="108" y="361"/>
                      <a:pt x="108" y="361"/>
                      <a:pt x="108" y="361"/>
                    </a:cubicBezTo>
                    <a:cubicBezTo>
                      <a:pt x="108" y="362"/>
                      <a:pt x="108" y="362"/>
                      <a:pt x="108" y="362"/>
                    </a:cubicBezTo>
                    <a:cubicBezTo>
                      <a:pt x="108" y="363"/>
                      <a:pt x="108" y="363"/>
                      <a:pt x="108" y="363"/>
                    </a:cubicBezTo>
                    <a:cubicBezTo>
                      <a:pt x="107" y="364"/>
                      <a:pt x="107" y="364"/>
                      <a:pt x="107" y="364"/>
                    </a:cubicBezTo>
                    <a:cubicBezTo>
                      <a:pt x="107" y="364"/>
                      <a:pt x="107" y="364"/>
                      <a:pt x="107" y="364"/>
                    </a:cubicBezTo>
                    <a:cubicBezTo>
                      <a:pt x="106" y="366"/>
                      <a:pt x="106" y="366"/>
                      <a:pt x="106" y="366"/>
                    </a:cubicBezTo>
                    <a:cubicBezTo>
                      <a:pt x="106" y="368"/>
                      <a:pt x="106" y="368"/>
                      <a:pt x="106" y="368"/>
                    </a:cubicBezTo>
                    <a:cubicBezTo>
                      <a:pt x="105" y="375"/>
                      <a:pt x="105" y="375"/>
                      <a:pt x="105" y="375"/>
                    </a:cubicBezTo>
                    <a:cubicBezTo>
                      <a:pt x="105" y="377"/>
                      <a:pt x="105" y="377"/>
                      <a:pt x="105" y="377"/>
                    </a:cubicBezTo>
                    <a:cubicBezTo>
                      <a:pt x="105" y="377"/>
                      <a:pt x="105" y="377"/>
                      <a:pt x="105" y="377"/>
                    </a:cubicBezTo>
                    <a:cubicBezTo>
                      <a:pt x="105" y="378"/>
                      <a:pt x="105" y="378"/>
                      <a:pt x="105" y="378"/>
                    </a:cubicBezTo>
                    <a:cubicBezTo>
                      <a:pt x="106" y="379"/>
                      <a:pt x="106" y="379"/>
                      <a:pt x="106" y="379"/>
                    </a:cubicBezTo>
                    <a:cubicBezTo>
                      <a:pt x="106" y="379"/>
                      <a:pt x="106" y="379"/>
                      <a:pt x="106" y="379"/>
                    </a:cubicBezTo>
                    <a:cubicBezTo>
                      <a:pt x="107" y="379"/>
                      <a:pt x="107" y="379"/>
                      <a:pt x="107" y="379"/>
                    </a:cubicBezTo>
                    <a:cubicBezTo>
                      <a:pt x="107" y="379"/>
                      <a:pt x="107" y="379"/>
                      <a:pt x="107" y="379"/>
                    </a:cubicBezTo>
                    <a:cubicBezTo>
                      <a:pt x="108" y="379"/>
                      <a:pt x="108" y="379"/>
                      <a:pt x="108" y="379"/>
                    </a:cubicBezTo>
                    <a:cubicBezTo>
                      <a:pt x="109" y="378"/>
                      <a:pt x="109" y="378"/>
                      <a:pt x="109" y="378"/>
                    </a:cubicBezTo>
                    <a:cubicBezTo>
                      <a:pt x="109" y="379"/>
                      <a:pt x="109" y="379"/>
                      <a:pt x="109" y="379"/>
                    </a:cubicBezTo>
                    <a:cubicBezTo>
                      <a:pt x="109" y="379"/>
                      <a:pt x="109" y="379"/>
                      <a:pt x="109" y="379"/>
                    </a:cubicBezTo>
                    <a:cubicBezTo>
                      <a:pt x="109" y="379"/>
                      <a:pt x="109" y="379"/>
                      <a:pt x="109" y="379"/>
                    </a:cubicBezTo>
                    <a:cubicBezTo>
                      <a:pt x="109" y="380"/>
                      <a:pt x="109" y="380"/>
                      <a:pt x="109" y="380"/>
                    </a:cubicBezTo>
                    <a:cubicBezTo>
                      <a:pt x="110" y="379"/>
                      <a:pt x="110" y="379"/>
                      <a:pt x="110" y="379"/>
                    </a:cubicBezTo>
                    <a:cubicBezTo>
                      <a:pt x="111" y="379"/>
                      <a:pt x="111" y="379"/>
                      <a:pt x="111" y="379"/>
                    </a:cubicBezTo>
                    <a:cubicBezTo>
                      <a:pt x="111" y="379"/>
                      <a:pt x="111" y="379"/>
                      <a:pt x="111" y="379"/>
                    </a:cubicBezTo>
                    <a:cubicBezTo>
                      <a:pt x="111" y="380"/>
                      <a:pt x="111" y="380"/>
                      <a:pt x="111" y="380"/>
                    </a:cubicBezTo>
                    <a:cubicBezTo>
                      <a:pt x="111" y="381"/>
                      <a:pt x="111" y="381"/>
                      <a:pt x="111" y="381"/>
                    </a:cubicBezTo>
                    <a:cubicBezTo>
                      <a:pt x="112" y="381"/>
                      <a:pt x="112" y="381"/>
                      <a:pt x="112" y="381"/>
                    </a:cubicBezTo>
                    <a:cubicBezTo>
                      <a:pt x="113" y="382"/>
                      <a:pt x="113" y="382"/>
                      <a:pt x="113" y="382"/>
                    </a:cubicBezTo>
                    <a:cubicBezTo>
                      <a:pt x="113" y="382"/>
                      <a:pt x="113" y="382"/>
                      <a:pt x="113" y="382"/>
                    </a:cubicBezTo>
                    <a:cubicBezTo>
                      <a:pt x="114" y="382"/>
                      <a:pt x="114" y="382"/>
                      <a:pt x="114" y="382"/>
                    </a:cubicBezTo>
                    <a:cubicBezTo>
                      <a:pt x="115" y="382"/>
                      <a:pt x="115" y="382"/>
                      <a:pt x="115" y="382"/>
                    </a:cubicBezTo>
                    <a:cubicBezTo>
                      <a:pt x="115" y="381"/>
                      <a:pt x="115" y="381"/>
                      <a:pt x="115" y="381"/>
                    </a:cubicBezTo>
                    <a:cubicBezTo>
                      <a:pt x="116" y="381"/>
                      <a:pt x="116" y="381"/>
                      <a:pt x="116" y="381"/>
                    </a:cubicBezTo>
                    <a:cubicBezTo>
                      <a:pt x="117" y="381"/>
                      <a:pt x="117" y="381"/>
                      <a:pt x="117" y="381"/>
                    </a:cubicBezTo>
                    <a:cubicBezTo>
                      <a:pt x="117" y="381"/>
                      <a:pt x="117" y="381"/>
                      <a:pt x="117" y="381"/>
                    </a:cubicBezTo>
                    <a:cubicBezTo>
                      <a:pt x="117" y="381"/>
                      <a:pt x="117" y="381"/>
                      <a:pt x="117" y="381"/>
                    </a:cubicBezTo>
                    <a:cubicBezTo>
                      <a:pt x="117" y="382"/>
                      <a:pt x="117" y="382"/>
                      <a:pt x="117" y="382"/>
                    </a:cubicBezTo>
                    <a:cubicBezTo>
                      <a:pt x="117" y="382"/>
                      <a:pt x="117" y="382"/>
                      <a:pt x="117" y="382"/>
                    </a:cubicBezTo>
                    <a:cubicBezTo>
                      <a:pt x="117" y="383"/>
                      <a:pt x="117" y="383"/>
                      <a:pt x="117" y="383"/>
                    </a:cubicBezTo>
                    <a:cubicBezTo>
                      <a:pt x="116" y="384"/>
                      <a:pt x="116" y="384"/>
                      <a:pt x="116" y="384"/>
                    </a:cubicBezTo>
                    <a:cubicBezTo>
                      <a:pt x="116" y="385"/>
                      <a:pt x="116" y="385"/>
                      <a:pt x="116" y="385"/>
                    </a:cubicBezTo>
                    <a:cubicBezTo>
                      <a:pt x="116" y="385"/>
                      <a:pt x="116" y="385"/>
                      <a:pt x="116" y="385"/>
                    </a:cubicBezTo>
                    <a:cubicBezTo>
                      <a:pt x="116" y="386"/>
                      <a:pt x="116" y="386"/>
                      <a:pt x="116" y="386"/>
                    </a:cubicBezTo>
                    <a:cubicBezTo>
                      <a:pt x="116" y="386"/>
                      <a:pt x="116" y="386"/>
                      <a:pt x="116" y="386"/>
                    </a:cubicBezTo>
                    <a:cubicBezTo>
                      <a:pt x="116" y="387"/>
                      <a:pt x="116" y="387"/>
                      <a:pt x="116" y="387"/>
                    </a:cubicBezTo>
                    <a:cubicBezTo>
                      <a:pt x="117" y="387"/>
                      <a:pt x="117" y="387"/>
                      <a:pt x="117" y="387"/>
                    </a:cubicBezTo>
                    <a:cubicBezTo>
                      <a:pt x="117" y="388"/>
                      <a:pt x="117" y="388"/>
                      <a:pt x="117" y="388"/>
                    </a:cubicBezTo>
                    <a:cubicBezTo>
                      <a:pt x="116" y="389"/>
                      <a:pt x="116" y="389"/>
                      <a:pt x="116" y="389"/>
                    </a:cubicBezTo>
                    <a:cubicBezTo>
                      <a:pt x="115" y="390"/>
                      <a:pt x="115" y="390"/>
                      <a:pt x="115" y="390"/>
                    </a:cubicBezTo>
                    <a:cubicBezTo>
                      <a:pt x="115" y="390"/>
                      <a:pt x="115" y="390"/>
                      <a:pt x="115" y="390"/>
                    </a:cubicBezTo>
                    <a:cubicBezTo>
                      <a:pt x="114" y="392"/>
                      <a:pt x="114" y="392"/>
                      <a:pt x="114" y="392"/>
                    </a:cubicBezTo>
                    <a:cubicBezTo>
                      <a:pt x="114" y="392"/>
                      <a:pt x="114" y="392"/>
                      <a:pt x="114" y="392"/>
                    </a:cubicBezTo>
                    <a:cubicBezTo>
                      <a:pt x="115" y="393"/>
                      <a:pt x="115" y="393"/>
                      <a:pt x="115" y="393"/>
                    </a:cubicBezTo>
                    <a:cubicBezTo>
                      <a:pt x="115" y="394"/>
                      <a:pt x="115" y="394"/>
                      <a:pt x="115" y="394"/>
                    </a:cubicBezTo>
                    <a:cubicBezTo>
                      <a:pt x="114" y="394"/>
                      <a:pt x="114" y="394"/>
                      <a:pt x="114" y="394"/>
                    </a:cubicBezTo>
                    <a:cubicBezTo>
                      <a:pt x="114" y="395"/>
                      <a:pt x="114" y="395"/>
                      <a:pt x="114" y="395"/>
                    </a:cubicBezTo>
                    <a:cubicBezTo>
                      <a:pt x="114" y="396"/>
                      <a:pt x="114" y="396"/>
                      <a:pt x="114" y="396"/>
                    </a:cubicBezTo>
                    <a:cubicBezTo>
                      <a:pt x="113" y="396"/>
                      <a:pt x="113" y="396"/>
                      <a:pt x="113" y="396"/>
                    </a:cubicBezTo>
                    <a:cubicBezTo>
                      <a:pt x="113" y="396"/>
                      <a:pt x="113" y="396"/>
                      <a:pt x="113" y="396"/>
                    </a:cubicBezTo>
                    <a:cubicBezTo>
                      <a:pt x="112" y="396"/>
                      <a:pt x="112" y="396"/>
                      <a:pt x="112" y="396"/>
                    </a:cubicBezTo>
                    <a:cubicBezTo>
                      <a:pt x="111" y="396"/>
                      <a:pt x="111" y="396"/>
                      <a:pt x="111" y="396"/>
                    </a:cubicBezTo>
                    <a:cubicBezTo>
                      <a:pt x="111" y="397"/>
                      <a:pt x="111" y="397"/>
                      <a:pt x="111" y="397"/>
                    </a:cubicBezTo>
                    <a:cubicBezTo>
                      <a:pt x="110" y="397"/>
                      <a:pt x="110" y="397"/>
                      <a:pt x="110" y="397"/>
                    </a:cubicBezTo>
                    <a:cubicBezTo>
                      <a:pt x="110" y="397"/>
                      <a:pt x="110" y="397"/>
                      <a:pt x="110" y="397"/>
                    </a:cubicBezTo>
                    <a:cubicBezTo>
                      <a:pt x="110" y="398"/>
                      <a:pt x="110" y="398"/>
                      <a:pt x="110" y="398"/>
                    </a:cubicBezTo>
                    <a:cubicBezTo>
                      <a:pt x="110" y="398"/>
                      <a:pt x="110" y="398"/>
                      <a:pt x="110" y="398"/>
                    </a:cubicBezTo>
                    <a:cubicBezTo>
                      <a:pt x="110" y="399"/>
                      <a:pt x="110" y="399"/>
                      <a:pt x="110" y="399"/>
                    </a:cubicBezTo>
                    <a:cubicBezTo>
                      <a:pt x="111" y="400"/>
                      <a:pt x="111" y="400"/>
                      <a:pt x="111" y="400"/>
                    </a:cubicBezTo>
                    <a:cubicBezTo>
                      <a:pt x="111" y="401"/>
                      <a:pt x="111" y="401"/>
                      <a:pt x="111" y="401"/>
                    </a:cubicBezTo>
                    <a:cubicBezTo>
                      <a:pt x="110" y="401"/>
                      <a:pt x="110" y="401"/>
                      <a:pt x="110" y="401"/>
                    </a:cubicBezTo>
                    <a:cubicBezTo>
                      <a:pt x="109" y="401"/>
                      <a:pt x="109" y="401"/>
                      <a:pt x="109" y="401"/>
                    </a:cubicBezTo>
                    <a:cubicBezTo>
                      <a:pt x="109" y="401"/>
                      <a:pt x="109" y="401"/>
                      <a:pt x="109" y="401"/>
                    </a:cubicBezTo>
                    <a:cubicBezTo>
                      <a:pt x="108" y="401"/>
                      <a:pt x="108" y="401"/>
                      <a:pt x="108" y="401"/>
                    </a:cubicBezTo>
                    <a:cubicBezTo>
                      <a:pt x="107" y="401"/>
                      <a:pt x="107" y="401"/>
                      <a:pt x="107" y="401"/>
                    </a:cubicBezTo>
                    <a:cubicBezTo>
                      <a:pt x="106" y="401"/>
                      <a:pt x="106" y="401"/>
                      <a:pt x="106" y="401"/>
                    </a:cubicBezTo>
                    <a:cubicBezTo>
                      <a:pt x="106" y="402"/>
                      <a:pt x="106" y="402"/>
                      <a:pt x="106" y="402"/>
                    </a:cubicBezTo>
                    <a:cubicBezTo>
                      <a:pt x="105" y="402"/>
                      <a:pt x="105" y="402"/>
                      <a:pt x="105" y="402"/>
                    </a:cubicBezTo>
                    <a:cubicBezTo>
                      <a:pt x="104" y="403"/>
                      <a:pt x="104" y="403"/>
                      <a:pt x="104" y="403"/>
                    </a:cubicBezTo>
                    <a:cubicBezTo>
                      <a:pt x="102" y="404"/>
                      <a:pt x="102" y="404"/>
                      <a:pt x="102" y="404"/>
                    </a:cubicBezTo>
                    <a:cubicBezTo>
                      <a:pt x="102" y="405"/>
                      <a:pt x="102" y="405"/>
                      <a:pt x="102" y="405"/>
                    </a:cubicBezTo>
                    <a:cubicBezTo>
                      <a:pt x="102" y="405"/>
                      <a:pt x="102" y="405"/>
                      <a:pt x="102" y="405"/>
                    </a:cubicBezTo>
                    <a:cubicBezTo>
                      <a:pt x="101" y="406"/>
                      <a:pt x="101" y="406"/>
                      <a:pt x="101" y="406"/>
                    </a:cubicBezTo>
                    <a:cubicBezTo>
                      <a:pt x="101" y="407"/>
                      <a:pt x="101" y="407"/>
                      <a:pt x="101" y="407"/>
                    </a:cubicBezTo>
                    <a:cubicBezTo>
                      <a:pt x="101" y="408"/>
                      <a:pt x="101" y="408"/>
                      <a:pt x="101" y="408"/>
                    </a:cubicBezTo>
                    <a:cubicBezTo>
                      <a:pt x="101" y="408"/>
                      <a:pt x="101" y="408"/>
                      <a:pt x="101" y="408"/>
                    </a:cubicBezTo>
                    <a:cubicBezTo>
                      <a:pt x="100" y="408"/>
                      <a:pt x="100" y="408"/>
                      <a:pt x="100" y="408"/>
                    </a:cubicBezTo>
                    <a:cubicBezTo>
                      <a:pt x="99" y="408"/>
                      <a:pt x="99" y="408"/>
                      <a:pt x="99" y="408"/>
                    </a:cubicBezTo>
                    <a:cubicBezTo>
                      <a:pt x="98" y="409"/>
                      <a:pt x="98" y="409"/>
                      <a:pt x="98" y="409"/>
                    </a:cubicBezTo>
                    <a:cubicBezTo>
                      <a:pt x="98" y="409"/>
                      <a:pt x="98" y="409"/>
                      <a:pt x="98" y="409"/>
                    </a:cubicBezTo>
                    <a:cubicBezTo>
                      <a:pt x="97" y="409"/>
                      <a:pt x="97" y="409"/>
                      <a:pt x="97" y="409"/>
                    </a:cubicBezTo>
                    <a:cubicBezTo>
                      <a:pt x="97" y="409"/>
                      <a:pt x="97" y="409"/>
                      <a:pt x="97" y="409"/>
                    </a:cubicBezTo>
                    <a:cubicBezTo>
                      <a:pt x="97" y="410"/>
                      <a:pt x="97" y="410"/>
                      <a:pt x="97" y="410"/>
                    </a:cubicBezTo>
                    <a:cubicBezTo>
                      <a:pt x="97" y="410"/>
                      <a:pt x="97" y="410"/>
                      <a:pt x="97" y="410"/>
                    </a:cubicBezTo>
                    <a:cubicBezTo>
                      <a:pt x="97" y="411"/>
                      <a:pt x="97" y="411"/>
                      <a:pt x="97" y="411"/>
                    </a:cubicBezTo>
                    <a:cubicBezTo>
                      <a:pt x="97" y="412"/>
                      <a:pt x="97" y="412"/>
                      <a:pt x="97" y="412"/>
                    </a:cubicBezTo>
                    <a:cubicBezTo>
                      <a:pt x="97" y="413"/>
                      <a:pt x="97" y="413"/>
                      <a:pt x="97" y="413"/>
                    </a:cubicBezTo>
                    <a:cubicBezTo>
                      <a:pt x="97" y="413"/>
                      <a:pt x="97" y="413"/>
                      <a:pt x="97" y="413"/>
                    </a:cubicBezTo>
                    <a:cubicBezTo>
                      <a:pt x="96" y="414"/>
                      <a:pt x="96" y="414"/>
                      <a:pt x="96" y="414"/>
                    </a:cubicBezTo>
                    <a:cubicBezTo>
                      <a:pt x="96" y="415"/>
                      <a:pt x="96" y="415"/>
                      <a:pt x="96" y="415"/>
                    </a:cubicBezTo>
                    <a:cubicBezTo>
                      <a:pt x="96" y="415"/>
                      <a:pt x="96" y="415"/>
                      <a:pt x="96" y="415"/>
                    </a:cubicBezTo>
                    <a:cubicBezTo>
                      <a:pt x="96" y="415"/>
                      <a:pt x="96" y="415"/>
                      <a:pt x="96" y="415"/>
                    </a:cubicBezTo>
                    <a:cubicBezTo>
                      <a:pt x="96" y="416"/>
                      <a:pt x="96" y="416"/>
                      <a:pt x="96" y="416"/>
                    </a:cubicBezTo>
                    <a:cubicBezTo>
                      <a:pt x="96" y="417"/>
                      <a:pt x="96" y="417"/>
                      <a:pt x="96" y="417"/>
                    </a:cubicBezTo>
                    <a:cubicBezTo>
                      <a:pt x="96" y="417"/>
                      <a:pt x="96" y="417"/>
                      <a:pt x="96" y="417"/>
                    </a:cubicBezTo>
                    <a:cubicBezTo>
                      <a:pt x="95" y="417"/>
                      <a:pt x="95" y="417"/>
                      <a:pt x="95" y="417"/>
                    </a:cubicBezTo>
                    <a:cubicBezTo>
                      <a:pt x="94" y="418"/>
                      <a:pt x="94" y="418"/>
                      <a:pt x="94" y="418"/>
                    </a:cubicBezTo>
                    <a:cubicBezTo>
                      <a:pt x="94" y="418"/>
                      <a:pt x="94" y="418"/>
                      <a:pt x="94" y="418"/>
                    </a:cubicBezTo>
                    <a:cubicBezTo>
                      <a:pt x="94" y="419"/>
                      <a:pt x="94" y="419"/>
                      <a:pt x="94" y="419"/>
                    </a:cubicBezTo>
                    <a:cubicBezTo>
                      <a:pt x="94" y="419"/>
                      <a:pt x="94" y="419"/>
                      <a:pt x="94" y="419"/>
                    </a:cubicBezTo>
                    <a:cubicBezTo>
                      <a:pt x="95" y="419"/>
                      <a:pt x="95" y="419"/>
                      <a:pt x="95" y="419"/>
                    </a:cubicBezTo>
                    <a:cubicBezTo>
                      <a:pt x="95" y="419"/>
                      <a:pt x="95" y="419"/>
                      <a:pt x="95" y="419"/>
                    </a:cubicBezTo>
                    <a:cubicBezTo>
                      <a:pt x="96" y="419"/>
                      <a:pt x="96" y="419"/>
                      <a:pt x="96" y="419"/>
                    </a:cubicBezTo>
                    <a:cubicBezTo>
                      <a:pt x="96" y="419"/>
                      <a:pt x="96" y="419"/>
                      <a:pt x="96" y="419"/>
                    </a:cubicBezTo>
                    <a:cubicBezTo>
                      <a:pt x="96" y="419"/>
                      <a:pt x="96" y="419"/>
                      <a:pt x="96" y="419"/>
                    </a:cubicBezTo>
                    <a:cubicBezTo>
                      <a:pt x="97" y="419"/>
                      <a:pt x="97" y="419"/>
                      <a:pt x="97" y="419"/>
                    </a:cubicBezTo>
                    <a:cubicBezTo>
                      <a:pt x="97" y="419"/>
                      <a:pt x="97" y="419"/>
                      <a:pt x="97" y="419"/>
                    </a:cubicBezTo>
                    <a:cubicBezTo>
                      <a:pt x="98" y="418"/>
                      <a:pt x="98" y="418"/>
                      <a:pt x="98" y="418"/>
                    </a:cubicBezTo>
                    <a:cubicBezTo>
                      <a:pt x="98" y="418"/>
                      <a:pt x="98" y="418"/>
                      <a:pt x="98" y="418"/>
                    </a:cubicBezTo>
                    <a:cubicBezTo>
                      <a:pt x="99" y="418"/>
                      <a:pt x="99" y="418"/>
                      <a:pt x="99" y="418"/>
                    </a:cubicBezTo>
                    <a:cubicBezTo>
                      <a:pt x="99" y="419"/>
                      <a:pt x="99" y="419"/>
                      <a:pt x="99" y="419"/>
                    </a:cubicBezTo>
                    <a:cubicBezTo>
                      <a:pt x="99" y="419"/>
                      <a:pt x="99" y="419"/>
                      <a:pt x="99" y="419"/>
                    </a:cubicBezTo>
                    <a:cubicBezTo>
                      <a:pt x="100" y="419"/>
                      <a:pt x="100" y="419"/>
                      <a:pt x="100" y="419"/>
                    </a:cubicBezTo>
                    <a:cubicBezTo>
                      <a:pt x="100" y="420"/>
                      <a:pt x="100" y="420"/>
                      <a:pt x="100" y="420"/>
                    </a:cubicBezTo>
                    <a:cubicBezTo>
                      <a:pt x="100" y="420"/>
                      <a:pt x="100" y="420"/>
                      <a:pt x="100" y="420"/>
                    </a:cubicBezTo>
                    <a:cubicBezTo>
                      <a:pt x="101" y="421"/>
                      <a:pt x="101" y="421"/>
                      <a:pt x="101" y="421"/>
                    </a:cubicBezTo>
                    <a:cubicBezTo>
                      <a:pt x="101" y="422"/>
                      <a:pt x="101" y="422"/>
                      <a:pt x="101" y="422"/>
                    </a:cubicBezTo>
                    <a:cubicBezTo>
                      <a:pt x="102" y="422"/>
                      <a:pt x="102" y="422"/>
                      <a:pt x="102" y="422"/>
                    </a:cubicBezTo>
                    <a:cubicBezTo>
                      <a:pt x="102" y="422"/>
                      <a:pt x="102" y="422"/>
                      <a:pt x="102" y="422"/>
                    </a:cubicBezTo>
                    <a:cubicBezTo>
                      <a:pt x="103" y="422"/>
                      <a:pt x="103" y="422"/>
                      <a:pt x="103" y="422"/>
                    </a:cubicBezTo>
                    <a:cubicBezTo>
                      <a:pt x="104" y="423"/>
                      <a:pt x="104" y="423"/>
                      <a:pt x="104" y="423"/>
                    </a:cubicBezTo>
                    <a:cubicBezTo>
                      <a:pt x="104" y="423"/>
                      <a:pt x="104" y="423"/>
                      <a:pt x="104" y="423"/>
                    </a:cubicBezTo>
                    <a:cubicBezTo>
                      <a:pt x="105" y="423"/>
                      <a:pt x="105" y="423"/>
                      <a:pt x="105" y="423"/>
                    </a:cubicBezTo>
                    <a:cubicBezTo>
                      <a:pt x="106" y="423"/>
                      <a:pt x="106" y="423"/>
                      <a:pt x="106" y="423"/>
                    </a:cubicBezTo>
                    <a:cubicBezTo>
                      <a:pt x="107" y="423"/>
                      <a:pt x="107" y="423"/>
                      <a:pt x="107" y="423"/>
                    </a:cubicBezTo>
                    <a:cubicBezTo>
                      <a:pt x="108" y="423"/>
                      <a:pt x="108" y="423"/>
                      <a:pt x="108" y="423"/>
                    </a:cubicBezTo>
                    <a:cubicBezTo>
                      <a:pt x="108" y="423"/>
                      <a:pt x="108" y="423"/>
                      <a:pt x="108" y="423"/>
                    </a:cubicBezTo>
                    <a:cubicBezTo>
                      <a:pt x="109" y="422"/>
                      <a:pt x="109" y="422"/>
                      <a:pt x="109" y="422"/>
                    </a:cubicBezTo>
                    <a:cubicBezTo>
                      <a:pt x="110" y="422"/>
                      <a:pt x="110" y="422"/>
                      <a:pt x="110" y="422"/>
                    </a:cubicBezTo>
                    <a:cubicBezTo>
                      <a:pt x="111" y="422"/>
                      <a:pt x="111" y="422"/>
                      <a:pt x="111" y="422"/>
                    </a:cubicBezTo>
                    <a:cubicBezTo>
                      <a:pt x="111" y="421"/>
                      <a:pt x="111" y="421"/>
                      <a:pt x="111" y="421"/>
                    </a:cubicBezTo>
                    <a:cubicBezTo>
                      <a:pt x="111" y="420"/>
                      <a:pt x="111" y="420"/>
                      <a:pt x="111" y="420"/>
                    </a:cubicBezTo>
                    <a:cubicBezTo>
                      <a:pt x="112" y="419"/>
                      <a:pt x="112" y="419"/>
                      <a:pt x="112" y="419"/>
                    </a:cubicBezTo>
                    <a:cubicBezTo>
                      <a:pt x="112" y="419"/>
                      <a:pt x="112" y="419"/>
                      <a:pt x="112" y="419"/>
                    </a:cubicBezTo>
                    <a:cubicBezTo>
                      <a:pt x="112" y="418"/>
                      <a:pt x="112" y="418"/>
                      <a:pt x="112" y="418"/>
                    </a:cubicBezTo>
                    <a:cubicBezTo>
                      <a:pt x="113" y="418"/>
                      <a:pt x="113" y="418"/>
                      <a:pt x="113" y="418"/>
                    </a:cubicBezTo>
                    <a:cubicBezTo>
                      <a:pt x="113" y="418"/>
                      <a:pt x="113" y="418"/>
                      <a:pt x="113" y="418"/>
                    </a:cubicBezTo>
                    <a:cubicBezTo>
                      <a:pt x="114" y="418"/>
                      <a:pt x="114" y="418"/>
                      <a:pt x="114" y="418"/>
                    </a:cubicBezTo>
                    <a:cubicBezTo>
                      <a:pt x="114" y="418"/>
                      <a:pt x="114" y="418"/>
                      <a:pt x="114" y="418"/>
                    </a:cubicBezTo>
                    <a:cubicBezTo>
                      <a:pt x="115" y="417"/>
                      <a:pt x="115" y="417"/>
                      <a:pt x="115" y="417"/>
                    </a:cubicBezTo>
                    <a:cubicBezTo>
                      <a:pt x="116" y="416"/>
                      <a:pt x="116" y="416"/>
                      <a:pt x="116" y="416"/>
                    </a:cubicBezTo>
                    <a:cubicBezTo>
                      <a:pt x="117" y="415"/>
                      <a:pt x="117" y="415"/>
                      <a:pt x="117" y="415"/>
                    </a:cubicBezTo>
                    <a:cubicBezTo>
                      <a:pt x="118" y="414"/>
                      <a:pt x="118" y="414"/>
                      <a:pt x="118" y="414"/>
                    </a:cubicBezTo>
                    <a:cubicBezTo>
                      <a:pt x="119" y="413"/>
                      <a:pt x="119" y="413"/>
                      <a:pt x="119" y="413"/>
                    </a:cubicBezTo>
                    <a:cubicBezTo>
                      <a:pt x="119" y="412"/>
                      <a:pt x="119" y="412"/>
                      <a:pt x="119" y="412"/>
                    </a:cubicBezTo>
                    <a:cubicBezTo>
                      <a:pt x="119" y="411"/>
                      <a:pt x="119" y="411"/>
                      <a:pt x="119" y="411"/>
                    </a:cubicBezTo>
                    <a:cubicBezTo>
                      <a:pt x="119" y="410"/>
                      <a:pt x="119" y="410"/>
                      <a:pt x="119" y="410"/>
                    </a:cubicBezTo>
                    <a:cubicBezTo>
                      <a:pt x="119" y="409"/>
                      <a:pt x="119" y="409"/>
                      <a:pt x="119" y="409"/>
                    </a:cubicBezTo>
                    <a:cubicBezTo>
                      <a:pt x="119" y="408"/>
                      <a:pt x="119" y="408"/>
                      <a:pt x="119" y="408"/>
                    </a:cubicBezTo>
                    <a:cubicBezTo>
                      <a:pt x="120" y="407"/>
                      <a:pt x="120" y="407"/>
                      <a:pt x="120" y="407"/>
                    </a:cubicBezTo>
                    <a:cubicBezTo>
                      <a:pt x="120" y="407"/>
                      <a:pt x="120" y="407"/>
                      <a:pt x="120" y="407"/>
                    </a:cubicBezTo>
                    <a:cubicBezTo>
                      <a:pt x="120" y="406"/>
                      <a:pt x="120" y="406"/>
                      <a:pt x="120" y="406"/>
                    </a:cubicBezTo>
                    <a:cubicBezTo>
                      <a:pt x="120" y="405"/>
                      <a:pt x="120" y="405"/>
                      <a:pt x="120" y="405"/>
                    </a:cubicBezTo>
                    <a:cubicBezTo>
                      <a:pt x="121" y="404"/>
                      <a:pt x="121" y="404"/>
                      <a:pt x="121" y="404"/>
                    </a:cubicBezTo>
                    <a:cubicBezTo>
                      <a:pt x="121" y="403"/>
                      <a:pt x="121" y="403"/>
                      <a:pt x="121" y="403"/>
                    </a:cubicBezTo>
                    <a:cubicBezTo>
                      <a:pt x="121" y="402"/>
                      <a:pt x="121" y="402"/>
                      <a:pt x="121" y="402"/>
                    </a:cubicBezTo>
                    <a:cubicBezTo>
                      <a:pt x="121" y="401"/>
                      <a:pt x="121" y="401"/>
                      <a:pt x="121" y="401"/>
                    </a:cubicBezTo>
                    <a:cubicBezTo>
                      <a:pt x="122" y="400"/>
                      <a:pt x="122" y="400"/>
                      <a:pt x="122" y="400"/>
                    </a:cubicBezTo>
                    <a:cubicBezTo>
                      <a:pt x="122" y="400"/>
                      <a:pt x="122" y="400"/>
                      <a:pt x="122" y="400"/>
                    </a:cubicBezTo>
                    <a:cubicBezTo>
                      <a:pt x="123" y="399"/>
                      <a:pt x="123" y="399"/>
                      <a:pt x="123" y="399"/>
                    </a:cubicBezTo>
                    <a:cubicBezTo>
                      <a:pt x="124" y="398"/>
                      <a:pt x="124" y="398"/>
                      <a:pt x="124" y="398"/>
                    </a:cubicBezTo>
                    <a:cubicBezTo>
                      <a:pt x="124" y="398"/>
                      <a:pt x="124" y="398"/>
                      <a:pt x="124" y="398"/>
                    </a:cubicBezTo>
                    <a:cubicBezTo>
                      <a:pt x="125" y="397"/>
                      <a:pt x="125" y="397"/>
                      <a:pt x="125" y="397"/>
                    </a:cubicBezTo>
                    <a:cubicBezTo>
                      <a:pt x="126" y="397"/>
                      <a:pt x="126" y="397"/>
                      <a:pt x="126" y="397"/>
                    </a:cubicBezTo>
                    <a:cubicBezTo>
                      <a:pt x="126" y="396"/>
                      <a:pt x="126" y="396"/>
                      <a:pt x="126" y="396"/>
                    </a:cubicBezTo>
                    <a:cubicBezTo>
                      <a:pt x="126" y="396"/>
                      <a:pt x="126" y="396"/>
                      <a:pt x="126" y="396"/>
                    </a:cubicBezTo>
                    <a:cubicBezTo>
                      <a:pt x="127" y="396"/>
                      <a:pt x="127" y="396"/>
                      <a:pt x="127" y="396"/>
                    </a:cubicBezTo>
                    <a:cubicBezTo>
                      <a:pt x="127" y="395"/>
                      <a:pt x="127" y="395"/>
                      <a:pt x="127" y="395"/>
                    </a:cubicBezTo>
                    <a:cubicBezTo>
                      <a:pt x="128" y="395"/>
                      <a:pt x="128" y="395"/>
                      <a:pt x="128" y="395"/>
                    </a:cubicBezTo>
                    <a:cubicBezTo>
                      <a:pt x="128" y="395"/>
                      <a:pt x="128" y="395"/>
                      <a:pt x="128" y="395"/>
                    </a:cubicBezTo>
                    <a:cubicBezTo>
                      <a:pt x="129" y="395"/>
                      <a:pt x="129" y="395"/>
                      <a:pt x="129" y="395"/>
                    </a:cubicBezTo>
                    <a:cubicBezTo>
                      <a:pt x="130" y="395"/>
                      <a:pt x="130" y="395"/>
                      <a:pt x="130" y="395"/>
                    </a:cubicBezTo>
                    <a:cubicBezTo>
                      <a:pt x="130" y="395"/>
                      <a:pt x="130" y="395"/>
                      <a:pt x="130" y="395"/>
                    </a:cubicBezTo>
                    <a:cubicBezTo>
                      <a:pt x="132" y="395"/>
                      <a:pt x="132" y="395"/>
                      <a:pt x="132" y="395"/>
                    </a:cubicBezTo>
                    <a:cubicBezTo>
                      <a:pt x="132" y="395"/>
                      <a:pt x="132" y="395"/>
                      <a:pt x="132" y="395"/>
                    </a:cubicBezTo>
                    <a:cubicBezTo>
                      <a:pt x="138" y="393"/>
                      <a:pt x="138" y="393"/>
                      <a:pt x="138" y="393"/>
                    </a:cubicBezTo>
                    <a:cubicBezTo>
                      <a:pt x="139" y="393"/>
                      <a:pt x="139" y="393"/>
                      <a:pt x="139" y="393"/>
                    </a:cubicBezTo>
                    <a:cubicBezTo>
                      <a:pt x="140" y="393"/>
                      <a:pt x="140" y="393"/>
                      <a:pt x="140" y="393"/>
                    </a:cubicBezTo>
                    <a:cubicBezTo>
                      <a:pt x="141" y="393"/>
                      <a:pt x="141" y="393"/>
                      <a:pt x="141" y="393"/>
                    </a:cubicBezTo>
                    <a:cubicBezTo>
                      <a:pt x="141" y="394"/>
                      <a:pt x="141" y="394"/>
                      <a:pt x="141" y="394"/>
                    </a:cubicBezTo>
                    <a:cubicBezTo>
                      <a:pt x="141" y="394"/>
                      <a:pt x="141" y="394"/>
                      <a:pt x="141" y="394"/>
                    </a:cubicBezTo>
                    <a:cubicBezTo>
                      <a:pt x="141" y="395"/>
                      <a:pt x="141" y="395"/>
                      <a:pt x="141" y="395"/>
                    </a:cubicBezTo>
                    <a:cubicBezTo>
                      <a:pt x="141" y="396"/>
                      <a:pt x="141" y="396"/>
                      <a:pt x="141" y="396"/>
                    </a:cubicBezTo>
                    <a:cubicBezTo>
                      <a:pt x="141" y="397"/>
                      <a:pt x="141" y="397"/>
                      <a:pt x="141" y="397"/>
                    </a:cubicBezTo>
                    <a:cubicBezTo>
                      <a:pt x="141" y="397"/>
                      <a:pt x="141" y="397"/>
                      <a:pt x="141" y="397"/>
                    </a:cubicBezTo>
                    <a:cubicBezTo>
                      <a:pt x="141" y="397"/>
                      <a:pt x="141" y="397"/>
                      <a:pt x="141" y="397"/>
                    </a:cubicBezTo>
                    <a:cubicBezTo>
                      <a:pt x="142" y="397"/>
                      <a:pt x="142" y="397"/>
                      <a:pt x="142" y="397"/>
                    </a:cubicBezTo>
                    <a:cubicBezTo>
                      <a:pt x="143" y="397"/>
                      <a:pt x="143" y="397"/>
                      <a:pt x="143" y="397"/>
                    </a:cubicBezTo>
                    <a:cubicBezTo>
                      <a:pt x="143" y="397"/>
                      <a:pt x="143" y="397"/>
                      <a:pt x="143" y="397"/>
                    </a:cubicBezTo>
                    <a:cubicBezTo>
                      <a:pt x="144" y="397"/>
                      <a:pt x="144" y="397"/>
                      <a:pt x="144" y="397"/>
                    </a:cubicBezTo>
                    <a:cubicBezTo>
                      <a:pt x="145" y="398"/>
                      <a:pt x="145" y="398"/>
                      <a:pt x="145" y="398"/>
                    </a:cubicBezTo>
                    <a:cubicBezTo>
                      <a:pt x="146" y="398"/>
                      <a:pt x="146" y="398"/>
                      <a:pt x="146" y="398"/>
                    </a:cubicBezTo>
                    <a:cubicBezTo>
                      <a:pt x="147" y="398"/>
                      <a:pt x="147" y="398"/>
                      <a:pt x="147" y="398"/>
                    </a:cubicBezTo>
                    <a:cubicBezTo>
                      <a:pt x="148" y="398"/>
                      <a:pt x="148" y="398"/>
                      <a:pt x="148" y="398"/>
                    </a:cubicBezTo>
                    <a:cubicBezTo>
                      <a:pt x="149" y="398"/>
                      <a:pt x="149" y="398"/>
                      <a:pt x="149" y="398"/>
                    </a:cubicBezTo>
                    <a:cubicBezTo>
                      <a:pt x="150" y="397"/>
                      <a:pt x="150" y="397"/>
                      <a:pt x="150" y="397"/>
                    </a:cubicBezTo>
                    <a:cubicBezTo>
                      <a:pt x="151" y="397"/>
                      <a:pt x="151" y="397"/>
                      <a:pt x="151" y="397"/>
                    </a:cubicBezTo>
                    <a:cubicBezTo>
                      <a:pt x="152" y="397"/>
                      <a:pt x="152" y="397"/>
                      <a:pt x="152" y="397"/>
                    </a:cubicBezTo>
                    <a:cubicBezTo>
                      <a:pt x="153" y="396"/>
                      <a:pt x="153" y="396"/>
                      <a:pt x="153" y="396"/>
                    </a:cubicBezTo>
                    <a:cubicBezTo>
                      <a:pt x="154" y="395"/>
                      <a:pt x="154" y="395"/>
                      <a:pt x="154" y="395"/>
                    </a:cubicBezTo>
                    <a:cubicBezTo>
                      <a:pt x="154" y="395"/>
                      <a:pt x="154" y="395"/>
                      <a:pt x="154" y="395"/>
                    </a:cubicBezTo>
                    <a:cubicBezTo>
                      <a:pt x="155" y="395"/>
                      <a:pt x="155" y="395"/>
                      <a:pt x="155" y="395"/>
                    </a:cubicBezTo>
                    <a:cubicBezTo>
                      <a:pt x="155" y="395"/>
                      <a:pt x="155" y="395"/>
                      <a:pt x="155" y="395"/>
                    </a:cubicBezTo>
                    <a:cubicBezTo>
                      <a:pt x="155" y="396"/>
                      <a:pt x="155" y="396"/>
                      <a:pt x="155" y="396"/>
                    </a:cubicBezTo>
                    <a:cubicBezTo>
                      <a:pt x="155" y="397"/>
                      <a:pt x="155" y="397"/>
                      <a:pt x="155" y="397"/>
                    </a:cubicBezTo>
                    <a:cubicBezTo>
                      <a:pt x="156" y="398"/>
                      <a:pt x="156" y="398"/>
                      <a:pt x="156" y="398"/>
                    </a:cubicBezTo>
                    <a:cubicBezTo>
                      <a:pt x="156" y="398"/>
                      <a:pt x="156" y="398"/>
                      <a:pt x="156" y="398"/>
                    </a:cubicBezTo>
                    <a:cubicBezTo>
                      <a:pt x="157" y="398"/>
                      <a:pt x="157" y="398"/>
                      <a:pt x="157" y="398"/>
                    </a:cubicBezTo>
                    <a:cubicBezTo>
                      <a:pt x="159" y="398"/>
                      <a:pt x="159" y="398"/>
                      <a:pt x="159" y="398"/>
                    </a:cubicBezTo>
                    <a:cubicBezTo>
                      <a:pt x="160" y="398"/>
                      <a:pt x="160" y="398"/>
                      <a:pt x="160" y="398"/>
                    </a:cubicBezTo>
                    <a:cubicBezTo>
                      <a:pt x="160" y="398"/>
                      <a:pt x="160" y="398"/>
                      <a:pt x="160" y="398"/>
                    </a:cubicBezTo>
                    <a:cubicBezTo>
                      <a:pt x="161" y="398"/>
                      <a:pt x="161" y="398"/>
                      <a:pt x="161" y="398"/>
                    </a:cubicBezTo>
                    <a:cubicBezTo>
                      <a:pt x="162" y="397"/>
                      <a:pt x="162" y="397"/>
                      <a:pt x="162" y="397"/>
                    </a:cubicBezTo>
                    <a:cubicBezTo>
                      <a:pt x="163" y="397"/>
                      <a:pt x="163" y="397"/>
                      <a:pt x="163" y="397"/>
                    </a:cubicBezTo>
                    <a:cubicBezTo>
                      <a:pt x="163" y="397"/>
                      <a:pt x="163" y="397"/>
                      <a:pt x="163" y="397"/>
                    </a:cubicBezTo>
                    <a:cubicBezTo>
                      <a:pt x="163" y="396"/>
                      <a:pt x="163" y="396"/>
                      <a:pt x="163" y="396"/>
                    </a:cubicBezTo>
                    <a:cubicBezTo>
                      <a:pt x="164" y="396"/>
                      <a:pt x="164" y="396"/>
                      <a:pt x="164" y="396"/>
                    </a:cubicBezTo>
                    <a:cubicBezTo>
                      <a:pt x="164" y="395"/>
                      <a:pt x="164" y="395"/>
                      <a:pt x="164" y="395"/>
                    </a:cubicBezTo>
                    <a:cubicBezTo>
                      <a:pt x="164" y="395"/>
                      <a:pt x="164" y="395"/>
                      <a:pt x="164" y="395"/>
                    </a:cubicBezTo>
                    <a:cubicBezTo>
                      <a:pt x="164" y="394"/>
                      <a:pt x="164" y="394"/>
                      <a:pt x="164" y="394"/>
                    </a:cubicBezTo>
                    <a:cubicBezTo>
                      <a:pt x="165" y="392"/>
                      <a:pt x="165" y="392"/>
                      <a:pt x="165" y="392"/>
                    </a:cubicBezTo>
                    <a:cubicBezTo>
                      <a:pt x="165" y="392"/>
                      <a:pt x="165" y="392"/>
                      <a:pt x="165" y="392"/>
                    </a:cubicBezTo>
                    <a:cubicBezTo>
                      <a:pt x="165" y="391"/>
                      <a:pt x="165" y="391"/>
                      <a:pt x="165" y="391"/>
                    </a:cubicBezTo>
                    <a:cubicBezTo>
                      <a:pt x="165" y="390"/>
                      <a:pt x="165" y="390"/>
                      <a:pt x="165" y="390"/>
                    </a:cubicBezTo>
                    <a:cubicBezTo>
                      <a:pt x="165" y="390"/>
                      <a:pt x="165" y="390"/>
                      <a:pt x="165" y="390"/>
                    </a:cubicBezTo>
                    <a:cubicBezTo>
                      <a:pt x="166" y="390"/>
                      <a:pt x="166" y="390"/>
                      <a:pt x="166" y="390"/>
                    </a:cubicBezTo>
                    <a:cubicBezTo>
                      <a:pt x="167" y="390"/>
                      <a:pt x="167" y="390"/>
                      <a:pt x="167" y="390"/>
                    </a:cubicBezTo>
                    <a:cubicBezTo>
                      <a:pt x="167" y="390"/>
                      <a:pt x="167" y="390"/>
                      <a:pt x="167" y="390"/>
                    </a:cubicBezTo>
                    <a:cubicBezTo>
                      <a:pt x="168" y="391"/>
                      <a:pt x="168" y="391"/>
                      <a:pt x="168" y="391"/>
                    </a:cubicBezTo>
                    <a:cubicBezTo>
                      <a:pt x="168" y="391"/>
                      <a:pt x="168" y="391"/>
                      <a:pt x="168" y="391"/>
                    </a:cubicBezTo>
                    <a:cubicBezTo>
                      <a:pt x="169" y="392"/>
                      <a:pt x="169" y="392"/>
                      <a:pt x="169" y="392"/>
                    </a:cubicBezTo>
                    <a:cubicBezTo>
                      <a:pt x="170" y="392"/>
                      <a:pt x="170" y="392"/>
                      <a:pt x="170" y="392"/>
                    </a:cubicBezTo>
                    <a:cubicBezTo>
                      <a:pt x="170" y="392"/>
                      <a:pt x="170" y="392"/>
                      <a:pt x="170" y="392"/>
                    </a:cubicBezTo>
                    <a:cubicBezTo>
                      <a:pt x="171" y="391"/>
                      <a:pt x="171" y="391"/>
                      <a:pt x="171" y="391"/>
                    </a:cubicBezTo>
                    <a:cubicBezTo>
                      <a:pt x="171" y="391"/>
                      <a:pt x="171" y="391"/>
                      <a:pt x="171" y="391"/>
                    </a:cubicBezTo>
                    <a:cubicBezTo>
                      <a:pt x="171" y="390"/>
                      <a:pt x="171" y="390"/>
                      <a:pt x="171" y="390"/>
                    </a:cubicBezTo>
                    <a:cubicBezTo>
                      <a:pt x="171" y="390"/>
                      <a:pt x="171" y="390"/>
                      <a:pt x="171" y="390"/>
                    </a:cubicBezTo>
                    <a:cubicBezTo>
                      <a:pt x="171" y="389"/>
                      <a:pt x="171" y="389"/>
                      <a:pt x="171" y="389"/>
                    </a:cubicBezTo>
                    <a:cubicBezTo>
                      <a:pt x="172" y="389"/>
                      <a:pt x="172" y="389"/>
                      <a:pt x="172" y="389"/>
                    </a:cubicBezTo>
                    <a:cubicBezTo>
                      <a:pt x="172" y="389"/>
                      <a:pt x="172" y="389"/>
                      <a:pt x="172" y="389"/>
                    </a:cubicBezTo>
                    <a:cubicBezTo>
                      <a:pt x="173" y="389"/>
                      <a:pt x="173" y="389"/>
                      <a:pt x="173" y="389"/>
                    </a:cubicBezTo>
                    <a:cubicBezTo>
                      <a:pt x="173" y="389"/>
                      <a:pt x="173" y="389"/>
                      <a:pt x="173" y="389"/>
                    </a:cubicBezTo>
                    <a:cubicBezTo>
                      <a:pt x="173" y="388"/>
                      <a:pt x="173" y="388"/>
                      <a:pt x="173" y="388"/>
                    </a:cubicBezTo>
                    <a:cubicBezTo>
                      <a:pt x="174" y="387"/>
                      <a:pt x="174" y="387"/>
                      <a:pt x="174" y="387"/>
                    </a:cubicBezTo>
                    <a:cubicBezTo>
                      <a:pt x="174" y="387"/>
                      <a:pt x="174" y="387"/>
                      <a:pt x="174" y="387"/>
                    </a:cubicBezTo>
                    <a:cubicBezTo>
                      <a:pt x="175" y="386"/>
                      <a:pt x="175" y="386"/>
                      <a:pt x="175" y="386"/>
                    </a:cubicBezTo>
                    <a:cubicBezTo>
                      <a:pt x="175" y="386"/>
                      <a:pt x="175" y="386"/>
                      <a:pt x="175" y="386"/>
                    </a:cubicBezTo>
                    <a:cubicBezTo>
                      <a:pt x="176" y="386"/>
                      <a:pt x="176" y="386"/>
                      <a:pt x="176" y="386"/>
                    </a:cubicBezTo>
                    <a:cubicBezTo>
                      <a:pt x="176" y="385"/>
                      <a:pt x="176" y="385"/>
                      <a:pt x="176" y="385"/>
                    </a:cubicBezTo>
                    <a:cubicBezTo>
                      <a:pt x="176" y="385"/>
                      <a:pt x="176" y="385"/>
                      <a:pt x="176" y="385"/>
                    </a:cubicBezTo>
                    <a:cubicBezTo>
                      <a:pt x="176" y="385"/>
                      <a:pt x="176" y="385"/>
                      <a:pt x="176" y="385"/>
                    </a:cubicBezTo>
                    <a:cubicBezTo>
                      <a:pt x="176" y="384"/>
                      <a:pt x="176" y="384"/>
                      <a:pt x="176" y="384"/>
                    </a:cubicBezTo>
                    <a:cubicBezTo>
                      <a:pt x="175" y="384"/>
                      <a:pt x="175" y="384"/>
                      <a:pt x="175" y="384"/>
                    </a:cubicBezTo>
                    <a:cubicBezTo>
                      <a:pt x="175" y="383"/>
                      <a:pt x="175" y="383"/>
                      <a:pt x="175" y="383"/>
                    </a:cubicBezTo>
                    <a:cubicBezTo>
                      <a:pt x="175" y="383"/>
                      <a:pt x="175" y="383"/>
                      <a:pt x="175" y="383"/>
                    </a:cubicBezTo>
                    <a:cubicBezTo>
                      <a:pt x="175" y="382"/>
                      <a:pt x="175" y="382"/>
                      <a:pt x="175" y="382"/>
                    </a:cubicBezTo>
                    <a:cubicBezTo>
                      <a:pt x="175" y="381"/>
                      <a:pt x="175" y="381"/>
                      <a:pt x="175" y="381"/>
                    </a:cubicBezTo>
                    <a:cubicBezTo>
                      <a:pt x="175" y="381"/>
                      <a:pt x="175" y="381"/>
                      <a:pt x="175" y="381"/>
                    </a:cubicBezTo>
                    <a:cubicBezTo>
                      <a:pt x="174" y="381"/>
                      <a:pt x="174" y="381"/>
                      <a:pt x="174" y="381"/>
                    </a:cubicBezTo>
                    <a:cubicBezTo>
                      <a:pt x="174" y="381"/>
                      <a:pt x="174" y="381"/>
                      <a:pt x="174" y="381"/>
                    </a:cubicBezTo>
                    <a:cubicBezTo>
                      <a:pt x="173" y="380"/>
                      <a:pt x="173" y="380"/>
                      <a:pt x="173" y="380"/>
                    </a:cubicBezTo>
                    <a:cubicBezTo>
                      <a:pt x="173" y="380"/>
                      <a:pt x="173" y="380"/>
                      <a:pt x="173" y="380"/>
                    </a:cubicBezTo>
                    <a:cubicBezTo>
                      <a:pt x="173" y="379"/>
                      <a:pt x="173" y="379"/>
                      <a:pt x="173" y="379"/>
                    </a:cubicBezTo>
                    <a:cubicBezTo>
                      <a:pt x="173" y="379"/>
                      <a:pt x="173" y="379"/>
                      <a:pt x="173" y="379"/>
                    </a:cubicBezTo>
                    <a:cubicBezTo>
                      <a:pt x="173" y="379"/>
                      <a:pt x="173" y="379"/>
                      <a:pt x="173" y="379"/>
                    </a:cubicBezTo>
                    <a:cubicBezTo>
                      <a:pt x="174" y="378"/>
                      <a:pt x="174" y="378"/>
                      <a:pt x="174" y="378"/>
                    </a:cubicBezTo>
                    <a:cubicBezTo>
                      <a:pt x="175" y="378"/>
                      <a:pt x="175" y="378"/>
                      <a:pt x="175" y="378"/>
                    </a:cubicBezTo>
                    <a:cubicBezTo>
                      <a:pt x="175" y="378"/>
                      <a:pt x="175" y="378"/>
                      <a:pt x="175" y="378"/>
                    </a:cubicBezTo>
                    <a:cubicBezTo>
                      <a:pt x="176" y="378"/>
                      <a:pt x="176" y="378"/>
                      <a:pt x="176" y="378"/>
                    </a:cubicBezTo>
                    <a:cubicBezTo>
                      <a:pt x="177" y="377"/>
                      <a:pt x="177" y="377"/>
                      <a:pt x="177" y="377"/>
                    </a:cubicBezTo>
                    <a:cubicBezTo>
                      <a:pt x="178" y="377"/>
                      <a:pt x="178" y="377"/>
                      <a:pt x="178" y="377"/>
                    </a:cubicBezTo>
                    <a:cubicBezTo>
                      <a:pt x="178" y="377"/>
                      <a:pt x="178" y="377"/>
                      <a:pt x="178" y="377"/>
                    </a:cubicBezTo>
                    <a:cubicBezTo>
                      <a:pt x="179" y="378"/>
                      <a:pt x="179" y="378"/>
                      <a:pt x="179" y="378"/>
                    </a:cubicBezTo>
                    <a:cubicBezTo>
                      <a:pt x="179" y="379"/>
                      <a:pt x="179" y="379"/>
                      <a:pt x="179" y="379"/>
                    </a:cubicBezTo>
                    <a:cubicBezTo>
                      <a:pt x="180" y="379"/>
                      <a:pt x="180" y="379"/>
                      <a:pt x="180" y="379"/>
                    </a:cubicBezTo>
                    <a:cubicBezTo>
                      <a:pt x="180" y="380"/>
                      <a:pt x="180" y="380"/>
                      <a:pt x="180" y="380"/>
                    </a:cubicBezTo>
                    <a:cubicBezTo>
                      <a:pt x="180" y="380"/>
                      <a:pt x="180" y="380"/>
                      <a:pt x="180" y="380"/>
                    </a:cubicBezTo>
                    <a:cubicBezTo>
                      <a:pt x="181" y="381"/>
                      <a:pt x="181" y="381"/>
                      <a:pt x="181" y="381"/>
                    </a:cubicBezTo>
                    <a:cubicBezTo>
                      <a:pt x="181" y="381"/>
                      <a:pt x="181" y="381"/>
                      <a:pt x="181" y="381"/>
                    </a:cubicBezTo>
                    <a:cubicBezTo>
                      <a:pt x="181" y="381"/>
                      <a:pt x="181" y="381"/>
                      <a:pt x="181" y="381"/>
                    </a:cubicBezTo>
                    <a:cubicBezTo>
                      <a:pt x="182" y="382"/>
                      <a:pt x="182" y="382"/>
                      <a:pt x="182" y="382"/>
                    </a:cubicBezTo>
                    <a:cubicBezTo>
                      <a:pt x="182" y="382"/>
                      <a:pt x="182" y="382"/>
                      <a:pt x="182" y="382"/>
                    </a:cubicBezTo>
                    <a:cubicBezTo>
                      <a:pt x="182" y="382"/>
                      <a:pt x="182" y="382"/>
                      <a:pt x="182" y="382"/>
                    </a:cubicBezTo>
                    <a:cubicBezTo>
                      <a:pt x="183" y="383"/>
                      <a:pt x="183" y="383"/>
                      <a:pt x="183" y="383"/>
                    </a:cubicBezTo>
                    <a:cubicBezTo>
                      <a:pt x="183" y="383"/>
                      <a:pt x="183" y="383"/>
                      <a:pt x="183" y="383"/>
                    </a:cubicBezTo>
                    <a:cubicBezTo>
                      <a:pt x="184" y="383"/>
                      <a:pt x="184" y="383"/>
                      <a:pt x="184" y="383"/>
                    </a:cubicBezTo>
                    <a:cubicBezTo>
                      <a:pt x="185" y="383"/>
                      <a:pt x="185" y="383"/>
                      <a:pt x="185" y="383"/>
                    </a:cubicBezTo>
                    <a:cubicBezTo>
                      <a:pt x="185" y="383"/>
                      <a:pt x="185" y="383"/>
                      <a:pt x="185" y="383"/>
                    </a:cubicBezTo>
                    <a:cubicBezTo>
                      <a:pt x="186" y="382"/>
                      <a:pt x="186" y="382"/>
                      <a:pt x="186" y="382"/>
                    </a:cubicBezTo>
                    <a:cubicBezTo>
                      <a:pt x="187" y="382"/>
                      <a:pt x="187" y="382"/>
                      <a:pt x="187" y="382"/>
                    </a:cubicBezTo>
                    <a:cubicBezTo>
                      <a:pt x="188" y="382"/>
                      <a:pt x="188" y="382"/>
                      <a:pt x="188" y="382"/>
                    </a:cubicBezTo>
                    <a:cubicBezTo>
                      <a:pt x="189" y="382"/>
                      <a:pt x="189" y="382"/>
                      <a:pt x="189" y="382"/>
                    </a:cubicBezTo>
                    <a:cubicBezTo>
                      <a:pt x="190" y="382"/>
                      <a:pt x="190" y="382"/>
                      <a:pt x="190" y="382"/>
                    </a:cubicBezTo>
                    <a:cubicBezTo>
                      <a:pt x="190" y="382"/>
                      <a:pt x="190" y="382"/>
                      <a:pt x="190" y="382"/>
                    </a:cubicBezTo>
                    <a:cubicBezTo>
                      <a:pt x="191" y="382"/>
                      <a:pt x="191" y="382"/>
                      <a:pt x="191" y="382"/>
                    </a:cubicBezTo>
                    <a:cubicBezTo>
                      <a:pt x="191" y="382"/>
                      <a:pt x="191" y="382"/>
                      <a:pt x="191" y="382"/>
                    </a:cubicBezTo>
                    <a:cubicBezTo>
                      <a:pt x="192" y="383"/>
                      <a:pt x="192" y="383"/>
                      <a:pt x="192" y="383"/>
                    </a:cubicBezTo>
                    <a:cubicBezTo>
                      <a:pt x="192" y="385"/>
                      <a:pt x="192" y="385"/>
                      <a:pt x="192" y="385"/>
                    </a:cubicBezTo>
                    <a:cubicBezTo>
                      <a:pt x="193" y="385"/>
                      <a:pt x="193" y="385"/>
                      <a:pt x="193" y="385"/>
                    </a:cubicBezTo>
                    <a:cubicBezTo>
                      <a:pt x="193" y="385"/>
                      <a:pt x="193" y="385"/>
                      <a:pt x="193" y="385"/>
                    </a:cubicBezTo>
                    <a:cubicBezTo>
                      <a:pt x="194" y="386"/>
                      <a:pt x="194" y="386"/>
                      <a:pt x="194" y="386"/>
                    </a:cubicBezTo>
                    <a:cubicBezTo>
                      <a:pt x="195" y="387"/>
                      <a:pt x="195" y="387"/>
                      <a:pt x="195" y="387"/>
                    </a:cubicBezTo>
                    <a:cubicBezTo>
                      <a:pt x="196" y="387"/>
                      <a:pt x="196" y="387"/>
                      <a:pt x="196" y="387"/>
                    </a:cubicBezTo>
                    <a:cubicBezTo>
                      <a:pt x="196" y="387"/>
                      <a:pt x="196" y="387"/>
                      <a:pt x="196" y="387"/>
                    </a:cubicBezTo>
                    <a:cubicBezTo>
                      <a:pt x="197" y="387"/>
                      <a:pt x="197" y="387"/>
                      <a:pt x="197" y="387"/>
                    </a:cubicBezTo>
                    <a:cubicBezTo>
                      <a:pt x="198" y="387"/>
                      <a:pt x="198" y="387"/>
                      <a:pt x="198" y="387"/>
                    </a:cubicBezTo>
                    <a:cubicBezTo>
                      <a:pt x="198" y="387"/>
                      <a:pt x="198" y="387"/>
                      <a:pt x="198" y="387"/>
                    </a:cubicBezTo>
                    <a:cubicBezTo>
                      <a:pt x="198" y="386"/>
                      <a:pt x="198" y="386"/>
                      <a:pt x="198" y="386"/>
                    </a:cubicBezTo>
                    <a:cubicBezTo>
                      <a:pt x="198" y="386"/>
                      <a:pt x="198" y="386"/>
                      <a:pt x="198" y="386"/>
                    </a:cubicBezTo>
                    <a:cubicBezTo>
                      <a:pt x="198" y="385"/>
                      <a:pt x="198" y="385"/>
                      <a:pt x="198" y="385"/>
                    </a:cubicBezTo>
                    <a:cubicBezTo>
                      <a:pt x="198" y="385"/>
                      <a:pt x="198" y="385"/>
                      <a:pt x="198" y="385"/>
                    </a:cubicBezTo>
                    <a:cubicBezTo>
                      <a:pt x="198" y="384"/>
                      <a:pt x="198" y="384"/>
                      <a:pt x="198" y="384"/>
                    </a:cubicBezTo>
                    <a:cubicBezTo>
                      <a:pt x="197" y="383"/>
                      <a:pt x="197" y="383"/>
                      <a:pt x="197" y="383"/>
                    </a:cubicBezTo>
                    <a:cubicBezTo>
                      <a:pt x="196" y="382"/>
                      <a:pt x="196" y="382"/>
                      <a:pt x="196" y="382"/>
                    </a:cubicBezTo>
                    <a:cubicBezTo>
                      <a:pt x="195" y="382"/>
                      <a:pt x="195" y="382"/>
                      <a:pt x="195" y="382"/>
                    </a:cubicBezTo>
                    <a:cubicBezTo>
                      <a:pt x="195" y="381"/>
                      <a:pt x="195" y="381"/>
                      <a:pt x="195" y="381"/>
                    </a:cubicBezTo>
                    <a:cubicBezTo>
                      <a:pt x="195" y="381"/>
                      <a:pt x="195" y="381"/>
                      <a:pt x="195" y="381"/>
                    </a:cubicBezTo>
                    <a:cubicBezTo>
                      <a:pt x="195" y="381"/>
                      <a:pt x="195" y="381"/>
                      <a:pt x="195" y="381"/>
                    </a:cubicBezTo>
                    <a:cubicBezTo>
                      <a:pt x="196" y="380"/>
                      <a:pt x="196" y="380"/>
                      <a:pt x="196" y="380"/>
                    </a:cubicBezTo>
                    <a:cubicBezTo>
                      <a:pt x="196" y="380"/>
                      <a:pt x="196" y="380"/>
                      <a:pt x="196" y="380"/>
                    </a:cubicBezTo>
                    <a:cubicBezTo>
                      <a:pt x="196" y="380"/>
                      <a:pt x="196" y="380"/>
                      <a:pt x="196" y="380"/>
                    </a:cubicBezTo>
                    <a:cubicBezTo>
                      <a:pt x="198" y="380"/>
                      <a:pt x="198" y="380"/>
                      <a:pt x="198" y="380"/>
                    </a:cubicBezTo>
                    <a:cubicBezTo>
                      <a:pt x="198" y="380"/>
                      <a:pt x="198" y="380"/>
                      <a:pt x="198" y="380"/>
                    </a:cubicBezTo>
                    <a:cubicBezTo>
                      <a:pt x="199" y="380"/>
                      <a:pt x="199" y="380"/>
                      <a:pt x="199" y="380"/>
                    </a:cubicBezTo>
                    <a:cubicBezTo>
                      <a:pt x="199" y="380"/>
                      <a:pt x="199" y="380"/>
                      <a:pt x="199" y="380"/>
                    </a:cubicBezTo>
                    <a:cubicBezTo>
                      <a:pt x="200" y="380"/>
                      <a:pt x="200" y="380"/>
                      <a:pt x="200" y="380"/>
                    </a:cubicBezTo>
                    <a:cubicBezTo>
                      <a:pt x="201" y="380"/>
                      <a:pt x="201" y="380"/>
                      <a:pt x="201" y="380"/>
                    </a:cubicBezTo>
                    <a:cubicBezTo>
                      <a:pt x="202" y="380"/>
                      <a:pt x="202" y="380"/>
                      <a:pt x="202" y="380"/>
                    </a:cubicBezTo>
                    <a:cubicBezTo>
                      <a:pt x="203" y="379"/>
                      <a:pt x="203" y="379"/>
                      <a:pt x="203" y="379"/>
                    </a:cubicBezTo>
                    <a:cubicBezTo>
                      <a:pt x="205" y="378"/>
                      <a:pt x="205" y="378"/>
                      <a:pt x="205" y="378"/>
                    </a:cubicBezTo>
                    <a:cubicBezTo>
                      <a:pt x="206" y="377"/>
                      <a:pt x="206" y="377"/>
                      <a:pt x="206" y="377"/>
                    </a:cubicBezTo>
                    <a:cubicBezTo>
                      <a:pt x="206" y="376"/>
                      <a:pt x="206" y="376"/>
                      <a:pt x="206" y="376"/>
                    </a:cubicBezTo>
                    <a:cubicBezTo>
                      <a:pt x="207" y="375"/>
                      <a:pt x="207" y="375"/>
                      <a:pt x="207" y="375"/>
                    </a:cubicBezTo>
                    <a:cubicBezTo>
                      <a:pt x="207" y="375"/>
                      <a:pt x="207" y="375"/>
                      <a:pt x="207" y="375"/>
                    </a:cubicBezTo>
                    <a:cubicBezTo>
                      <a:pt x="207" y="374"/>
                      <a:pt x="207" y="374"/>
                      <a:pt x="207" y="374"/>
                    </a:cubicBezTo>
                    <a:cubicBezTo>
                      <a:pt x="207" y="373"/>
                      <a:pt x="207" y="373"/>
                      <a:pt x="207" y="373"/>
                    </a:cubicBezTo>
                    <a:cubicBezTo>
                      <a:pt x="207" y="373"/>
                      <a:pt x="207" y="373"/>
                      <a:pt x="207" y="373"/>
                    </a:cubicBezTo>
                    <a:cubicBezTo>
                      <a:pt x="207" y="372"/>
                      <a:pt x="207" y="372"/>
                      <a:pt x="207" y="372"/>
                    </a:cubicBezTo>
                    <a:cubicBezTo>
                      <a:pt x="208" y="372"/>
                      <a:pt x="208" y="372"/>
                      <a:pt x="208" y="372"/>
                    </a:cubicBezTo>
                    <a:cubicBezTo>
                      <a:pt x="208" y="373"/>
                      <a:pt x="208" y="373"/>
                      <a:pt x="208" y="373"/>
                    </a:cubicBezTo>
                    <a:cubicBezTo>
                      <a:pt x="209" y="373"/>
                      <a:pt x="209" y="373"/>
                      <a:pt x="209" y="373"/>
                    </a:cubicBezTo>
                    <a:cubicBezTo>
                      <a:pt x="211" y="371"/>
                      <a:pt x="211" y="371"/>
                      <a:pt x="211" y="371"/>
                    </a:cubicBezTo>
                    <a:cubicBezTo>
                      <a:pt x="211" y="371"/>
                      <a:pt x="211" y="371"/>
                      <a:pt x="211" y="371"/>
                    </a:cubicBezTo>
                    <a:cubicBezTo>
                      <a:pt x="211" y="370"/>
                      <a:pt x="211" y="370"/>
                      <a:pt x="211" y="370"/>
                    </a:cubicBezTo>
                    <a:cubicBezTo>
                      <a:pt x="211" y="370"/>
                      <a:pt x="211" y="370"/>
                      <a:pt x="211" y="370"/>
                    </a:cubicBezTo>
                    <a:cubicBezTo>
                      <a:pt x="211" y="369"/>
                      <a:pt x="211" y="369"/>
                      <a:pt x="211" y="369"/>
                    </a:cubicBezTo>
                    <a:cubicBezTo>
                      <a:pt x="212" y="368"/>
                      <a:pt x="212" y="368"/>
                      <a:pt x="212" y="368"/>
                    </a:cubicBezTo>
                    <a:cubicBezTo>
                      <a:pt x="212" y="368"/>
                      <a:pt x="212" y="368"/>
                      <a:pt x="212" y="368"/>
                    </a:cubicBezTo>
                    <a:cubicBezTo>
                      <a:pt x="212" y="368"/>
                      <a:pt x="212" y="368"/>
                      <a:pt x="212" y="368"/>
                    </a:cubicBezTo>
                    <a:cubicBezTo>
                      <a:pt x="212" y="366"/>
                      <a:pt x="212" y="366"/>
                      <a:pt x="212" y="366"/>
                    </a:cubicBezTo>
                    <a:cubicBezTo>
                      <a:pt x="212" y="366"/>
                      <a:pt x="212" y="366"/>
                      <a:pt x="212" y="366"/>
                    </a:cubicBezTo>
                    <a:cubicBezTo>
                      <a:pt x="213" y="365"/>
                      <a:pt x="213" y="365"/>
                      <a:pt x="213" y="365"/>
                    </a:cubicBezTo>
                    <a:cubicBezTo>
                      <a:pt x="213" y="365"/>
                      <a:pt x="213" y="365"/>
                      <a:pt x="213" y="365"/>
                    </a:cubicBezTo>
                    <a:cubicBezTo>
                      <a:pt x="213" y="364"/>
                      <a:pt x="213" y="364"/>
                      <a:pt x="213" y="364"/>
                    </a:cubicBezTo>
                    <a:cubicBezTo>
                      <a:pt x="214" y="364"/>
                      <a:pt x="214" y="364"/>
                      <a:pt x="214" y="364"/>
                    </a:cubicBezTo>
                    <a:cubicBezTo>
                      <a:pt x="215" y="364"/>
                      <a:pt x="215" y="364"/>
                      <a:pt x="215" y="364"/>
                    </a:cubicBezTo>
                    <a:cubicBezTo>
                      <a:pt x="215" y="364"/>
                      <a:pt x="215" y="364"/>
                      <a:pt x="215" y="364"/>
                    </a:cubicBezTo>
                    <a:cubicBezTo>
                      <a:pt x="215" y="364"/>
                      <a:pt x="215" y="364"/>
                      <a:pt x="215" y="364"/>
                    </a:cubicBezTo>
                    <a:cubicBezTo>
                      <a:pt x="216" y="364"/>
                      <a:pt x="216" y="364"/>
                      <a:pt x="216" y="364"/>
                    </a:cubicBezTo>
                    <a:cubicBezTo>
                      <a:pt x="216" y="365"/>
                      <a:pt x="216" y="365"/>
                      <a:pt x="216" y="365"/>
                    </a:cubicBezTo>
                    <a:cubicBezTo>
                      <a:pt x="217" y="365"/>
                      <a:pt x="217" y="365"/>
                      <a:pt x="217" y="365"/>
                    </a:cubicBezTo>
                    <a:cubicBezTo>
                      <a:pt x="217" y="366"/>
                      <a:pt x="217" y="366"/>
                      <a:pt x="217" y="366"/>
                    </a:cubicBezTo>
                    <a:cubicBezTo>
                      <a:pt x="218" y="366"/>
                      <a:pt x="218" y="366"/>
                      <a:pt x="218" y="366"/>
                    </a:cubicBezTo>
                    <a:cubicBezTo>
                      <a:pt x="218" y="366"/>
                      <a:pt x="218" y="366"/>
                      <a:pt x="218" y="366"/>
                    </a:cubicBezTo>
                    <a:cubicBezTo>
                      <a:pt x="219" y="366"/>
                      <a:pt x="219" y="366"/>
                      <a:pt x="219" y="366"/>
                    </a:cubicBezTo>
                    <a:cubicBezTo>
                      <a:pt x="219" y="367"/>
                      <a:pt x="219" y="367"/>
                      <a:pt x="219" y="367"/>
                    </a:cubicBezTo>
                    <a:cubicBezTo>
                      <a:pt x="220" y="367"/>
                      <a:pt x="220" y="367"/>
                      <a:pt x="220" y="367"/>
                    </a:cubicBezTo>
                    <a:cubicBezTo>
                      <a:pt x="220" y="367"/>
                      <a:pt x="220" y="367"/>
                      <a:pt x="220" y="367"/>
                    </a:cubicBezTo>
                    <a:cubicBezTo>
                      <a:pt x="220" y="368"/>
                      <a:pt x="220" y="368"/>
                      <a:pt x="220" y="368"/>
                    </a:cubicBezTo>
                    <a:cubicBezTo>
                      <a:pt x="221" y="368"/>
                      <a:pt x="221" y="368"/>
                      <a:pt x="221" y="368"/>
                    </a:cubicBezTo>
                    <a:cubicBezTo>
                      <a:pt x="221" y="368"/>
                      <a:pt x="221" y="368"/>
                      <a:pt x="221" y="368"/>
                    </a:cubicBezTo>
                    <a:cubicBezTo>
                      <a:pt x="222" y="368"/>
                      <a:pt x="222" y="368"/>
                      <a:pt x="222" y="368"/>
                    </a:cubicBezTo>
                    <a:cubicBezTo>
                      <a:pt x="222" y="368"/>
                      <a:pt x="222" y="368"/>
                      <a:pt x="222" y="368"/>
                    </a:cubicBezTo>
                    <a:cubicBezTo>
                      <a:pt x="223" y="368"/>
                      <a:pt x="223" y="368"/>
                      <a:pt x="223" y="368"/>
                    </a:cubicBezTo>
                    <a:cubicBezTo>
                      <a:pt x="224" y="368"/>
                      <a:pt x="224" y="368"/>
                      <a:pt x="224" y="368"/>
                    </a:cubicBezTo>
                    <a:cubicBezTo>
                      <a:pt x="224" y="368"/>
                      <a:pt x="224" y="368"/>
                      <a:pt x="224" y="368"/>
                    </a:cubicBezTo>
                    <a:cubicBezTo>
                      <a:pt x="224" y="368"/>
                      <a:pt x="224" y="368"/>
                      <a:pt x="224" y="368"/>
                    </a:cubicBezTo>
                    <a:cubicBezTo>
                      <a:pt x="225" y="368"/>
                      <a:pt x="225" y="368"/>
                      <a:pt x="225" y="368"/>
                    </a:cubicBezTo>
                    <a:cubicBezTo>
                      <a:pt x="225" y="369"/>
                      <a:pt x="225" y="369"/>
                      <a:pt x="225" y="369"/>
                    </a:cubicBezTo>
                    <a:cubicBezTo>
                      <a:pt x="226" y="369"/>
                      <a:pt x="226" y="369"/>
                      <a:pt x="226" y="369"/>
                    </a:cubicBezTo>
                    <a:cubicBezTo>
                      <a:pt x="227" y="369"/>
                      <a:pt x="227" y="369"/>
                      <a:pt x="227" y="369"/>
                    </a:cubicBezTo>
                    <a:cubicBezTo>
                      <a:pt x="227" y="369"/>
                      <a:pt x="227" y="369"/>
                      <a:pt x="227" y="369"/>
                    </a:cubicBezTo>
                    <a:cubicBezTo>
                      <a:pt x="228" y="368"/>
                      <a:pt x="228" y="368"/>
                      <a:pt x="228" y="368"/>
                    </a:cubicBezTo>
                    <a:cubicBezTo>
                      <a:pt x="227" y="368"/>
                      <a:pt x="227" y="368"/>
                      <a:pt x="227" y="368"/>
                    </a:cubicBezTo>
                    <a:cubicBezTo>
                      <a:pt x="225" y="368"/>
                      <a:pt x="225" y="368"/>
                      <a:pt x="225" y="368"/>
                    </a:cubicBezTo>
                    <a:cubicBezTo>
                      <a:pt x="224" y="368"/>
                      <a:pt x="224" y="368"/>
                      <a:pt x="224" y="368"/>
                    </a:cubicBezTo>
                    <a:cubicBezTo>
                      <a:pt x="223" y="368"/>
                      <a:pt x="223" y="368"/>
                      <a:pt x="223" y="368"/>
                    </a:cubicBezTo>
                    <a:cubicBezTo>
                      <a:pt x="222" y="367"/>
                      <a:pt x="222" y="367"/>
                      <a:pt x="222" y="367"/>
                    </a:cubicBezTo>
                    <a:cubicBezTo>
                      <a:pt x="222" y="367"/>
                      <a:pt x="222" y="367"/>
                      <a:pt x="222" y="367"/>
                    </a:cubicBezTo>
                    <a:cubicBezTo>
                      <a:pt x="221" y="366"/>
                      <a:pt x="221" y="366"/>
                      <a:pt x="221" y="366"/>
                    </a:cubicBezTo>
                    <a:cubicBezTo>
                      <a:pt x="221" y="366"/>
                      <a:pt x="221" y="366"/>
                      <a:pt x="221" y="366"/>
                    </a:cubicBezTo>
                    <a:cubicBezTo>
                      <a:pt x="220" y="366"/>
                      <a:pt x="220" y="366"/>
                      <a:pt x="220" y="366"/>
                    </a:cubicBezTo>
                    <a:cubicBezTo>
                      <a:pt x="218" y="366"/>
                      <a:pt x="218" y="366"/>
                      <a:pt x="218" y="366"/>
                    </a:cubicBezTo>
                    <a:cubicBezTo>
                      <a:pt x="218" y="366"/>
                      <a:pt x="218" y="366"/>
                      <a:pt x="218" y="366"/>
                    </a:cubicBezTo>
                    <a:cubicBezTo>
                      <a:pt x="217" y="365"/>
                      <a:pt x="217" y="365"/>
                      <a:pt x="217" y="365"/>
                    </a:cubicBezTo>
                    <a:cubicBezTo>
                      <a:pt x="217" y="364"/>
                      <a:pt x="217" y="364"/>
                      <a:pt x="217" y="364"/>
                    </a:cubicBezTo>
                    <a:cubicBezTo>
                      <a:pt x="216" y="364"/>
                      <a:pt x="216" y="364"/>
                      <a:pt x="216" y="364"/>
                    </a:cubicBezTo>
                    <a:cubicBezTo>
                      <a:pt x="216" y="362"/>
                      <a:pt x="216" y="362"/>
                      <a:pt x="216" y="362"/>
                    </a:cubicBezTo>
                    <a:cubicBezTo>
                      <a:pt x="215" y="361"/>
                      <a:pt x="215" y="361"/>
                      <a:pt x="215" y="361"/>
                    </a:cubicBezTo>
                    <a:cubicBezTo>
                      <a:pt x="216" y="360"/>
                      <a:pt x="216" y="360"/>
                      <a:pt x="216" y="360"/>
                    </a:cubicBezTo>
                    <a:cubicBezTo>
                      <a:pt x="216" y="360"/>
                      <a:pt x="216" y="360"/>
                      <a:pt x="216" y="360"/>
                    </a:cubicBezTo>
                    <a:cubicBezTo>
                      <a:pt x="216" y="359"/>
                      <a:pt x="216" y="359"/>
                      <a:pt x="216" y="359"/>
                    </a:cubicBezTo>
                    <a:cubicBezTo>
                      <a:pt x="216" y="359"/>
                      <a:pt x="216" y="359"/>
                      <a:pt x="216" y="359"/>
                    </a:cubicBezTo>
                    <a:cubicBezTo>
                      <a:pt x="217" y="358"/>
                      <a:pt x="217" y="358"/>
                      <a:pt x="217" y="358"/>
                    </a:cubicBezTo>
                    <a:cubicBezTo>
                      <a:pt x="217" y="357"/>
                      <a:pt x="217" y="357"/>
                      <a:pt x="217" y="357"/>
                    </a:cubicBezTo>
                    <a:cubicBezTo>
                      <a:pt x="218" y="357"/>
                      <a:pt x="218" y="357"/>
                      <a:pt x="218" y="357"/>
                    </a:cubicBezTo>
                    <a:cubicBezTo>
                      <a:pt x="218" y="356"/>
                      <a:pt x="218" y="356"/>
                      <a:pt x="218" y="356"/>
                    </a:cubicBezTo>
                    <a:cubicBezTo>
                      <a:pt x="218" y="356"/>
                      <a:pt x="218" y="356"/>
                      <a:pt x="218" y="356"/>
                    </a:cubicBezTo>
                    <a:cubicBezTo>
                      <a:pt x="219" y="356"/>
                      <a:pt x="219" y="356"/>
                      <a:pt x="219" y="356"/>
                    </a:cubicBezTo>
                    <a:cubicBezTo>
                      <a:pt x="219" y="356"/>
                      <a:pt x="219" y="356"/>
                      <a:pt x="219" y="356"/>
                    </a:cubicBezTo>
                    <a:cubicBezTo>
                      <a:pt x="220" y="356"/>
                      <a:pt x="220" y="356"/>
                      <a:pt x="220" y="356"/>
                    </a:cubicBezTo>
                    <a:cubicBezTo>
                      <a:pt x="220" y="357"/>
                      <a:pt x="220" y="357"/>
                      <a:pt x="220" y="357"/>
                    </a:cubicBezTo>
                    <a:cubicBezTo>
                      <a:pt x="220" y="358"/>
                      <a:pt x="220" y="358"/>
                      <a:pt x="220" y="358"/>
                    </a:cubicBezTo>
                    <a:cubicBezTo>
                      <a:pt x="220" y="358"/>
                      <a:pt x="220" y="358"/>
                      <a:pt x="220" y="358"/>
                    </a:cubicBezTo>
                    <a:cubicBezTo>
                      <a:pt x="221" y="358"/>
                      <a:pt x="221" y="358"/>
                      <a:pt x="221" y="358"/>
                    </a:cubicBezTo>
                    <a:cubicBezTo>
                      <a:pt x="222" y="358"/>
                      <a:pt x="222" y="358"/>
                      <a:pt x="222" y="358"/>
                    </a:cubicBezTo>
                    <a:cubicBezTo>
                      <a:pt x="222" y="357"/>
                      <a:pt x="222" y="357"/>
                      <a:pt x="222" y="357"/>
                    </a:cubicBezTo>
                    <a:cubicBezTo>
                      <a:pt x="222" y="356"/>
                      <a:pt x="222" y="356"/>
                      <a:pt x="222" y="356"/>
                    </a:cubicBezTo>
                    <a:cubicBezTo>
                      <a:pt x="222" y="355"/>
                      <a:pt x="222" y="355"/>
                      <a:pt x="222" y="355"/>
                    </a:cubicBezTo>
                    <a:cubicBezTo>
                      <a:pt x="222" y="355"/>
                      <a:pt x="222" y="355"/>
                      <a:pt x="222" y="355"/>
                    </a:cubicBezTo>
                    <a:cubicBezTo>
                      <a:pt x="223" y="355"/>
                      <a:pt x="223" y="355"/>
                      <a:pt x="223" y="355"/>
                    </a:cubicBezTo>
                    <a:cubicBezTo>
                      <a:pt x="223" y="356"/>
                      <a:pt x="223" y="356"/>
                      <a:pt x="223" y="356"/>
                    </a:cubicBezTo>
                    <a:cubicBezTo>
                      <a:pt x="223" y="356"/>
                      <a:pt x="223" y="356"/>
                      <a:pt x="223" y="356"/>
                    </a:cubicBezTo>
                    <a:cubicBezTo>
                      <a:pt x="224" y="357"/>
                      <a:pt x="224" y="357"/>
                      <a:pt x="224" y="357"/>
                    </a:cubicBezTo>
                    <a:cubicBezTo>
                      <a:pt x="223" y="358"/>
                      <a:pt x="223" y="358"/>
                      <a:pt x="223" y="358"/>
                    </a:cubicBezTo>
                    <a:cubicBezTo>
                      <a:pt x="223" y="358"/>
                      <a:pt x="223" y="358"/>
                      <a:pt x="223" y="358"/>
                    </a:cubicBezTo>
                    <a:cubicBezTo>
                      <a:pt x="224" y="359"/>
                      <a:pt x="224" y="359"/>
                      <a:pt x="224" y="359"/>
                    </a:cubicBezTo>
                    <a:cubicBezTo>
                      <a:pt x="224" y="358"/>
                      <a:pt x="224" y="358"/>
                      <a:pt x="224" y="358"/>
                    </a:cubicBezTo>
                    <a:cubicBezTo>
                      <a:pt x="225" y="358"/>
                      <a:pt x="225" y="358"/>
                      <a:pt x="225" y="358"/>
                    </a:cubicBezTo>
                    <a:cubicBezTo>
                      <a:pt x="225" y="359"/>
                      <a:pt x="225" y="359"/>
                      <a:pt x="225" y="359"/>
                    </a:cubicBezTo>
                    <a:cubicBezTo>
                      <a:pt x="226" y="360"/>
                      <a:pt x="226" y="360"/>
                      <a:pt x="226" y="360"/>
                    </a:cubicBezTo>
                    <a:cubicBezTo>
                      <a:pt x="226" y="360"/>
                      <a:pt x="226" y="360"/>
                      <a:pt x="226" y="360"/>
                    </a:cubicBezTo>
                    <a:cubicBezTo>
                      <a:pt x="227" y="361"/>
                      <a:pt x="227" y="361"/>
                      <a:pt x="227" y="361"/>
                    </a:cubicBezTo>
                    <a:cubicBezTo>
                      <a:pt x="228" y="364"/>
                      <a:pt x="228" y="364"/>
                      <a:pt x="228" y="364"/>
                    </a:cubicBezTo>
                    <a:cubicBezTo>
                      <a:pt x="229" y="362"/>
                      <a:pt x="229" y="362"/>
                      <a:pt x="229" y="362"/>
                    </a:cubicBezTo>
                    <a:cubicBezTo>
                      <a:pt x="229" y="360"/>
                      <a:pt x="229" y="360"/>
                      <a:pt x="229" y="360"/>
                    </a:cubicBezTo>
                    <a:cubicBezTo>
                      <a:pt x="228" y="359"/>
                      <a:pt x="228" y="359"/>
                      <a:pt x="228" y="359"/>
                    </a:cubicBezTo>
                    <a:cubicBezTo>
                      <a:pt x="228" y="358"/>
                      <a:pt x="228" y="358"/>
                      <a:pt x="228" y="358"/>
                    </a:cubicBezTo>
                    <a:cubicBezTo>
                      <a:pt x="227" y="356"/>
                      <a:pt x="227" y="356"/>
                      <a:pt x="227" y="356"/>
                    </a:cubicBezTo>
                    <a:cubicBezTo>
                      <a:pt x="227" y="355"/>
                      <a:pt x="227" y="355"/>
                      <a:pt x="227" y="355"/>
                    </a:cubicBezTo>
                    <a:cubicBezTo>
                      <a:pt x="227" y="352"/>
                      <a:pt x="227" y="352"/>
                      <a:pt x="227" y="352"/>
                    </a:cubicBezTo>
                    <a:cubicBezTo>
                      <a:pt x="228" y="350"/>
                      <a:pt x="228" y="350"/>
                      <a:pt x="228" y="350"/>
                    </a:cubicBezTo>
                    <a:cubicBezTo>
                      <a:pt x="228" y="349"/>
                      <a:pt x="228" y="349"/>
                      <a:pt x="228" y="349"/>
                    </a:cubicBezTo>
                    <a:cubicBezTo>
                      <a:pt x="228" y="348"/>
                      <a:pt x="228" y="348"/>
                      <a:pt x="228" y="348"/>
                    </a:cubicBezTo>
                    <a:cubicBezTo>
                      <a:pt x="228" y="346"/>
                      <a:pt x="228" y="346"/>
                      <a:pt x="228" y="346"/>
                    </a:cubicBezTo>
                    <a:cubicBezTo>
                      <a:pt x="227" y="344"/>
                      <a:pt x="227" y="344"/>
                      <a:pt x="227" y="344"/>
                    </a:cubicBezTo>
                    <a:cubicBezTo>
                      <a:pt x="225" y="341"/>
                      <a:pt x="225" y="341"/>
                      <a:pt x="225" y="341"/>
                    </a:cubicBezTo>
                    <a:cubicBezTo>
                      <a:pt x="222" y="335"/>
                      <a:pt x="222" y="335"/>
                      <a:pt x="222" y="335"/>
                    </a:cubicBezTo>
                    <a:cubicBezTo>
                      <a:pt x="221" y="331"/>
                      <a:pt x="221" y="331"/>
                      <a:pt x="221" y="331"/>
                    </a:cubicBezTo>
                    <a:cubicBezTo>
                      <a:pt x="220" y="327"/>
                      <a:pt x="220" y="327"/>
                      <a:pt x="220" y="327"/>
                    </a:cubicBezTo>
                    <a:cubicBezTo>
                      <a:pt x="220" y="325"/>
                      <a:pt x="220" y="325"/>
                      <a:pt x="220" y="325"/>
                    </a:cubicBezTo>
                    <a:cubicBezTo>
                      <a:pt x="220" y="323"/>
                      <a:pt x="220" y="323"/>
                      <a:pt x="220" y="323"/>
                    </a:cubicBezTo>
                    <a:cubicBezTo>
                      <a:pt x="221" y="322"/>
                      <a:pt x="221" y="322"/>
                      <a:pt x="221" y="322"/>
                    </a:cubicBezTo>
                    <a:cubicBezTo>
                      <a:pt x="220" y="318"/>
                      <a:pt x="220" y="318"/>
                      <a:pt x="220" y="318"/>
                    </a:cubicBezTo>
                    <a:cubicBezTo>
                      <a:pt x="221" y="317"/>
                      <a:pt x="221" y="317"/>
                      <a:pt x="221" y="317"/>
                    </a:cubicBezTo>
                    <a:cubicBezTo>
                      <a:pt x="221" y="315"/>
                      <a:pt x="221" y="315"/>
                      <a:pt x="221" y="315"/>
                    </a:cubicBezTo>
                    <a:cubicBezTo>
                      <a:pt x="222" y="315"/>
                      <a:pt x="222" y="315"/>
                      <a:pt x="222" y="315"/>
                    </a:cubicBezTo>
                    <a:cubicBezTo>
                      <a:pt x="222" y="313"/>
                      <a:pt x="222" y="313"/>
                      <a:pt x="222" y="313"/>
                    </a:cubicBezTo>
                    <a:cubicBezTo>
                      <a:pt x="223" y="311"/>
                      <a:pt x="223" y="311"/>
                      <a:pt x="223" y="311"/>
                    </a:cubicBezTo>
                    <a:cubicBezTo>
                      <a:pt x="223" y="310"/>
                      <a:pt x="223" y="310"/>
                      <a:pt x="223" y="310"/>
                    </a:cubicBezTo>
                    <a:cubicBezTo>
                      <a:pt x="223" y="308"/>
                      <a:pt x="223" y="308"/>
                      <a:pt x="223" y="308"/>
                    </a:cubicBezTo>
                    <a:cubicBezTo>
                      <a:pt x="224" y="306"/>
                      <a:pt x="224" y="306"/>
                      <a:pt x="224" y="306"/>
                    </a:cubicBezTo>
                    <a:cubicBezTo>
                      <a:pt x="224" y="305"/>
                      <a:pt x="224" y="305"/>
                      <a:pt x="224" y="305"/>
                    </a:cubicBezTo>
                    <a:cubicBezTo>
                      <a:pt x="224" y="303"/>
                      <a:pt x="224" y="303"/>
                      <a:pt x="224" y="303"/>
                    </a:cubicBezTo>
                    <a:cubicBezTo>
                      <a:pt x="223" y="302"/>
                      <a:pt x="223" y="302"/>
                      <a:pt x="223" y="302"/>
                    </a:cubicBezTo>
                    <a:cubicBezTo>
                      <a:pt x="224" y="301"/>
                      <a:pt x="224" y="301"/>
                      <a:pt x="224" y="301"/>
                    </a:cubicBezTo>
                    <a:cubicBezTo>
                      <a:pt x="224" y="300"/>
                      <a:pt x="224" y="300"/>
                      <a:pt x="224" y="300"/>
                    </a:cubicBezTo>
                    <a:cubicBezTo>
                      <a:pt x="224" y="299"/>
                      <a:pt x="224" y="299"/>
                      <a:pt x="224" y="299"/>
                    </a:cubicBezTo>
                    <a:cubicBezTo>
                      <a:pt x="224" y="296"/>
                      <a:pt x="224" y="296"/>
                      <a:pt x="224" y="296"/>
                    </a:cubicBezTo>
                    <a:cubicBezTo>
                      <a:pt x="224" y="296"/>
                      <a:pt x="224" y="296"/>
                      <a:pt x="224" y="296"/>
                    </a:cubicBezTo>
                    <a:cubicBezTo>
                      <a:pt x="222" y="294"/>
                      <a:pt x="222" y="294"/>
                      <a:pt x="222" y="294"/>
                    </a:cubicBezTo>
                    <a:cubicBezTo>
                      <a:pt x="222" y="294"/>
                      <a:pt x="222" y="294"/>
                      <a:pt x="222" y="294"/>
                    </a:cubicBezTo>
                    <a:cubicBezTo>
                      <a:pt x="222" y="292"/>
                      <a:pt x="222" y="292"/>
                      <a:pt x="222" y="292"/>
                    </a:cubicBezTo>
                    <a:cubicBezTo>
                      <a:pt x="222" y="291"/>
                      <a:pt x="222" y="291"/>
                      <a:pt x="222" y="291"/>
                    </a:cubicBezTo>
                    <a:cubicBezTo>
                      <a:pt x="221" y="290"/>
                      <a:pt x="221" y="290"/>
                      <a:pt x="221" y="290"/>
                    </a:cubicBezTo>
                    <a:cubicBezTo>
                      <a:pt x="220" y="288"/>
                      <a:pt x="220" y="288"/>
                      <a:pt x="220" y="288"/>
                    </a:cubicBezTo>
                    <a:cubicBezTo>
                      <a:pt x="219" y="285"/>
                      <a:pt x="219" y="285"/>
                      <a:pt x="219" y="285"/>
                    </a:cubicBezTo>
                    <a:cubicBezTo>
                      <a:pt x="218" y="282"/>
                      <a:pt x="218" y="282"/>
                      <a:pt x="218" y="282"/>
                    </a:cubicBezTo>
                    <a:cubicBezTo>
                      <a:pt x="218" y="279"/>
                      <a:pt x="218" y="279"/>
                      <a:pt x="218" y="279"/>
                    </a:cubicBezTo>
                    <a:cubicBezTo>
                      <a:pt x="217" y="276"/>
                      <a:pt x="217" y="276"/>
                      <a:pt x="217" y="276"/>
                    </a:cubicBezTo>
                    <a:cubicBezTo>
                      <a:pt x="215" y="270"/>
                      <a:pt x="215" y="270"/>
                      <a:pt x="215" y="270"/>
                    </a:cubicBezTo>
                    <a:cubicBezTo>
                      <a:pt x="214" y="268"/>
                      <a:pt x="214" y="268"/>
                      <a:pt x="214" y="268"/>
                    </a:cubicBezTo>
                    <a:cubicBezTo>
                      <a:pt x="214" y="266"/>
                      <a:pt x="214" y="266"/>
                      <a:pt x="214" y="266"/>
                    </a:cubicBezTo>
                    <a:cubicBezTo>
                      <a:pt x="215" y="264"/>
                      <a:pt x="215" y="264"/>
                      <a:pt x="215" y="264"/>
                    </a:cubicBezTo>
                    <a:cubicBezTo>
                      <a:pt x="215" y="262"/>
                      <a:pt x="215" y="262"/>
                      <a:pt x="215" y="262"/>
                    </a:cubicBezTo>
                    <a:cubicBezTo>
                      <a:pt x="215" y="260"/>
                      <a:pt x="215" y="260"/>
                      <a:pt x="215" y="260"/>
                    </a:cubicBezTo>
                    <a:cubicBezTo>
                      <a:pt x="216" y="259"/>
                      <a:pt x="216" y="259"/>
                      <a:pt x="216" y="259"/>
                    </a:cubicBezTo>
                    <a:cubicBezTo>
                      <a:pt x="216" y="258"/>
                      <a:pt x="216" y="258"/>
                      <a:pt x="216" y="258"/>
                    </a:cubicBezTo>
                    <a:cubicBezTo>
                      <a:pt x="215" y="257"/>
                      <a:pt x="215" y="257"/>
                      <a:pt x="215" y="257"/>
                    </a:cubicBezTo>
                    <a:cubicBezTo>
                      <a:pt x="214" y="256"/>
                      <a:pt x="214" y="256"/>
                      <a:pt x="214" y="256"/>
                    </a:cubicBezTo>
                    <a:cubicBezTo>
                      <a:pt x="215" y="256"/>
                      <a:pt x="215" y="256"/>
                      <a:pt x="215" y="256"/>
                    </a:cubicBezTo>
                    <a:cubicBezTo>
                      <a:pt x="216" y="256"/>
                      <a:pt x="216" y="256"/>
                      <a:pt x="216" y="256"/>
                    </a:cubicBezTo>
                    <a:cubicBezTo>
                      <a:pt x="217" y="257"/>
                      <a:pt x="217" y="257"/>
                      <a:pt x="217" y="257"/>
                    </a:cubicBezTo>
                    <a:cubicBezTo>
                      <a:pt x="217" y="256"/>
                      <a:pt x="217" y="256"/>
                      <a:pt x="217" y="256"/>
                    </a:cubicBezTo>
                    <a:cubicBezTo>
                      <a:pt x="217" y="255"/>
                      <a:pt x="217" y="255"/>
                      <a:pt x="217" y="255"/>
                    </a:cubicBezTo>
                    <a:cubicBezTo>
                      <a:pt x="217" y="254"/>
                      <a:pt x="217" y="254"/>
                      <a:pt x="217" y="254"/>
                    </a:cubicBezTo>
                    <a:cubicBezTo>
                      <a:pt x="217" y="253"/>
                      <a:pt x="217" y="253"/>
                      <a:pt x="217" y="253"/>
                    </a:cubicBezTo>
                    <a:cubicBezTo>
                      <a:pt x="217" y="252"/>
                      <a:pt x="217" y="252"/>
                      <a:pt x="217" y="252"/>
                    </a:cubicBezTo>
                    <a:cubicBezTo>
                      <a:pt x="217" y="250"/>
                      <a:pt x="217" y="250"/>
                      <a:pt x="217" y="250"/>
                    </a:cubicBezTo>
                    <a:cubicBezTo>
                      <a:pt x="217" y="249"/>
                      <a:pt x="217" y="249"/>
                      <a:pt x="217" y="249"/>
                    </a:cubicBezTo>
                    <a:cubicBezTo>
                      <a:pt x="218" y="247"/>
                      <a:pt x="218" y="247"/>
                      <a:pt x="218" y="247"/>
                    </a:cubicBezTo>
                    <a:cubicBezTo>
                      <a:pt x="219" y="246"/>
                      <a:pt x="219" y="246"/>
                      <a:pt x="219" y="246"/>
                    </a:cubicBezTo>
                    <a:cubicBezTo>
                      <a:pt x="221" y="244"/>
                      <a:pt x="221" y="244"/>
                      <a:pt x="221" y="244"/>
                    </a:cubicBezTo>
                    <a:cubicBezTo>
                      <a:pt x="221" y="243"/>
                      <a:pt x="221" y="243"/>
                      <a:pt x="221" y="243"/>
                    </a:cubicBezTo>
                    <a:cubicBezTo>
                      <a:pt x="223" y="242"/>
                      <a:pt x="223" y="242"/>
                      <a:pt x="223" y="242"/>
                    </a:cubicBezTo>
                    <a:cubicBezTo>
                      <a:pt x="224" y="241"/>
                      <a:pt x="224" y="241"/>
                      <a:pt x="224" y="241"/>
                    </a:cubicBezTo>
                    <a:cubicBezTo>
                      <a:pt x="225" y="240"/>
                      <a:pt x="225" y="240"/>
                      <a:pt x="225" y="240"/>
                    </a:cubicBezTo>
                    <a:cubicBezTo>
                      <a:pt x="225" y="239"/>
                      <a:pt x="225" y="239"/>
                      <a:pt x="225" y="239"/>
                    </a:cubicBezTo>
                    <a:cubicBezTo>
                      <a:pt x="225" y="238"/>
                      <a:pt x="225" y="238"/>
                      <a:pt x="225" y="238"/>
                    </a:cubicBezTo>
                    <a:cubicBezTo>
                      <a:pt x="224" y="238"/>
                      <a:pt x="224" y="238"/>
                      <a:pt x="224" y="238"/>
                    </a:cubicBezTo>
                    <a:cubicBezTo>
                      <a:pt x="224" y="237"/>
                      <a:pt x="224" y="237"/>
                      <a:pt x="224" y="237"/>
                    </a:cubicBezTo>
                    <a:cubicBezTo>
                      <a:pt x="225" y="236"/>
                      <a:pt x="225" y="236"/>
                      <a:pt x="225" y="236"/>
                    </a:cubicBezTo>
                    <a:cubicBezTo>
                      <a:pt x="226" y="235"/>
                      <a:pt x="226" y="235"/>
                      <a:pt x="226" y="235"/>
                    </a:cubicBezTo>
                    <a:cubicBezTo>
                      <a:pt x="226" y="234"/>
                      <a:pt x="226" y="234"/>
                      <a:pt x="226" y="234"/>
                    </a:cubicBezTo>
                    <a:cubicBezTo>
                      <a:pt x="227" y="232"/>
                      <a:pt x="227" y="232"/>
                      <a:pt x="227" y="232"/>
                    </a:cubicBezTo>
                    <a:cubicBezTo>
                      <a:pt x="227" y="230"/>
                      <a:pt x="227" y="230"/>
                      <a:pt x="227" y="230"/>
                    </a:cubicBezTo>
                    <a:cubicBezTo>
                      <a:pt x="228" y="227"/>
                      <a:pt x="228" y="227"/>
                      <a:pt x="228" y="227"/>
                    </a:cubicBezTo>
                    <a:cubicBezTo>
                      <a:pt x="231" y="224"/>
                      <a:pt x="231" y="224"/>
                      <a:pt x="231" y="224"/>
                    </a:cubicBezTo>
                    <a:cubicBezTo>
                      <a:pt x="232" y="224"/>
                      <a:pt x="232" y="224"/>
                      <a:pt x="232" y="224"/>
                    </a:cubicBezTo>
                    <a:cubicBezTo>
                      <a:pt x="232" y="223"/>
                      <a:pt x="232" y="223"/>
                      <a:pt x="232" y="223"/>
                    </a:cubicBezTo>
                    <a:cubicBezTo>
                      <a:pt x="233" y="221"/>
                      <a:pt x="233" y="221"/>
                      <a:pt x="233" y="221"/>
                    </a:cubicBezTo>
                    <a:cubicBezTo>
                      <a:pt x="234" y="221"/>
                      <a:pt x="234" y="221"/>
                      <a:pt x="234" y="221"/>
                    </a:cubicBezTo>
                    <a:cubicBezTo>
                      <a:pt x="235" y="219"/>
                      <a:pt x="235" y="219"/>
                      <a:pt x="235" y="219"/>
                    </a:cubicBezTo>
                    <a:cubicBezTo>
                      <a:pt x="237" y="218"/>
                      <a:pt x="237" y="218"/>
                      <a:pt x="237" y="218"/>
                    </a:cubicBezTo>
                    <a:cubicBezTo>
                      <a:pt x="238" y="217"/>
                      <a:pt x="238" y="217"/>
                      <a:pt x="238" y="217"/>
                    </a:cubicBezTo>
                    <a:cubicBezTo>
                      <a:pt x="240" y="217"/>
                      <a:pt x="240" y="217"/>
                      <a:pt x="240" y="217"/>
                    </a:cubicBezTo>
                    <a:cubicBezTo>
                      <a:pt x="242" y="216"/>
                      <a:pt x="242" y="216"/>
                      <a:pt x="242" y="216"/>
                    </a:cubicBezTo>
                    <a:cubicBezTo>
                      <a:pt x="243" y="216"/>
                      <a:pt x="243" y="216"/>
                      <a:pt x="243" y="216"/>
                    </a:cubicBezTo>
                    <a:cubicBezTo>
                      <a:pt x="244" y="215"/>
                      <a:pt x="244" y="215"/>
                      <a:pt x="244" y="215"/>
                    </a:cubicBezTo>
                    <a:cubicBezTo>
                      <a:pt x="244" y="214"/>
                      <a:pt x="244" y="214"/>
                      <a:pt x="244" y="214"/>
                    </a:cubicBezTo>
                    <a:cubicBezTo>
                      <a:pt x="244" y="213"/>
                      <a:pt x="244" y="213"/>
                      <a:pt x="244" y="213"/>
                    </a:cubicBezTo>
                    <a:cubicBezTo>
                      <a:pt x="246" y="213"/>
                      <a:pt x="246" y="213"/>
                      <a:pt x="246" y="213"/>
                    </a:cubicBezTo>
                    <a:cubicBezTo>
                      <a:pt x="247" y="213"/>
                      <a:pt x="247" y="213"/>
                      <a:pt x="247" y="213"/>
                    </a:cubicBezTo>
                    <a:cubicBezTo>
                      <a:pt x="248" y="213"/>
                      <a:pt x="248" y="213"/>
                      <a:pt x="248" y="213"/>
                    </a:cubicBezTo>
                    <a:cubicBezTo>
                      <a:pt x="248" y="212"/>
                      <a:pt x="248" y="212"/>
                      <a:pt x="248" y="212"/>
                    </a:cubicBezTo>
                    <a:cubicBezTo>
                      <a:pt x="249" y="212"/>
                      <a:pt x="249" y="212"/>
                      <a:pt x="249" y="212"/>
                    </a:cubicBezTo>
                    <a:cubicBezTo>
                      <a:pt x="250" y="212"/>
                      <a:pt x="250" y="212"/>
                      <a:pt x="250" y="212"/>
                    </a:cubicBezTo>
                    <a:cubicBezTo>
                      <a:pt x="250" y="212"/>
                      <a:pt x="250" y="212"/>
                      <a:pt x="250" y="212"/>
                    </a:cubicBezTo>
                    <a:cubicBezTo>
                      <a:pt x="250" y="213"/>
                      <a:pt x="250" y="213"/>
                      <a:pt x="250" y="213"/>
                    </a:cubicBezTo>
                    <a:cubicBezTo>
                      <a:pt x="251" y="213"/>
                      <a:pt x="251" y="213"/>
                      <a:pt x="251" y="213"/>
                    </a:cubicBezTo>
                    <a:cubicBezTo>
                      <a:pt x="252" y="213"/>
                      <a:pt x="252" y="213"/>
                      <a:pt x="252" y="213"/>
                    </a:cubicBezTo>
                    <a:cubicBezTo>
                      <a:pt x="253" y="212"/>
                      <a:pt x="253" y="212"/>
                      <a:pt x="253" y="212"/>
                    </a:cubicBezTo>
                    <a:cubicBezTo>
                      <a:pt x="254" y="212"/>
                      <a:pt x="254" y="212"/>
                      <a:pt x="254" y="212"/>
                    </a:cubicBezTo>
                    <a:cubicBezTo>
                      <a:pt x="254" y="212"/>
                      <a:pt x="254" y="212"/>
                      <a:pt x="254" y="212"/>
                    </a:cubicBezTo>
                    <a:cubicBezTo>
                      <a:pt x="255" y="212"/>
                      <a:pt x="255" y="212"/>
                      <a:pt x="255" y="212"/>
                    </a:cubicBezTo>
                    <a:cubicBezTo>
                      <a:pt x="256" y="212"/>
                      <a:pt x="256" y="212"/>
                      <a:pt x="256" y="212"/>
                    </a:cubicBezTo>
                    <a:cubicBezTo>
                      <a:pt x="256" y="212"/>
                      <a:pt x="256" y="212"/>
                      <a:pt x="256" y="212"/>
                    </a:cubicBezTo>
                    <a:cubicBezTo>
                      <a:pt x="257" y="211"/>
                      <a:pt x="257" y="211"/>
                      <a:pt x="257" y="211"/>
                    </a:cubicBezTo>
                    <a:cubicBezTo>
                      <a:pt x="258" y="211"/>
                      <a:pt x="258" y="211"/>
                      <a:pt x="258" y="211"/>
                    </a:cubicBezTo>
                    <a:cubicBezTo>
                      <a:pt x="258" y="211"/>
                      <a:pt x="258" y="211"/>
                      <a:pt x="258" y="211"/>
                    </a:cubicBezTo>
                    <a:cubicBezTo>
                      <a:pt x="259" y="212"/>
                      <a:pt x="259" y="212"/>
                      <a:pt x="259" y="212"/>
                    </a:cubicBezTo>
                    <a:cubicBezTo>
                      <a:pt x="260" y="212"/>
                      <a:pt x="260" y="212"/>
                      <a:pt x="260" y="212"/>
                    </a:cubicBezTo>
                    <a:cubicBezTo>
                      <a:pt x="262" y="212"/>
                      <a:pt x="262" y="212"/>
                      <a:pt x="262" y="212"/>
                    </a:cubicBezTo>
                    <a:cubicBezTo>
                      <a:pt x="262" y="213"/>
                      <a:pt x="262" y="213"/>
                      <a:pt x="262" y="213"/>
                    </a:cubicBezTo>
                    <a:cubicBezTo>
                      <a:pt x="263" y="215"/>
                      <a:pt x="263" y="215"/>
                      <a:pt x="263" y="215"/>
                    </a:cubicBezTo>
                    <a:cubicBezTo>
                      <a:pt x="264" y="216"/>
                      <a:pt x="264" y="216"/>
                      <a:pt x="264" y="216"/>
                    </a:cubicBezTo>
                    <a:cubicBezTo>
                      <a:pt x="264" y="217"/>
                      <a:pt x="264" y="217"/>
                      <a:pt x="264" y="217"/>
                    </a:cubicBezTo>
                    <a:cubicBezTo>
                      <a:pt x="264" y="218"/>
                      <a:pt x="264" y="218"/>
                      <a:pt x="264" y="218"/>
                    </a:cubicBezTo>
                    <a:cubicBezTo>
                      <a:pt x="263" y="218"/>
                      <a:pt x="263" y="218"/>
                      <a:pt x="263" y="218"/>
                    </a:cubicBezTo>
                    <a:cubicBezTo>
                      <a:pt x="262" y="218"/>
                      <a:pt x="262" y="218"/>
                      <a:pt x="262" y="218"/>
                    </a:cubicBezTo>
                    <a:cubicBezTo>
                      <a:pt x="262" y="219"/>
                      <a:pt x="262" y="219"/>
                      <a:pt x="262" y="219"/>
                    </a:cubicBezTo>
                    <a:cubicBezTo>
                      <a:pt x="263" y="220"/>
                      <a:pt x="263" y="220"/>
                      <a:pt x="263" y="220"/>
                    </a:cubicBezTo>
                    <a:cubicBezTo>
                      <a:pt x="264" y="221"/>
                      <a:pt x="264" y="221"/>
                      <a:pt x="264" y="221"/>
                    </a:cubicBezTo>
                    <a:cubicBezTo>
                      <a:pt x="264" y="222"/>
                      <a:pt x="264" y="222"/>
                      <a:pt x="264" y="222"/>
                    </a:cubicBezTo>
                    <a:cubicBezTo>
                      <a:pt x="265" y="223"/>
                      <a:pt x="265" y="223"/>
                      <a:pt x="265" y="223"/>
                    </a:cubicBezTo>
                    <a:cubicBezTo>
                      <a:pt x="265" y="223"/>
                      <a:pt x="265" y="223"/>
                      <a:pt x="265" y="223"/>
                    </a:cubicBezTo>
                    <a:cubicBezTo>
                      <a:pt x="265" y="222"/>
                      <a:pt x="265" y="222"/>
                      <a:pt x="265" y="222"/>
                    </a:cubicBezTo>
                    <a:cubicBezTo>
                      <a:pt x="265" y="221"/>
                      <a:pt x="265" y="221"/>
                      <a:pt x="265" y="221"/>
                    </a:cubicBezTo>
                    <a:cubicBezTo>
                      <a:pt x="266" y="221"/>
                      <a:pt x="266" y="221"/>
                      <a:pt x="266" y="221"/>
                    </a:cubicBezTo>
                    <a:cubicBezTo>
                      <a:pt x="266" y="220"/>
                      <a:pt x="266" y="220"/>
                      <a:pt x="266" y="220"/>
                    </a:cubicBezTo>
                    <a:cubicBezTo>
                      <a:pt x="266" y="219"/>
                      <a:pt x="266" y="219"/>
                      <a:pt x="266" y="219"/>
                    </a:cubicBezTo>
                    <a:cubicBezTo>
                      <a:pt x="266" y="217"/>
                      <a:pt x="266" y="217"/>
                      <a:pt x="266" y="217"/>
                    </a:cubicBezTo>
                    <a:cubicBezTo>
                      <a:pt x="267" y="216"/>
                      <a:pt x="267" y="216"/>
                      <a:pt x="267" y="216"/>
                    </a:cubicBezTo>
                    <a:cubicBezTo>
                      <a:pt x="267" y="216"/>
                      <a:pt x="267" y="216"/>
                      <a:pt x="267" y="216"/>
                    </a:cubicBezTo>
                    <a:cubicBezTo>
                      <a:pt x="267" y="215"/>
                      <a:pt x="267" y="215"/>
                      <a:pt x="267" y="215"/>
                    </a:cubicBezTo>
                    <a:cubicBezTo>
                      <a:pt x="268" y="214"/>
                      <a:pt x="268" y="214"/>
                      <a:pt x="268" y="214"/>
                    </a:cubicBezTo>
                    <a:cubicBezTo>
                      <a:pt x="268" y="213"/>
                      <a:pt x="268" y="213"/>
                      <a:pt x="268" y="213"/>
                    </a:cubicBezTo>
                    <a:cubicBezTo>
                      <a:pt x="269" y="212"/>
                      <a:pt x="269" y="212"/>
                      <a:pt x="269" y="212"/>
                    </a:cubicBezTo>
                    <a:cubicBezTo>
                      <a:pt x="270" y="212"/>
                      <a:pt x="270" y="212"/>
                      <a:pt x="270" y="212"/>
                    </a:cubicBezTo>
                    <a:cubicBezTo>
                      <a:pt x="270" y="213"/>
                      <a:pt x="270" y="213"/>
                      <a:pt x="270" y="213"/>
                    </a:cubicBezTo>
                    <a:cubicBezTo>
                      <a:pt x="270" y="213"/>
                      <a:pt x="270" y="213"/>
                      <a:pt x="270" y="213"/>
                    </a:cubicBezTo>
                    <a:cubicBezTo>
                      <a:pt x="270" y="213"/>
                      <a:pt x="270" y="213"/>
                      <a:pt x="270" y="213"/>
                    </a:cubicBezTo>
                    <a:cubicBezTo>
                      <a:pt x="270" y="213"/>
                      <a:pt x="270" y="213"/>
                      <a:pt x="270" y="213"/>
                    </a:cubicBezTo>
                    <a:cubicBezTo>
                      <a:pt x="270" y="214"/>
                      <a:pt x="270" y="214"/>
                      <a:pt x="270" y="214"/>
                    </a:cubicBezTo>
                    <a:cubicBezTo>
                      <a:pt x="270" y="214"/>
                      <a:pt x="270" y="214"/>
                      <a:pt x="270" y="214"/>
                    </a:cubicBezTo>
                    <a:cubicBezTo>
                      <a:pt x="271" y="215"/>
                      <a:pt x="271" y="215"/>
                      <a:pt x="271" y="215"/>
                    </a:cubicBezTo>
                    <a:cubicBezTo>
                      <a:pt x="271" y="215"/>
                      <a:pt x="271" y="215"/>
                      <a:pt x="271" y="215"/>
                    </a:cubicBezTo>
                    <a:cubicBezTo>
                      <a:pt x="271" y="215"/>
                      <a:pt x="271" y="215"/>
                      <a:pt x="271" y="215"/>
                    </a:cubicBezTo>
                    <a:cubicBezTo>
                      <a:pt x="272" y="215"/>
                      <a:pt x="272" y="215"/>
                      <a:pt x="272" y="215"/>
                    </a:cubicBezTo>
                    <a:cubicBezTo>
                      <a:pt x="272" y="215"/>
                      <a:pt x="272" y="215"/>
                      <a:pt x="272" y="215"/>
                    </a:cubicBezTo>
                    <a:cubicBezTo>
                      <a:pt x="272" y="215"/>
                      <a:pt x="272" y="215"/>
                      <a:pt x="272" y="215"/>
                    </a:cubicBezTo>
                    <a:cubicBezTo>
                      <a:pt x="273" y="215"/>
                      <a:pt x="273" y="215"/>
                      <a:pt x="273" y="215"/>
                    </a:cubicBezTo>
                    <a:cubicBezTo>
                      <a:pt x="273" y="216"/>
                      <a:pt x="273" y="216"/>
                      <a:pt x="273" y="216"/>
                    </a:cubicBezTo>
                    <a:cubicBezTo>
                      <a:pt x="273" y="216"/>
                      <a:pt x="273" y="216"/>
                      <a:pt x="273" y="216"/>
                    </a:cubicBezTo>
                    <a:cubicBezTo>
                      <a:pt x="273" y="216"/>
                      <a:pt x="273" y="216"/>
                      <a:pt x="273" y="216"/>
                    </a:cubicBezTo>
                    <a:cubicBezTo>
                      <a:pt x="274" y="216"/>
                      <a:pt x="274" y="216"/>
                      <a:pt x="274" y="216"/>
                    </a:cubicBezTo>
                    <a:cubicBezTo>
                      <a:pt x="274" y="217"/>
                      <a:pt x="274" y="217"/>
                      <a:pt x="274" y="217"/>
                    </a:cubicBezTo>
                    <a:cubicBezTo>
                      <a:pt x="274" y="217"/>
                      <a:pt x="274" y="217"/>
                      <a:pt x="274" y="217"/>
                    </a:cubicBezTo>
                    <a:cubicBezTo>
                      <a:pt x="275" y="217"/>
                      <a:pt x="275" y="217"/>
                      <a:pt x="275" y="217"/>
                    </a:cubicBezTo>
                    <a:cubicBezTo>
                      <a:pt x="275" y="218"/>
                      <a:pt x="275" y="218"/>
                      <a:pt x="275" y="218"/>
                    </a:cubicBezTo>
                    <a:cubicBezTo>
                      <a:pt x="275" y="218"/>
                      <a:pt x="275" y="218"/>
                      <a:pt x="275" y="218"/>
                    </a:cubicBezTo>
                    <a:cubicBezTo>
                      <a:pt x="275" y="218"/>
                      <a:pt x="275" y="218"/>
                      <a:pt x="275" y="218"/>
                    </a:cubicBezTo>
                    <a:cubicBezTo>
                      <a:pt x="275" y="218"/>
                      <a:pt x="275" y="218"/>
                      <a:pt x="275" y="218"/>
                    </a:cubicBezTo>
                    <a:cubicBezTo>
                      <a:pt x="276" y="219"/>
                      <a:pt x="276" y="219"/>
                      <a:pt x="276" y="219"/>
                    </a:cubicBezTo>
                    <a:cubicBezTo>
                      <a:pt x="276" y="219"/>
                      <a:pt x="276" y="219"/>
                      <a:pt x="276" y="219"/>
                    </a:cubicBezTo>
                    <a:cubicBezTo>
                      <a:pt x="276" y="219"/>
                      <a:pt x="276" y="219"/>
                      <a:pt x="276" y="219"/>
                    </a:cubicBezTo>
                    <a:cubicBezTo>
                      <a:pt x="277" y="219"/>
                      <a:pt x="277" y="219"/>
                      <a:pt x="277" y="219"/>
                    </a:cubicBezTo>
                    <a:cubicBezTo>
                      <a:pt x="277" y="219"/>
                      <a:pt x="277" y="219"/>
                      <a:pt x="277" y="219"/>
                    </a:cubicBezTo>
                    <a:cubicBezTo>
                      <a:pt x="277" y="218"/>
                      <a:pt x="277" y="218"/>
                      <a:pt x="277" y="218"/>
                    </a:cubicBezTo>
                    <a:cubicBezTo>
                      <a:pt x="277" y="217"/>
                      <a:pt x="277" y="217"/>
                      <a:pt x="277" y="217"/>
                    </a:cubicBezTo>
                    <a:cubicBezTo>
                      <a:pt x="277" y="216"/>
                      <a:pt x="277" y="216"/>
                      <a:pt x="277" y="216"/>
                    </a:cubicBezTo>
                    <a:cubicBezTo>
                      <a:pt x="277" y="214"/>
                      <a:pt x="277" y="214"/>
                      <a:pt x="277" y="214"/>
                    </a:cubicBezTo>
                    <a:cubicBezTo>
                      <a:pt x="277" y="213"/>
                      <a:pt x="277" y="213"/>
                      <a:pt x="277" y="213"/>
                    </a:cubicBezTo>
                    <a:cubicBezTo>
                      <a:pt x="278" y="212"/>
                      <a:pt x="278" y="212"/>
                      <a:pt x="278" y="212"/>
                    </a:cubicBezTo>
                    <a:cubicBezTo>
                      <a:pt x="280" y="210"/>
                      <a:pt x="280" y="210"/>
                      <a:pt x="280" y="210"/>
                    </a:cubicBezTo>
                    <a:cubicBezTo>
                      <a:pt x="283" y="208"/>
                      <a:pt x="283" y="208"/>
                      <a:pt x="283" y="208"/>
                    </a:cubicBezTo>
                    <a:cubicBezTo>
                      <a:pt x="285" y="207"/>
                      <a:pt x="285" y="207"/>
                      <a:pt x="285" y="207"/>
                    </a:cubicBezTo>
                    <a:cubicBezTo>
                      <a:pt x="285" y="206"/>
                      <a:pt x="285" y="206"/>
                      <a:pt x="285" y="206"/>
                    </a:cubicBezTo>
                    <a:cubicBezTo>
                      <a:pt x="285" y="206"/>
                      <a:pt x="285" y="206"/>
                      <a:pt x="285" y="206"/>
                    </a:cubicBezTo>
                    <a:cubicBezTo>
                      <a:pt x="284" y="204"/>
                      <a:pt x="284" y="204"/>
                      <a:pt x="284" y="204"/>
                    </a:cubicBezTo>
                    <a:cubicBezTo>
                      <a:pt x="285" y="204"/>
                      <a:pt x="285" y="204"/>
                      <a:pt x="285" y="204"/>
                    </a:cubicBezTo>
                    <a:cubicBezTo>
                      <a:pt x="286" y="205"/>
                      <a:pt x="286" y="205"/>
                      <a:pt x="286" y="205"/>
                    </a:cubicBezTo>
                    <a:cubicBezTo>
                      <a:pt x="286" y="205"/>
                      <a:pt x="286" y="205"/>
                      <a:pt x="286" y="205"/>
                    </a:cubicBezTo>
                    <a:cubicBezTo>
                      <a:pt x="287" y="206"/>
                      <a:pt x="287" y="206"/>
                      <a:pt x="287" y="206"/>
                    </a:cubicBezTo>
                    <a:cubicBezTo>
                      <a:pt x="287" y="205"/>
                      <a:pt x="287" y="205"/>
                      <a:pt x="287" y="205"/>
                    </a:cubicBezTo>
                    <a:cubicBezTo>
                      <a:pt x="287" y="204"/>
                      <a:pt x="287" y="204"/>
                      <a:pt x="287" y="204"/>
                    </a:cubicBezTo>
                    <a:cubicBezTo>
                      <a:pt x="287" y="204"/>
                      <a:pt x="287" y="204"/>
                      <a:pt x="287" y="204"/>
                    </a:cubicBezTo>
                    <a:cubicBezTo>
                      <a:pt x="287" y="202"/>
                      <a:pt x="287" y="202"/>
                      <a:pt x="287" y="202"/>
                    </a:cubicBezTo>
                    <a:cubicBezTo>
                      <a:pt x="287" y="201"/>
                      <a:pt x="287" y="201"/>
                      <a:pt x="287" y="201"/>
                    </a:cubicBezTo>
                    <a:cubicBezTo>
                      <a:pt x="287" y="200"/>
                      <a:pt x="287" y="200"/>
                      <a:pt x="287" y="200"/>
                    </a:cubicBezTo>
                    <a:cubicBezTo>
                      <a:pt x="288" y="199"/>
                      <a:pt x="288" y="199"/>
                      <a:pt x="288" y="199"/>
                    </a:cubicBezTo>
                    <a:cubicBezTo>
                      <a:pt x="288" y="199"/>
                      <a:pt x="288" y="199"/>
                      <a:pt x="288" y="199"/>
                    </a:cubicBezTo>
                    <a:cubicBezTo>
                      <a:pt x="289" y="197"/>
                      <a:pt x="289" y="197"/>
                      <a:pt x="289" y="197"/>
                    </a:cubicBezTo>
                    <a:cubicBezTo>
                      <a:pt x="290" y="196"/>
                      <a:pt x="290" y="196"/>
                      <a:pt x="290" y="196"/>
                    </a:cubicBezTo>
                    <a:cubicBezTo>
                      <a:pt x="291" y="194"/>
                      <a:pt x="291" y="194"/>
                      <a:pt x="291" y="194"/>
                    </a:cubicBezTo>
                    <a:cubicBezTo>
                      <a:pt x="292" y="190"/>
                      <a:pt x="292" y="190"/>
                      <a:pt x="292" y="190"/>
                    </a:cubicBezTo>
                    <a:cubicBezTo>
                      <a:pt x="292" y="189"/>
                      <a:pt x="292" y="189"/>
                      <a:pt x="292" y="189"/>
                    </a:cubicBezTo>
                    <a:cubicBezTo>
                      <a:pt x="293" y="188"/>
                      <a:pt x="293" y="188"/>
                      <a:pt x="293" y="188"/>
                    </a:cubicBezTo>
                    <a:cubicBezTo>
                      <a:pt x="294" y="187"/>
                      <a:pt x="294" y="187"/>
                      <a:pt x="294" y="187"/>
                    </a:cubicBezTo>
                    <a:cubicBezTo>
                      <a:pt x="294" y="187"/>
                      <a:pt x="294" y="187"/>
                      <a:pt x="294" y="187"/>
                    </a:cubicBezTo>
                    <a:cubicBezTo>
                      <a:pt x="295" y="186"/>
                      <a:pt x="295" y="186"/>
                      <a:pt x="295" y="186"/>
                    </a:cubicBezTo>
                    <a:cubicBezTo>
                      <a:pt x="295" y="185"/>
                      <a:pt x="295" y="185"/>
                      <a:pt x="295" y="185"/>
                    </a:cubicBezTo>
                    <a:cubicBezTo>
                      <a:pt x="294" y="185"/>
                      <a:pt x="294" y="185"/>
                      <a:pt x="294" y="185"/>
                    </a:cubicBezTo>
                    <a:cubicBezTo>
                      <a:pt x="294" y="185"/>
                      <a:pt x="294" y="185"/>
                      <a:pt x="294" y="185"/>
                    </a:cubicBezTo>
                    <a:cubicBezTo>
                      <a:pt x="293" y="184"/>
                      <a:pt x="293" y="184"/>
                      <a:pt x="293" y="184"/>
                    </a:cubicBezTo>
                    <a:cubicBezTo>
                      <a:pt x="293" y="184"/>
                      <a:pt x="293" y="184"/>
                      <a:pt x="293" y="184"/>
                    </a:cubicBezTo>
                    <a:cubicBezTo>
                      <a:pt x="294" y="183"/>
                      <a:pt x="294" y="183"/>
                      <a:pt x="294" y="183"/>
                    </a:cubicBezTo>
                    <a:cubicBezTo>
                      <a:pt x="294" y="183"/>
                      <a:pt x="294" y="183"/>
                      <a:pt x="294" y="183"/>
                    </a:cubicBezTo>
                    <a:cubicBezTo>
                      <a:pt x="295" y="183"/>
                      <a:pt x="295" y="183"/>
                      <a:pt x="295" y="183"/>
                    </a:cubicBezTo>
                    <a:cubicBezTo>
                      <a:pt x="295" y="183"/>
                      <a:pt x="295" y="183"/>
                      <a:pt x="295" y="183"/>
                    </a:cubicBezTo>
                    <a:cubicBezTo>
                      <a:pt x="296" y="182"/>
                      <a:pt x="296" y="182"/>
                      <a:pt x="296" y="182"/>
                    </a:cubicBezTo>
                    <a:cubicBezTo>
                      <a:pt x="297" y="182"/>
                      <a:pt x="297" y="182"/>
                      <a:pt x="297" y="182"/>
                    </a:cubicBezTo>
                    <a:cubicBezTo>
                      <a:pt x="297" y="182"/>
                      <a:pt x="297" y="182"/>
                      <a:pt x="297" y="182"/>
                    </a:cubicBezTo>
                    <a:cubicBezTo>
                      <a:pt x="298" y="182"/>
                      <a:pt x="298" y="182"/>
                      <a:pt x="298" y="182"/>
                    </a:cubicBezTo>
                    <a:cubicBezTo>
                      <a:pt x="298" y="182"/>
                      <a:pt x="298" y="182"/>
                      <a:pt x="298" y="182"/>
                    </a:cubicBezTo>
                    <a:cubicBezTo>
                      <a:pt x="298" y="181"/>
                      <a:pt x="298" y="181"/>
                      <a:pt x="298" y="181"/>
                    </a:cubicBezTo>
                    <a:cubicBezTo>
                      <a:pt x="299" y="181"/>
                      <a:pt x="299" y="181"/>
                      <a:pt x="299" y="181"/>
                    </a:cubicBezTo>
                    <a:cubicBezTo>
                      <a:pt x="299" y="181"/>
                      <a:pt x="299" y="181"/>
                      <a:pt x="299" y="181"/>
                    </a:cubicBezTo>
                    <a:cubicBezTo>
                      <a:pt x="301" y="180"/>
                      <a:pt x="301" y="180"/>
                      <a:pt x="301" y="180"/>
                    </a:cubicBezTo>
                    <a:cubicBezTo>
                      <a:pt x="302" y="180"/>
                      <a:pt x="302" y="180"/>
                      <a:pt x="302" y="180"/>
                    </a:cubicBezTo>
                    <a:cubicBezTo>
                      <a:pt x="302" y="180"/>
                      <a:pt x="302" y="180"/>
                      <a:pt x="302" y="180"/>
                    </a:cubicBezTo>
                    <a:cubicBezTo>
                      <a:pt x="303" y="180"/>
                      <a:pt x="303" y="180"/>
                      <a:pt x="303" y="180"/>
                    </a:cubicBezTo>
                    <a:cubicBezTo>
                      <a:pt x="303" y="179"/>
                      <a:pt x="303" y="179"/>
                      <a:pt x="303" y="179"/>
                    </a:cubicBezTo>
                    <a:cubicBezTo>
                      <a:pt x="304" y="179"/>
                      <a:pt x="304" y="179"/>
                      <a:pt x="304" y="179"/>
                    </a:cubicBezTo>
                    <a:cubicBezTo>
                      <a:pt x="304" y="180"/>
                      <a:pt x="304" y="180"/>
                      <a:pt x="304" y="180"/>
                    </a:cubicBezTo>
                    <a:cubicBezTo>
                      <a:pt x="304" y="181"/>
                      <a:pt x="304" y="181"/>
                      <a:pt x="304" y="181"/>
                    </a:cubicBezTo>
                    <a:cubicBezTo>
                      <a:pt x="305" y="181"/>
                      <a:pt x="305" y="181"/>
                      <a:pt x="305" y="181"/>
                    </a:cubicBezTo>
                    <a:cubicBezTo>
                      <a:pt x="306" y="181"/>
                      <a:pt x="306" y="181"/>
                      <a:pt x="306" y="181"/>
                    </a:cubicBezTo>
                    <a:cubicBezTo>
                      <a:pt x="307" y="182"/>
                      <a:pt x="307" y="182"/>
                      <a:pt x="307" y="182"/>
                    </a:cubicBezTo>
                    <a:cubicBezTo>
                      <a:pt x="308" y="182"/>
                      <a:pt x="308" y="182"/>
                      <a:pt x="308" y="182"/>
                    </a:cubicBezTo>
                    <a:cubicBezTo>
                      <a:pt x="308" y="182"/>
                      <a:pt x="308" y="182"/>
                      <a:pt x="308" y="182"/>
                    </a:cubicBezTo>
                    <a:cubicBezTo>
                      <a:pt x="309" y="182"/>
                      <a:pt x="309" y="182"/>
                      <a:pt x="309" y="182"/>
                    </a:cubicBezTo>
                    <a:cubicBezTo>
                      <a:pt x="311" y="181"/>
                      <a:pt x="311" y="181"/>
                      <a:pt x="311" y="181"/>
                    </a:cubicBezTo>
                    <a:cubicBezTo>
                      <a:pt x="311" y="181"/>
                      <a:pt x="311" y="181"/>
                      <a:pt x="311" y="181"/>
                    </a:cubicBezTo>
                    <a:cubicBezTo>
                      <a:pt x="311" y="181"/>
                      <a:pt x="311" y="181"/>
                      <a:pt x="311" y="181"/>
                    </a:cubicBezTo>
                    <a:cubicBezTo>
                      <a:pt x="312" y="181"/>
                      <a:pt x="312" y="181"/>
                      <a:pt x="312" y="181"/>
                    </a:cubicBezTo>
                    <a:cubicBezTo>
                      <a:pt x="312" y="181"/>
                      <a:pt x="312" y="181"/>
                      <a:pt x="312" y="181"/>
                    </a:cubicBezTo>
                    <a:cubicBezTo>
                      <a:pt x="312" y="182"/>
                      <a:pt x="312" y="182"/>
                      <a:pt x="312" y="182"/>
                    </a:cubicBezTo>
                    <a:cubicBezTo>
                      <a:pt x="312" y="182"/>
                      <a:pt x="312" y="182"/>
                      <a:pt x="312" y="182"/>
                    </a:cubicBezTo>
                    <a:cubicBezTo>
                      <a:pt x="312" y="182"/>
                      <a:pt x="312" y="182"/>
                      <a:pt x="312" y="182"/>
                    </a:cubicBezTo>
                    <a:cubicBezTo>
                      <a:pt x="313" y="182"/>
                      <a:pt x="313" y="182"/>
                      <a:pt x="313" y="182"/>
                    </a:cubicBezTo>
                    <a:cubicBezTo>
                      <a:pt x="313" y="183"/>
                      <a:pt x="313" y="183"/>
                      <a:pt x="313" y="183"/>
                    </a:cubicBezTo>
                    <a:cubicBezTo>
                      <a:pt x="314" y="183"/>
                      <a:pt x="314" y="183"/>
                      <a:pt x="314" y="183"/>
                    </a:cubicBezTo>
                    <a:cubicBezTo>
                      <a:pt x="314" y="183"/>
                      <a:pt x="314" y="183"/>
                      <a:pt x="314" y="183"/>
                    </a:cubicBezTo>
                    <a:cubicBezTo>
                      <a:pt x="314" y="183"/>
                      <a:pt x="314" y="183"/>
                      <a:pt x="314" y="183"/>
                    </a:cubicBezTo>
                    <a:cubicBezTo>
                      <a:pt x="314" y="183"/>
                      <a:pt x="314" y="183"/>
                      <a:pt x="314" y="183"/>
                    </a:cubicBezTo>
                    <a:cubicBezTo>
                      <a:pt x="315" y="183"/>
                      <a:pt x="315" y="183"/>
                      <a:pt x="315" y="183"/>
                    </a:cubicBezTo>
                    <a:cubicBezTo>
                      <a:pt x="316" y="183"/>
                      <a:pt x="316" y="183"/>
                      <a:pt x="316" y="183"/>
                    </a:cubicBezTo>
                    <a:cubicBezTo>
                      <a:pt x="316" y="183"/>
                      <a:pt x="316" y="183"/>
                      <a:pt x="316" y="183"/>
                    </a:cubicBezTo>
                    <a:cubicBezTo>
                      <a:pt x="317" y="183"/>
                      <a:pt x="317" y="183"/>
                      <a:pt x="317" y="183"/>
                    </a:cubicBezTo>
                    <a:cubicBezTo>
                      <a:pt x="318" y="183"/>
                      <a:pt x="318" y="183"/>
                      <a:pt x="318" y="183"/>
                    </a:cubicBezTo>
                    <a:cubicBezTo>
                      <a:pt x="318" y="183"/>
                      <a:pt x="318" y="183"/>
                      <a:pt x="318" y="183"/>
                    </a:cubicBezTo>
                    <a:cubicBezTo>
                      <a:pt x="318" y="183"/>
                      <a:pt x="318" y="183"/>
                      <a:pt x="318" y="183"/>
                    </a:cubicBezTo>
                    <a:cubicBezTo>
                      <a:pt x="319" y="183"/>
                      <a:pt x="319" y="183"/>
                      <a:pt x="319" y="183"/>
                    </a:cubicBezTo>
                    <a:cubicBezTo>
                      <a:pt x="319" y="183"/>
                      <a:pt x="319" y="183"/>
                      <a:pt x="319" y="183"/>
                    </a:cubicBezTo>
                    <a:cubicBezTo>
                      <a:pt x="319" y="183"/>
                      <a:pt x="319" y="183"/>
                      <a:pt x="319" y="183"/>
                    </a:cubicBezTo>
                    <a:cubicBezTo>
                      <a:pt x="320" y="184"/>
                      <a:pt x="320" y="184"/>
                      <a:pt x="320" y="184"/>
                    </a:cubicBezTo>
                    <a:cubicBezTo>
                      <a:pt x="320" y="184"/>
                      <a:pt x="320" y="184"/>
                      <a:pt x="320" y="184"/>
                    </a:cubicBezTo>
                    <a:cubicBezTo>
                      <a:pt x="320" y="184"/>
                      <a:pt x="320" y="184"/>
                      <a:pt x="320" y="184"/>
                    </a:cubicBezTo>
                    <a:cubicBezTo>
                      <a:pt x="321" y="184"/>
                      <a:pt x="321" y="184"/>
                      <a:pt x="321" y="184"/>
                    </a:cubicBezTo>
                    <a:cubicBezTo>
                      <a:pt x="321" y="184"/>
                      <a:pt x="321" y="184"/>
                      <a:pt x="321" y="184"/>
                    </a:cubicBezTo>
                    <a:cubicBezTo>
                      <a:pt x="322" y="184"/>
                      <a:pt x="322" y="184"/>
                      <a:pt x="322" y="184"/>
                    </a:cubicBezTo>
                    <a:cubicBezTo>
                      <a:pt x="322" y="183"/>
                      <a:pt x="322" y="183"/>
                      <a:pt x="322" y="183"/>
                    </a:cubicBezTo>
                    <a:cubicBezTo>
                      <a:pt x="322" y="183"/>
                      <a:pt x="322" y="183"/>
                      <a:pt x="322" y="183"/>
                    </a:cubicBezTo>
                    <a:cubicBezTo>
                      <a:pt x="322" y="183"/>
                      <a:pt x="322" y="183"/>
                      <a:pt x="322" y="183"/>
                    </a:cubicBezTo>
                    <a:cubicBezTo>
                      <a:pt x="322" y="183"/>
                      <a:pt x="322" y="183"/>
                      <a:pt x="322" y="183"/>
                    </a:cubicBezTo>
                    <a:cubicBezTo>
                      <a:pt x="322" y="182"/>
                      <a:pt x="322" y="182"/>
                      <a:pt x="322" y="182"/>
                    </a:cubicBezTo>
                    <a:cubicBezTo>
                      <a:pt x="322" y="182"/>
                      <a:pt x="322" y="182"/>
                      <a:pt x="322" y="182"/>
                    </a:cubicBezTo>
                    <a:cubicBezTo>
                      <a:pt x="322" y="181"/>
                      <a:pt x="322" y="181"/>
                      <a:pt x="322" y="181"/>
                    </a:cubicBezTo>
                    <a:cubicBezTo>
                      <a:pt x="322" y="181"/>
                      <a:pt x="322" y="181"/>
                      <a:pt x="322" y="181"/>
                    </a:cubicBezTo>
                    <a:cubicBezTo>
                      <a:pt x="322" y="181"/>
                      <a:pt x="322" y="181"/>
                      <a:pt x="322" y="181"/>
                    </a:cubicBezTo>
                    <a:cubicBezTo>
                      <a:pt x="322" y="180"/>
                      <a:pt x="322" y="180"/>
                      <a:pt x="322" y="180"/>
                    </a:cubicBezTo>
                    <a:cubicBezTo>
                      <a:pt x="322" y="180"/>
                      <a:pt x="322" y="180"/>
                      <a:pt x="322" y="180"/>
                    </a:cubicBezTo>
                    <a:cubicBezTo>
                      <a:pt x="322" y="179"/>
                      <a:pt x="322" y="179"/>
                      <a:pt x="322" y="179"/>
                    </a:cubicBezTo>
                    <a:cubicBezTo>
                      <a:pt x="321" y="179"/>
                      <a:pt x="321" y="179"/>
                      <a:pt x="321" y="179"/>
                    </a:cubicBezTo>
                    <a:cubicBezTo>
                      <a:pt x="321" y="179"/>
                      <a:pt x="321" y="179"/>
                      <a:pt x="321" y="179"/>
                    </a:cubicBezTo>
                    <a:cubicBezTo>
                      <a:pt x="321" y="178"/>
                      <a:pt x="321" y="178"/>
                      <a:pt x="321" y="178"/>
                    </a:cubicBezTo>
                    <a:cubicBezTo>
                      <a:pt x="322" y="178"/>
                      <a:pt x="322" y="178"/>
                      <a:pt x="322" y="178"/>
                    </a:cubicBezTo>
                    <a:cubicBezTo>
                      <a:pt x="322" y="177"/>
                      <a:pt x="322" y="177"/>
                      <a:pt x="322" y="177"/>
                    </a:cubicBezTo>
                    <a:cubicBezTo>
                      <a:pt x="322" y="177"/>
                      <a:pt x="322" y="177"/>
                      <a:pt x="322" y="177"/>
                    </a:cubicBezTo>
                    <a:cubicBezTo>
                      <a:pt x="322" y="177"/>
                      <a:pt x="322" y="177"/>
                      <a:pt x="322" y="177"/>
                    </a:cubicBezTo>
                    <a:cubicBezTo>
                      <a:pt x="323" y="177"/>
                      <a:pt x="323" y="177"/>
                      <a:pt x="323" y="177"/>
                    </a:cubicBezTo>
                    <a:cubicBezTo>
                      <a:pt x="323" y="177"/>
                      <a:pt x="323" y="177"/>
                      <a:pt x="323" y="177"/>
                    </a:cubicBezTo>
                    <a:cubicBezTo>
                      <a:pt x="324" y="177"/>
                      <a:pt x="324" y="177"/>
                      <a:pt x="324" y="177"/>
                    </a:cubicBezTo>
                    <a:cubicBezTo>
                      <a:pt x="324" y="178"/>
                      <a:pt x="324" y="178"/>
                      <a:pt x="324" y="178"/>
                    </a:cubicBezTo>
                    <a:cubicBezTo>
                      <a:pt x="324" y="178"/>
                      <a:pt x="324" y="178"/>
                      <a:pt x="324" y="178"/>
                    </a:cubicBezTo>
                    <a:cubicBezTo>
                      <a:pt x="323" y="178"/>
                      <a:pt x="323" y="178"/>
                      <a:pt x="323" y="178"/>
                    </a:cubicBezTo>
                    <a:cubicBezTo>
                      <a:pt x="323" y="179"/>
                      <a:pt x="323" y="179"/>
                      <a:pt x="323" y="179"/>
                    </a:cubicBezTo>
                    <a:cubicBezTo>
                      <a:pt x="322" y="179"/>
                      <a:pt x="322" y="179"/>
                      <a:pt x="322" y="179"/>
                    </a:cubicBezTo>
                    <a:cubicBezTo>
                      <a:pt x="322" y="179"/>
                      <a:pt x="322" y="179"/>
                      <a:pt x="322" y="179"/>
                    </a:cubicBezTo>
                    <a:cubicBezTo>
                      <a:pt x="322" y="179"/>
                      <a:pt x="322" y="179"/>
                      <a:pt x="322" y="179"/>
                    </a:cubicBezTo>
                    <a:cubicBezTo>
                      <a:pt x="322" y="180"/>
                      <a:pt x="322" y="180"/>
                      <a:pt x="322" y="180"/>
                    </a:cubicBezTo>
                    <a:cubicBezTo>
                      <a:pt x="322" y="180"/>
                      <a:pt x="322" y="180"/>
                      <a:pt x="322" y="180"/>
                    </a:cubicBezTo>
                    <a:cubicBezTo>
                      <a:pt x="322" y="181"/>
                      <a:pt x="322" y="181"/>
                      <a:pt x="322" y="181"/>
                    </a:cubicBezTo>
                    <a:cubicBezTo>
                      <a:pt x="323" y="181"/>
                      <a:pt x="323" y="181"/>
                      <a:pt x="323" y="181"/>
                    </a:cubicBezTo>
                    <a:cubicBezTo>
                      <a:pt x="322" y="182"/>
                      <a:pt x="322" y="182"/>
                      <a:pt x="322" y="182"/>
                    </a:cubicBezTo>
                    <a:cubicBezTo>
                      <a:pt x="322" y="182"/>
                      <a:pt x="322" y="182"/>
                      <a:pt x="322" y="182"/>
                    </a:cubicBezTo>
                    <a:cubicBezTo>
                      <a:pt x="322" y="183"/>
                      <a:pt x="322" y="183"/>
                      <a:pt x="322" y="183"/>
                    </a:cubicBezTo>
                    <a:cubicBezTo>
                      <a:pt x="322" y="183"/>
                      <a:pt x="322" y="183"/>
                      <a:pt x="322" y="183"/>
                    </a:cubicBezTo>
                    <a:cubicBezTo>
                      <a:pt x="323" y="183"/>
                      <a:pt x="323" y="183"/>
                      <a:pt x="323" y="183"/>
                    </a:cubicBezTo>
                    <a:cubicBezTo>
                      <a:pt x="323" y="184"/>
                      <a:pt x="323" y="184"/>
                      <a:pt x="323" y="184"/>
                    </a:cubicBezTo>
                    <a:cubicBezTo>
                      <a:pt x="324" y="184"/>
                      <a:pt x="324" y="184"/>
                      <a:pt x="324" y="184"/>
                    </a:cubicBezTo>
                    <a:cubicBezTo>
                      <a:pt x="324" y="183"/>
                      <a:pt x="324" y="183"/>
                      <a:pt x="324" y="183"/>
                    </a:cubicBezTo>
                    <a:cubicBezTo>
                      <a:pt x="325" y="183"/>
                      <a:pt x="325" y="183"/>
                      <a:pt x="325" y="183"/>
                    </a:cubicBezTo>
                    <a:cubicBezTo>
                      <a:pt x="328" y="182"/>
                      <a:pt x="328" y="182"/>
                      <a:pt x="328" y="182"/>
                    </a:cubicBezTo>
                    <a:cubicBezTo>
                      <a:pt x="328" y="182"/>
                      <a:pt x="328" y="182"/>
                      <a:pt x="328" y="182"/>
                    </a:cubicBezTo>
                    <a:cubicBezTo>
                      <a:pt x="329" y="181"/>
                      <a:pt x="329" y="181"/>
                      <a:pt x="329" y="181"/>
                    </a:cubicBezTo>
                    <a:cubicBezTo>
                      <a:pt x="330" y="181"/>
                      <a:pt x="330" y="181"/>
                      <a:pt x="330" y="181"/>
                    </a:cubicBezTo>
                    <a:cubicBezTo>
                      <a:pt x="331" y="180"/>
                      <a:pt x="331" y="180"/>
                      <a:pt x="331" y="180"/>
                    </a:cubicBezTo>
                    <a:cubicBezTo>
                      <a:pt x="331" y="180"/>
                      <a:pt x="331" y="180"/>
                      <a:pt x="331" y="180"/>
                    </a:cubicBezTo>
                    <a:cubicBezTo>
                      <a:pt x="332" y="180"/>
                      <a:pt x="332" y="180"/>
                      <a:pt x="332" y="180"/>
                    </a:cubicBezTo>
                    <a:cubicBezTo>
                      <a:pt x="333" y="179"/>
                      <a:pt x="333" y="179"/>
                      <a:pt x="333" y="179"/>
                    </a:cubicBezTo>
                    <a:cubicBezTo>
                      <a:pt x="334" y="179"/>
                      <a:pt x="334" y="179"/>
                      <a:pt x="334" y="179"/>
                    </a:cubicBezTo>
                    <a:cubicBezTo>
                      <a:pt x="336" y="179"/>
                      <a:pt x="336" y="179"/>
                      <a:pt x="336" y="179"/>
                    </a:cubicBezTo>
                    <a:cubicBezTo>
                      <a:pt x="336" y="179"/>
                      <a:pt x="336" y="179"/>
                      <a:pt x="336" y="179"/>
                    </a:cubicBezTo>
                    <a:cubicBezTo>
                      <a:pt x="337" y="178"/>
                      <a:pt x="337" y="178"/>
                      <a:pt x="337" y="178"/>
                    </a:cubicBezTo>
                    <a:cubicBezTo>
                      <a:pt x="337" y="178"/>
                      <a:pt x="337" y="178"/>
                      <a:pt x="337" y="178"/>
                    </a:cubicBezTo>
                    <a:cubicBezTo>
                      <a:pt x="337" y="178"/>
                      <a:pt x="337" y="178"/>
                      <a:pt x="337" y="178"/>
                    </a:cubicBezTo>
                    <a:cubicBezTo>
                      <a:pt x="337" y="177"/>
                      <a:pt x="337" y="177"/>
                      <a:pt x="337" y="177"/>
                    </a:cubicBezTo>
                    <a:cubicBezTo>
                      <a:pt x="338" y="177"/>
                      <a:pt x="338" y="177"/>
                      <a:pt x="338" y="177"/>
                    </a:cubicBezTo>
                    <a:cubicBezTo>
                      <a:pt x="338" y="177"/>
                      <a:pt x="338" y="177"/>
                      <a:pt x="338" y="177"/>
                    </a:cubicBezTo>
                    <a:cubicBezTo>
                      <a:pt x="338" y="178"/>
                      <a:pt x="338" y="178"/>
                      <a:pt x="338" y="178"/>
                    </a:cubicBezTo>
                    <a:cubicBezTo>
                      <a:pt x="339" y="178"/>
                      <a:pt x="339" y="178"/>
                      <a:pt x="339" y="178"/>
                    </a:cubicBezTo>
                    <a:cubicBezTo>
                      <a:pt x="339" y="178"/>
                      <a:pt x="339" y="178"/>
                      <a:pt x="339" y="178"/>
                    </a:cubicBezTo>
                    <a:cubicBezTo>
                      <a:pt x="339" y="177"/>
                      <a:pt x="339" y="177"/>
                      <a:pt x="339" y="177"/>
                    </a:cubicBezTo>
                    <a:cubicBezTo>
                      <a:pt x="340" y="177"/>
                      <a:pt x="340" y="177"/>
                      <a:pt x="340" y="177"/>
                    </a:cubicBezTo>
                    <a:cubicBezTo>
                      <a:pt x="343" y="176"/>
                      <a:pt x="343" y="176"/>
                      <a:pt x="343" y="176"/>
                    </a:cubicBezTo>
                    <a:cubicBezTo>
                      <a:pt x="346" y="175"/>
                      <a:pt x="346" y="175"/>
                      <a:pt x="346" y="175"/>
                    </a:cubicBezTo>
                    <a:cubicBezTo>
                      <a:pt x="346" y="174"/>
                      <a:pt x="346" y="174"/>
                      <a:pt x="346" y="174"/>
                    </a:cubicBezTo>
                    <a:cubicBezTo>
                      <a:pt x="347" y="174"/>
                      <a:pt x="347" y="174"/>
                      <a:pt x="347" y="174"/>
                    </a:cubicBezTo>
                    <a:cubicBezTo>
                      <a:pt x="347" y="174"/>
                      <a:pt x="347" y="174"/>
                      <a:pt x="347" y="174"/>
                    </a:cubicBezTo>
                    <a:cubicBezTo>
                      <a:pt x="348" y="173"/>
                      <a:pt x="348" y="173"/>
                      <a:pt x="348" y="173"/>
                    </a:cubicBezTo>
                    <a:cubicBezTo>
                      <a:pt x="348" y="173"/>
                      <a:pt x="348" y="173"/>
                      <a:pt x="348" y="173"/>
                    </a:cubicBezTo>
                    <a:cubicBezTo>
                      <a:pt x="349" y="173"/>
                      <a:pt x="349" y="173"/>
                      <a:pt x="349" y="173"/>
                    </a:cubicBezTo>
                    <a:cubicBezTo>
                      <a:pt x="349" y="172"/>
                      <a:pt x="349" y="172"/>
                      <a:pt x="349" y="172"/>
                    </a:cubicBezTo>
                    <a:cubicBezTo>
                      <a:pt x="350" y="172"/>
                      <a:pt x="350" y="172"/>
                      <a:pt x="350" y="172"/>
                    </a:cubicBezTo>
                    <a:cubicBezTo>
                      <a:pt x="352" y="171"/>
                      <a:pt x="352" y="171"/>
                      <a:pt x="352" y="171"/>
                    </a:cubicBezTo>
                    <a:cubicBezTo>
                      <a:pt x="352" y="171"/>
                      <a:pt x="352" y="171"/>
                      <a:pt x="352" y="171"/>
                    </a:cubicBezTo>
                    <a:cubicBezTo>
                      <a:pt x="353" y="171"/>
                      <a:pt x="353" y="171"/>
                      <a:pt x="353" y="171"/>
                    </a:cubicBezTo>
                    <a:cubicBezTo>
                      <a:pt x="354" y="171"/>
                      <a:pt x="354" y="171"/>
                      <a:pt x="354" y="171"/>
                    </a:cubicBezTo>
                    <a:cubicBezTo>
                      <a:pt x="354" y="170"/>
                      <a:pt x="354" y="170"/>
                      <a:pt x="354" y="170"/>
                    </a:cubicBezTo>
                    <a:cubicBezTo>
                      <a:pt x="355" y="170"/>
                      <a:pt x="355" y="170"/>
                      <a:pt x="355" y="170"/>
                    </a:cubicBezTo>
                    <a:cubicBezTo>
                      <a:pt x="355" y="170"/>
                      <a:pt x="355" y="170"/>
                      <a:pt x="355" y="170"/>
                    </a:cubicBezTo>
                    <a:cubicBezTo>
                      <a:pt x="356" y="170"/>
                      <a:pt x="356" y="170"/>
                      <a:pt x="356" y="170"/>
                    </a:cubicBezTo>
                    <a:cubicBezTo>
                      <a:pt x="356" y="169"/>
                      <a:pt x="356" y="169"/>
                      <a:pt x="356" y="169"/>
                    </a:cubicBezTo>
                    <a:cubicBezTo>
                      <a:pt x="356" y="169"/>
                      <a:pt x="356" y="169"/>
                      <a:pt x="356" y="169"/>
                    </a:cubicBezTo>
                    <a:cubicBezTo>
                      <a:pt x="357" y="169"/>
                      <a:pt x="357" y="169"/>
                      <a:pt x="357" y="169"/>
                    </a:cubicBezTo>
                    <a:cubicBezTo>
                      <a:pt x="357" y="169"/>
                      <a:pt x="357" y="169"/>
                      <a:pt x="357" y="169"/>
                    </a:cubicBezTo>
                    <a:cubicBezTo>
                      <a:pt x="358" y="169"/>
                      <a:pt x="358" y="169"/>
                      <a:pt x="358" y="169"/>
                    </a:cubicBezTo>
                    <a:cubicBezTo>
                      <a:pt x="359" y="169"/>
                      <a:pt x="359" y="169"/>
                      <a:pt x="359" y="169"/>
                    </a:cubicBezTo>
                    <a:cubicBezTo>
                      <a:pt x="359" y="169"/>
                      <a:pt x="359" y="169"/>
                      <a:pt x="359" y="169"/>
                    </a:cubicBezTo>
                    <a:cubicBezTo>
                      <a:pt x="359" y="169"/>
                      <a:pt x="359" y="169"/>
                      <a:pt x="359" y="169"/>
                    </a:cubicBezTo>
                    <a:cubicBezTo>
                      <a:pt x="360" y="169"/>
                      <a:pt x="360" y="169"/>
                      <a:pt x="360" y="169"/>
                    </a:cubicBezTo>
                    <a:cubicBezTo>
                      <a:pt x="360" y="169"/>
                      <a:pt x="360" y="169"/>
                      <a:pt x="360" y="169"/>
                    </a:cubicBezTo>
                    <a:cubicBezTo>
                      <a:pt x="360" y="168"/>
                      <a:pt x="360" y="168"/>
                      <a:pt x="360" y="168"/>
                    </a:cubicBezTo>
                    <a:cubicBezTo>
                      <a:pt x="360" y="168"/>
                      <a:pt x="360" y="168"/>
                      <a:pt x="360" y="168"/>
                    </a:cubicBezTo>
                    <a:cubicBezTo>
                      <a:pt x="360" y="168"/>
                      <a:pt x="360" y="168"/>
                      <a:pt x="360" y="168"/>
                    </a:cubicBezTo>
                    <a:cubicBezTo>
                      <a:pt x="359" y="168"/>
                      <a:pt x="359" y="168"/>
                      <a:pt x="359" y="168"/>
                    </a:cubicBezTo>
                    <a:cubicBezTo>
                      <a:pt x="359" y="168"/>
                      <a:pt x="359" y="168"/>
                      <a:pt x="359" y="168"/>
                    </a:cubicBezTo>
                    <a:cubicBezTo>
                      <a:pt x="359" y="168"/>
                      <a:pt x="359" y="168"/>
                      <a:pt x="359" y="168"/>
                    </a:cubicBezTo>
                    <a:cubicBezTo>
                      <a:pt x="358" y="168"/>
                      <a:pt x="358" y="168"/>
                      <a:pt x="358" y="168"/>
                    </a:cubicBezTo>
                    <a:cubicBezTo>
                      <a:pt x="358" y="168"/>
                      <a:pt x="358" y="168"/>
                      <a:pt x="358" y="168"/>
                    </a:cubicBezTo>
                    <a:cubicBezTo>
                      <a:pt x="358" y="167"/>
                      <a:pt x="358" y="167"/>
                      <a:pt x="358" y="167"/>
                    </a:cubicBezTo>
                    <a:cubicBezTo>
                      <a:pt x="359" y="167"/>
                      <a:pt x="359" y="167"/>
                      <a:pt x="359" y="167"/>
                    </a:cubicBezTo>
                    <a:cubicBezTo>
                      <a:pt x="359" y="167"/>
                      <a:pt x="359" y="167"/>
                      <a:pt x="359" y="167"/>
                    </a:cubicBezTo>
                    <a:cubicBezTo>
                      <a:pt x="359" y="167"/>
                      <a:pt x="359" y="167"/>
                      <a:pt x="359" y="167"/>
                    </a:cubicBezTo>
                    <a:cubicBezTo>
                      <a:pt x="360" y="166"/>
                      <a:pt x="360" y="166"/>
                      <a:pt x="360" y="166"/>
                    </a:cubicBezTo>
                    <a:cubicBezTo>
                      <a:pt x="360" y="166"/>
                      <a:pt x="360" y="166"/>
                      <a:pt x="360" y="166"/>
                    </a:cubicBezTo>
                    <a:cubicBezTo>
                      <a:pt x="360" y="166"/>
                      <a:pt x="360" y="166"/>
                      <a:pt x="360" y="166"/>
                    </a:cubicBezTo>
                    <a:cubicBezTo>
                      <a:pt x="360" y="165"/>
                      <a:pt x="360" y="165"/>
                      <a:pt x="360" y="165"/>
                    </a:cubicBezTo>
                    <a:cubicBezTo>
                      <a:pt x="360" y="165"/>
                      <a:pt x="360" y="165"/>
                      <a:pt x="360" y="165"/>
                    </a:cubicBezTo>
                    <a:cubicBezTo>
                      <a:pt x="360" y="164"/>
                      <a:pt x="360" y="164"/>
                      <a:pt x="360" y="164"/>
                    </a:cubicBezTo>
                    <a:cubicBezTo>
                      <a:pt x="360" y="164"/>
                      <a:pt x="360" y="164"/>
                      <a:pt x="360" y="164"/>
                    </a:cubicBezTo>
                    <a:cubicBezTo>
                      <a:pt x="361" y="164"/>
                      <a:pt x="361" y="164"/>
                      <a:pt x="361" y="164"/>
                    </a:cubicBezTo>
                    <a:cubicBezTo>
                      <a:pt x="361" y="164"/>
                      <a:pt x="361" y="164"/>
                      <a:pt x="361" y="164"/>
                    </a:cubicBezTo>
                    <a:cubicBezTo>
                      <a:pt x="361" y="165"/>
                      <a:pt x="361" y="165"/>
                      <a:pt x="361" y="165"/>
                    </a:cubicBezTo>
                    <a:cubicBezTo>
                      <a:pt x="361" y="165"/>
                      <a:pt x="361" y="165"/>
                      <a:pt x="361" y="165"/>
                    </a:cubicBezTo>
                    <a:cubicBezTo>
                      <a:pt x="361" y="166"/>
                      <a:pt x="361" y="166"/>
                      <a:pt x="361" y="166"/>
                    </a:cubicBezTo>
                    <a:cubicBezTo>
                      <a:pt x="361" y="166"/>
                      <a:pt x="361" y="166"/>
                      <a:pt x="361" y="166"/>
                    </a:cubicBezTo>
                    <a:cubicBezTo>
                      <a:pt x="361" y="166"/>
                      <a:pt x="361" y="166"/>
                      <a:pt x="361" y="166"/>
                    </a:cubicBezTo>
                    <a:cubicBezTo>
                      <a:pt x="361" y="167"/>
                      <a:pt x="361" y="167"/>
                      <a:pt x="361" y="167"/>
                    </a:cubicBezTo>
                    <a:cubicBezTo>
                      <a:pt x="361" y="167"/>
                      <a:pt x="361" y="167"/>
                      <a:pt x="361" y="167"/>
                    </a:cubicBezTo>
                    <a:cubicBezTo>
                      <a:pt x="362" y="167"/>
                      <a:pt x="362" y="167"/>
                      <a:pt x="362" y="167"/>
                    </a:cubicBezTo>
                    <a:cubicBezTo>
                      <a:pt x="363" y="166"/>
                      <a:pt x="363" y="166"/>
                      <a:pt x="363" y="166"/>
                    </a:cubicBezTo>
                    <a:cubicBezTo>
                      <a:pt x="363" y="166"/>
                      <a:pt x="363" y="166"/>
                      <a:pt x="363" y="166"/>
                    </a:cubicBezTo>
                    <a:cubicBezTo>
                      <a:pt x="363" y="166"/>
                      <a:pt x="363" y="166"/>
                      <a:pt x="363" y="166"/>
                    </a:cubicBezTo>
                    <a:cubicBezTo>
                      <a:pt x="363" y="165"/>
                      <a:pt x="363" y="165"/>
                      <a:pt x="363" y="165"/>
                    </a:cubicBezTo>
                    <a:cubicBezTo>
                      <a:pt x="363" y="164"/>
                      <a:pt x="363" y="164"/>
                      <a:pt x="363" y="164"/>
                    </a:cubicBezTo>
                    <a:cubicBezTo>
                      <a:pt x="363" y="164"/>
                      <a:pt x="363" y="164"/>
                      <a:pt x="363" y="164"/>
                    </a:cubicBezTo>
                    <a:cubicBezTo>
                      <a:pt x="362" y="163"/>
                      <a:pt x="362" y="163"/>
                      <a:pt x="362" y="163"/>
                    </a:cubicBezTo>
                    <a:cubicBezTo>
                      <a:pt x="362" y="163"/>
                      <a:pt x="362" y="163"/>
                      <a:pt x="362" y="163"/>
                    </a:cubicBezTo>
                    <a:cubicBezTo>
                      <a:pt x="362" y="162"/>
                      <a:pt x="362" y="162"/>
                      <a:pt x="362" y="162"/>
                    </a:cubicBezTo>
                    <a:cubicBezTo>
                      <a:pt x="361" y="162"/>
                      <a:pt x="361" y="162"/>
                      <a:pt x="361" y="162"/>
                    </a:cubicBezTo>
                    <a:cubicBezTo>
                      <a:pt x="361" y="161"/>
                      <a:pt x="361" y="161"/>
                      <a:pt x="361" y="161"/>
                    </a:cubicBezTo>
                    <a:cubicBezTo>
                      <a:pt x="362" y="160"/>
                      <a:pt x="362" y="160"/>
                      <a:pt x="362" y="160"/>
                    </a:cubicBezTo>
                    <a:cubicBezTo>
                      <a:pt x="362" y="160"/>
                      <a:pt x="362" y="160"/>
                      <a:pt x="362" y="160"/>
                    </a:cubicBezTo>
                    <a:cubicBezTo>
                      <a:pt x="362" y="160"/>
                      <a:pt x="362" y="160"/>
                      <a:pt x="362" y="160"/>
                    </a:cubicBezTo>
                    <a:cubicBezTo>
                      <a:pt x="362" y="159"/>
                      <a:pt x="362" y="159"/>
                      <a:pt x="362" y="159"/>
                    </a:cubicBezTo>
                    <a:cubicBezTo>
                      <a:pt x="363" y="159"/>
                      <a:pt x="363" y="159"/>
                      <a:pt x="363" y="159"/>
                    </a:cubicBezTo>
                    <a:cubicBezTo>
                      <a:pt x="363" y="158"/>
                      <a:pt x="363" y="158"/>
                      <a:pt x="363" y="158"/>
                    </a:cubicBezTo>
                    <a:cubicBezTo>
                      <a:pt x="363" y="158"/>
                      <a:pt x="363" y="158"/>
                      <a:pt x="363" y="158"/>
                    </a:cubicBezTo>
                    <a:cubicBezTo>
                      <a:pt x="362" y="158"/>
                      <a:pt x="362" y="158"/>
                      <a:pt x="362" y="158"/>
                    </a:cubicBezTo>
                    <a:cubicBezTo>
                      <a:pt x="362" y="157"/>
                      <a:pt x="362" y="157"/>
                      <a:pt x="362" y="157"/>
                    </a:cubicBezTo>
                    <a:cubicBezTo>
                      <a:pt x="362" y="157"/>
                      <a:pt x="362" y="157"/>
                      <a:pt x="362" y="157"/>
                    </a:cubicBezTo>
                    <a:cubicBezTo>
                      <a:pt x="362" y="157"/>
                      <a:pt x="362" y="157"/>
                      <a:pt x="362" y="157"/>
                    </a:cubicBezTo>
                    <a:cubicBezTo>
                      <a:pt x="363" y="157"/>
                      <a:pt x="363" y="157"/>
                      <a:pt x="363" y="157"/>
                    </a:cubicBezTo>
                    <a:cubicBezTo>
                      <a:pt x="363" y="157"/>
                      <a:pt x="363" y="157"/>
                      <a:pt x="363" y="157"/>
                    </a:cubicBezTo>
                    <a:cubicBezTo>
                      <a:pt x="363" y="156"/>
                      <a:pt x="363" y="156"/>
                      <a:pt x="363" y="156"/>
                    </a:cubicBezTo>
                    <a:cubicBezTo>
                      <a:pt x="363" y="156"/>
                      <a:pt x="363" y="156"/>
                      <a:pt x="363" y="156"/>
                    </a:cubicBezTo>
                    <a:cubicBezTo>
                      <a:pt x="363" y="155"/>
                      <a:pt x="363" y="155"/>
                      <a:pt x="363" y="155"/>
                    </a:cubicBezTo>
                    <a:cubicBezTo>
                      <a:pt x="363" y="155"/>
                      <a:pt x="363" y="155"/>
                      <a:pt x="363" y="155"/>
                    </a:cubicBezTo>
                    <a:cubicBezTo>
                      <a:pt x="363" y="154"/>
                      <a:pt x="363" y="154"/>
                      <a:pt x="363" y="154"/>
                    </a:cubicBezTo>
                    <a:cubicBezTo>
                      <a:pt x="363" y="154"/>
                      <a:pt x="363" y="154"/>
                      <a:pt x="363" y="154"/>
                    </a:cubicBezTo>
                    <a:cubicBezTo>
                      <a:pt x="363" y="153"/>
                      <a:pt x="363" y="153"/>
                      <a:pt x="363" y="153"/>
                    </a:cubicBezTo>
                    <a:cubicBezTo>
                      <a:pt x="364" y="153"/>
                      <a:pt x="364" y="153"/>
                      <a:pt x="364" y="153"/>
                    </a:cubicBezTo>
                    <a:cubicBezTo>
                      <a:pt x="364" y="151"/>
                      <a:pt x="364" y="151"/>
                      <a:pt x="364" y="151"/>
                    </a:cubicBezTo>
                    <a:cubicBezTo>
                      <a:pt x="364" y="150"/>
                      <a:pt x="364" y="150"/>
                      <a:pt x="364" y="150"/>
                    </a:cubicBezTo>
                    <a:cubicBezTo>
                      <a:pt x="365" y="150"/>
                      <a:pt x="365" y="150"/>
                      <a:pt x="365" y="150"/>
                    </a:cubicBezTo>
                    <a:cubicBezTo>
                      <a:pt x="365" y="150"/>
                      <a:pt x="365" y="150"/>
                      <a:pt x="365" y="150"/>
                    </a:cubicBezTo>
                    <a:cubicBezTo>
                      <a:pt x="365" y="149"/>
                      <a:pt x="365" y="149"/>
                      <a:pt x="365" y="149"/>
                    </a:cubicBezTo>
                    <a:cubicBezTo>
                      <a:pt x="365" y="149"/>
                      <a:pt x="365" y="149"/>
                      <a:pt x="365" y="149"/>
                    </a:cubicBezTo>
                    <a:cubicBezTo>
                      <a:pt x="365" y="148"/>
                      <a:pt x="365" y="148"/>
                      <a:pt x="365" y="148"/>
                    </a:cubicBezTo>
                    <a:cubicBezTo>
                      <a:pt x="365" y="147"/>
                      <a:pt x="365" y="147"/>
                      <a:pt x="365" y="147"/>
                    </a:cubicBezTo>
                    <a:cubicBezTo>
                      <a:pt x="365" y="147"/>
                      <a:pt x="365" y="147"/>
                      <a:pt x="365" y="147"/>
                    </a:cubicBezTo>
                    <a:cubicBezTo>
                      <a:pt x="365" y="146"/>
                      <a:pt x="365" y="146"/>
                      <a:pt x="365" y="146"/>
                    </a:cubicBezTo>
                    <a:cubicBezTo>
                      <a:pt x="365" y="146"/>
                      <a:pt x="365" y="146"/>
                      <a:pt x="365" y="146"/>
                    </a:cubicBezTo>
                    <a:cubicBezTo>
                      <a:pt x="365" y="146"/>
                      <a:pt x="365" y="146"/>
                      <a:pt x="365" y="146"/>
                    </a:cubicBezTo>
                    <a:cubicBezTo>
                      <a:pt x="364" y="145"/>
                      <a:pt x="364" y="145"/>
                      <a:pt x="364" y="145"/>
                    </a:cubicBezTo>
                    <a:cubicBezTo>
                      <a:pt x="364" y="144"/>
                      <a:pt x="364" y="144"/>
                      <a:pt x="364" y="144"/>
                    </a:cubicBezTo>
                    <a:cubicBezTo>
                      <a:pt x="363" y="144"/>
                      <a:pt x="363" y="144"/>
                      <a:pt x="363" y="144"/>
                    </a:cubicBezTo>
                    <a:cubicBezTo>
                      <a:pt x="363" y="143"/>
                      <a:pt x="363" y="143"/>
                      <a:pt x="363" y="143"/>
                    </a:cubicBezTo>
                    <a:cubicBezTo>
                      <a:pt x="363" y="143"/>
                      <a:pt x="363" y="143"/>
                      <a:pt x="363" y="143"/>
                    </a:cubicBezTo>
                    <a:cubicBezTo>
                      <a:pt x="362" y="143"/>
                      <a:pt x="362" y="143"/>
                      <a:pt x="362" y="143"/>
                    </a:cubicBezTo>
                    <a:cubicBezTo>
                      <a:pt x="362" y="143"/>
                      <a:pt x="362" y="143"/>
                      <a:pt x="362" y="143"/>
                    </a:cubicBezTo>
                    <a:cubicBezTo>
                      <a:pt x="362" y="143"/>
                      <a:pt x="362" y="143"/>
                      <a:pt x="362" y="143"/>
                    </a:cubicBezTo>
                    <a:cubicBezTo>
                      <a:pt x="362" y="143"/>
                      <a:pt x="362" y="143"/>
                      <a:pt x="362" y="143"/>
                    </a:cubicBezTo>
                    <a:cubicBezTo>
                      <a:pt x="362" y="144"/>
                      <a:pt x="362" y="144"/>
                      <a:pt x="362" y="144"/>
                    </a:cubicBezTo>
                    <a:cubicBezTo>
                      <a:pt x="362" y="144"/>
                      <a:pt x="362" y="144"/>
                      <a:pt x="362" y="144"/>
                    </a:cubicBezTo>
                    <a:cubicBezTo>
                      <a:pt x="362" y="145"/>
                      <a:pt x="362" y="145"/>
                      <a:pt x="362" y="145"/>
                    </a:cubicBezTo>
                    <a:cubicBezTo>
                      <a:pt x="362" y="145"/>
                      <a:pt x="362" y="145"/>
                      <a:pt x="362" y="145"/>
                    </a:cubicBezTo>
                    <a:cubicBezTo>
                      <a:pt x="363" y="145"/>
                      <a:pt x="363" y="145"/>
                      <a:pt x="363" y="145"/>
                    </a:cubicBezTo>
                    <a:cubicBezTo>
                      <a:pt x="363" y="146"/>
                      <a:pt x="363" y="146"/>
                      <a:pt x="363" y="146"/>
                    </a:cubicBezTo>
                    <a:cubicBezTo>
                      <a:pt x="363" y="146"/>
                      <a:pt x="363" y="146"/>
                      <a:pt x="363" y="146"/>
                    </a:cubicBezTo>
                    <a:cubicBezTo>
                      <a:pt x="363" y="147"/>
                      <a:pt x="363" y="147"/>
                      <a:pt x="363" y="147"/>
                    </a:cubicBezTo>
                    <a:cubicBezTo>
                      <a:pt x="363" y="147"/>
                      <a:pt x="363" y="147"/>
                      <a:pt x="363" y="147"/>
                    </a:cubicBezTo>
                    <a:cubicBezTo>
                      <a:pt x="363" y="148"/>
                      <a:pt x="363" y="148"/>
                      <a:pt x="363" y="148"/>
                    </a:cubicBezTo>
                    <a:cubicBezTo>
                      <a:pt x="363" y="148"/>
                      <a:pt x="363" y="148"/>
                      <a:pt x="363" y="148"/>
                    </a:cubicBezTo>
                    <a:cubicBezTo>
                      <a:pt x="363" y="149"/>
                      <a:pt x="363" y="149"/>
                      <a:pt x="363" y="149"/>
                    </a:cubicBezTo>
                    <a:cubicBezTo>
                      <a:pt x="363" y="149"/>
                      <a:pt x="363" y="149"/>
                      <a:pt x="363" y="149"/>
                    </a:cubicBezTo>
                    <a:cubicBezTo>
                      <a:pt x="363" y="149"/>
                      <a:pt x="363" y="149"/>
                      <a:pt x="363" y="149"/>
                    </a:cubicBezTo>
                    <a:cubicBezTo>
                      <a:pt x="362" y="150"/>
                      <a:pt x="362" y="150"/>
                      <a:pt x="362" y="150"/>
                    </a:cubicBezTo>
                    <a:cubicBezTo>
                      <a:pt x="361" y="150"/>
                      <a:pt x="361" y="150"/>
                      <a:pt x="361" y="150"/>
                    </a:cubicBezTo>
                    <a:cubicBezTo>
                      <a:pt x="361" y="150"/>
                      <a:pt x="361" y="150"/>
                      <a:pt x="361" y="150"/>
                    </a:cubicBezTo>
                    <a:cubicBezTo>
                      <a:pt x="360" y="150"/>
                      <a:pt x="360" y="150"/>
                      <a:pt x="360" y="150"/>
                    </a:cubicBezTo>
                    <a:cubicBezTo>
                      <a:pt x="359" y="150"/>
                      <a:pt x="359" y="150"/>
                      <a:pt x="359" y="150"/>
                    </a:cubicBezTo>
                    <a:cubicBezTo>
                      <a:pt x="359" y="149"/>
                      <a:pt x="359" y="149"/>
                      <a:pt x="359" y="149"/>
                    </a:cubicBezTo>
                    <a:cubicBezTo>
                      <a:pt x="358" y="149"/>
                      <a:pt x="358" y="149"/>
                      <a:pt x="358" y="149"/>
                    </a:cubicBezTo>
                    <a:cubicBezTo>
                      <a:pt x="358" y="148"/>
                      <a:pt x="358" y="148"/>
                      <a:pt x="358" y="148"/>
                    </a:cubicBezTo>
                    <a:cubicBezTo>
                      <a:pt x="358" y="148"/>
                      <a:pt x="358" y="148"/>
                      <a:pt x="358" y="148"/>
                    </a:cubicBezTo>
                    <a:cubicBezTo>
                      <a:pt x="357" y="147"/>
                      <a:pt x="357" y="147"/>
                      <a:pt x="357" y="147"/>
                    </a:cubicBezTo>
                    <a:cubicBezTo>
                      <a:pt x="357" y="147"/>
                      <a:pt x="357" y="147"/>
                      <a:pt x="357" y="147"/>
                    </a:cubicBezTo>
                    <a:cubicBezTo>
                      <a:pt x="357" y="146"/>
                      <a:pt x="357" y="146"/>
                      <a:pt x="357" y="146"/>
                    </a:cubicBezTo>
                    <a:cubicBezTo>
                      <a:pt x="357" y="145"/>
                      <a:pt x="357" y="145"/>
                      <a:pt x="357" y="145"/>
                    </a:cubicBezTo>
                    <a:cubicBezTo>
                      <a:pt x="358" y="144"/>
                      <a:pt x="358" y="144"/>
                      <a:pt x="358" y="144"/>
                    </a:cubicBezTo>
                    <a:cubicBezTo>
                      <a:pt x="358" y="143"/>
                      <a:pt x="358" y="143"/>
                      <a:pt x="358" y="143"/>
                    </a:cubicBezTo>
                    <a:cubicBezTo>
                      <a:pt x="358" y="142"/>
                      <a:pt x="358" y="142"/>
                      <a:pt x="358" y="142"/>
                    </a:cubicBezTo>
                    <a:cubicBezTo>
                      <a:pt x="359" y="141"/>
                      <a:pt x="359" y="141"/>
                      <a:pt x="359" y="141"/>
                    </a:cubicBezTo>
                    <a:cubicBezTo>
                      <a:pt x="359" y="140"/>
                      <a:pt x="359" y="140"/>
                      <a:pt x="359" y="140"/>
                    </a:cubicBezTo>
                    <a:cubicBezTo>
                      <a:pt x="359" y="139"/>
                      <a:pt x="359" y="139"/>
                      <a:pt x="359" y="139"/>
                    </a:cubicBezTo>
                    <a:cubicBezTo>
                      <a:pt x="360" y="138"/>
                      <a:pt x="360" y="138"/>
                      <a:pt x="360" y="138"/>
                    </a:cubicBezTo>
                    <a:cubicBezTo>
                      <a:pt x="360" y="138"/>
                      <a:pt x="360" y="138"/>
                      <a:pt x="360" y="138"/>
                    </a:cubicBezTo>
                    <a:cubicBezTo>
                      <a:pt x="361" y="137"/>
                      <a:pt x="361" y="137"/>
                      <a:pt x="361" y="137"/>
                    </a:cubicBezTo>
                    <a:cubicBezTo>
                      <a:pt x="363" y="135"/>
                      <a:pt x="363" y="135"/>
                      <a:pt x="363" y="135"/>
                    </a:cubicBezTo>
                    <a:cubicBezTo>
                      <a:pt x="363" y="135"/>
                      <a:pt x="363" y="135"/>
                      <a:pt x="363" y="135"/>
                    </a:cubicBezTo>
                    <a:cubicBezTo>
                      <a:pt x="364" y="134"/>
                      <a:pt x="364" y="134"/>
                      <a:pt x="364" y="134"/>
                    </a:cubicBezTo>
                    <a:cubicBezTo>
                      <a:pt x="364" y="134"/>
                      <a:pt x="364" y="134"/>
                      <a:pt x="364" y="134"/>
                    </a:cubicBezTo>
                    <a:cubicBezTo>
                      <a:pt x="366" y="132"/>
                      <a:pt x="366" y="132"/>
                      <a:pt x="366" y="132"/>
                    </a:cubicBezTo>
                    <a:cubicBezTo>
                      <a:pt x="367" y="132"/>
                      <a:pt x="367" y="132"/>
                      <a:pt x="367" y="132"/>
                    </a:cubicBezTo>
                    <a:cubicBezTo>
                      <a:pt x="369" y="130"/>
                      <a:pt x="369" y="130"/>
                      <a:pt x="369" y="130"/>
                    </a:cubicBezTo>
                    <a:cubicBezTo>
                      <a:pt x="371" y="128"/>
                      <a:pt x="371" y="128"/>
                      <a:pt x="371" y="128"/>
                    </a:cubicBezTo>
                    <a:cubicBezTo>
                      <a:pt x="372" y="127"/>
                      <a:pt x="372" y="127"/>
                      <a:pt x="372" y="127"/>
                    </a:cubicBezTo>
                    <a:cubicBezTo>
                      <a:pt x="374" y="125"/>
                      <a:pt x="374" y="125"/>
                      <a:pt x="374" y="125"/>
                    </a:cubicBezTo>
                    <a:cubicBezTo>
                      <a:pt x="376" y="124"/>
                      <a:pt x="376" y="124"/>
                      <a:pt x="376" y="124"/>
                    </a:cubicBezTo>
                    <a:cubicBezTo>
                      <a:pt x="376" y="123"/>
                      <a:pt x="376" y="123"/>
                      <a:pt x="376" y="123"/>
                    </a:cubicBezTo>
                    <a:cubicBezTo>
                      <a:pt x="377" y="123"/>
                      <a:pt x="377" y="123"/>
                      <a:pt x="377" y="123"/>
                    </a:cubicBezTo>
                    <a:cubicBezTo>
                      <a:pt x="378" y="123"/>
                      <a:pt x="378" y="123"/>
                      <a:pt x="378" y="123"/>
                    </a:cubicBezTo>
                    <a:cubicBezTo>
                      <a:pt x="380" y="122"/>
                      <a:pt x="380" y="122"/>
                      <a:pt x="380" y="122"/>
                    </a:cubicBezTo>
                    <a:cubicBezTo>
                      <a:pt x="382" y="121"/>
                      <a:pt x="382" y="121"/>
                      <a:pt x="382" y="121"/>
                    </a:cubicBezTo>
                    <a:cubicBezTo>
                      <a:pt x="385" y="119"/>
                      <a:pt x="385" y="119"/>
                      <a:pt x="385" y="119"/>
                    </a:cubicBezTo>
                    <a:cubicBezTo>
                      <a:pt x="388" y="118"/>
                      <a:pt x="388" y="118"/>
                      <a:pt x="388" y="118"/>
                    </a:cubicBezTo>
                    <a:cubicBezTo>
                      <a:pt x="390" y="117"/>
                      <a:pt x="390" y="117"/>
                      <a:pt x="390" y="117"/>
                    </a:cubicBezTo>
                    <a:cubicBezTo>
                      <a:pt x="393" y="116"/>
                      <a:pt x="393" y="116"/>
                      <a:pt x="393" y="116"/>
                    </a:cubicBezTo>
                    <a:cubicBezTo>
                      <a:pt x="395" y="114"/>
                      <a:pt x="395" y="114"/>
                      <a:pt x="395" y="114"/>
                    </a:cubicBezTo>
                    <a:cubicBezTo>
                      <a:pt x="398" y="113"/>
                      <a:pt x="398" y="113"/>
                      <a:pt x="398" y="113"/>
                    </a:cubicBezTo>
                    <a:cubicBezTo>
                      <a:pt x="400" y="112"/>
                      <a:pt x="400" y="112"/>
                      <a:pt x="400" y="112"/>
                    </a:cubicBezTo>
                    <a:cubicBezTo>
                      <a:pt x="402" y="111"/>
                      <a:pt x="402" y="111"/>
                      <a:pt x="402" y="111"/>
                    </a:cubicBezTo>
                    <a:cubicBezTo>
                      <a:pt x="405" y="109"/>
                      <a:pt x="405" y="109"/>
                      <a:pt x="405" y="109"/>
                    </a:cubicBezTo>
                    <a:cubicBezTo>
                      <a:pt x="408" y="108"/>
                      <a:pt x="408" y="108"/>
                      <a:pt x="408" y="108"/>
                    </a:cubicBezTo>
                    <a:cubicBezTo>
                      <a:pt x="410" y="106"/>
                      <a:pt x="410" y="106"/>
                      <a:pt x="410" y="106"/>
                    </a:cubicBezTo>
                    <a:cubicBezTo>
                      <a:pt x="411" y="105"/>
                      <a:pt x="411" y="105"/>
                      <a:pt x="411" y="105"/>
                    </a:cubicBezTo>
                    <a:cubicBezTo>
                      <a:pt x="412" y="105"/>
                      <a:pt x="412" y="105"/>
                      <a:pt x="412" y="105"/>
                    </a:cubicBezTo>
                    <a:cubicBezTo>
                      <a:pt x="414" y="104"/>
                      <a:pt x="414" y="104"/>
                      <a:pt x="414" y="104"/>
                    </a:cubicBezTo>
                    <a:cubicBezTo>
                      <a:pt x="417" y="103"/>
                      <a:pt x="417" y="103"/>
                      <a:pt x="417" y="103"/>
                    </a:cubicBezTo>
                    <a:cubicBezTo>
                      <a:pt x="419" y="101"/>
                      <a:pt x="419" y="101"/>
                      <a:pt x="419" y="101"/>
                    </a:cubicBezTo>
                    <a:cubicBezTo>
                      <a:pt x="420" y="101"/>
                      <a:pt x="420" y="101"/>
                      <a:pt x="420" y="101"/>
                    </a:cubicBezTo>
                    <a:cubicBezTo>
                      <a:pt x="420" y="100"/>
                      <a:pt x="420" y="100"/>
                      <a:pt x="420" y="100"/>
                    </a:cubicBezTo>
                    <a:cubicBezTo>
                      <a:pt x="421" y="100"/>
                      <a:pt x="421" y="100"/>
                      <a:pt x="421" y="100"/>
                    </a:cubicBezTo>
                    <a:cubicBezTo>
                      <a:pt x="421" y="100"/>
                      <a:pt x="421" y="100"/>
                      <a:pt x="421" y="100"/>
                    </a:cubicBezTo>
                    <a:cubicBezTo>
                      <a:pt x="421" y="100"/>
                      <a:pt x="421" y="100"/>
                      <a:pt x="421" y="100"/>
                    </a:cubicBezTo>
                    <a:cubicBezTo>
                      <a:pt x="421" y="100"/>
                      <a:pt x="421" y="100"/>
                      <a:pt x="421" y="100"/>
                    </a:cubicBezTo>
                    <a:cubicBezTo>
                      <a:pt x="421" y="99"/>
                      <a:pt x="421" y="99"/>
                      <a:pt x="421" y="99"/>
                    </a:cubicBezTo>
                    <a:cubicBezTo>
                      <a:pt x="421" y="99"/>
                      <a:pt x="421" y="99"/>
                      <a:pt x="421" y="99"/>
                    </a:cubicBezTo>
                    <a:cubicBezTo>
                      <a:pt x="421" y="99"/>
                      <a:pt x="421" y="99"/>
                      <a:pt x="421" y="99"/>
                    </a:cubicBezTo>
                    <a:cubicBezTo>
                      <a:pt x="420" y="99"/>
                      <a:pt x="420" y="99"/>
                      <a:pt x="420" y="99"/>
                    </a:cubicBezTo>
                    <a:cubicBezTo>
                      <a:pt x="420" y="98"/>
                      <a:pt x="420" y="98"/>
                      <a:pt x="420" y="98"/>
                    </a:cubicBezTo>
                    <a:cubicBezTo>
                      <a:pt x="419" y="98"/>
                      <a:pt x="419" y="98"/>
                      <a:pt x="419" y="98"/>
                    </a:cubicBezTo>
                    <a:cubicBezTo>
                      <a:pt x="419" y="98"/>
                      <a:pt x="419" y="98"/>
                      <a:pt x="419" y="98"/>
                    </a:cubicBezTo>
                    <a:cubicBezTo>
                      <a:pt x="420" y="98"/>
                      <a:pt x="420" y="98"/>
                      <a:pt x="420" y="98"/>
                    </a:cubicBezTo>
                    <a:cubicBezTo>
                      <a:pt x="420" y="98"/>
                      <a:pt x="420" y="98"/>
                      <a:pt x="420" y="98"/>
                    </a:cubicBezTo>
                    <a:cubicBezTo>
                      <a:pt x="420" y="98"/>
                      <a:pt x="420" y="98"/>
                      <a:pt x="420" y="98"/>
                    </a:cubicBezTo>
                    <a:cubicBezTo>
                      <a:pt x="421" y="98"/>
                      <a:pt x="421" y="98"/>
                      <a:pt x="421" y="98"/>
                    </a:cubicBezTo>
                    <a:cubicBezTo>
                      <a:pt x="421" y="98"/>
                      <a:pt x="421" y="98"/>
                      <a:pt x="421" y="98"/>
                    </a:cubicBezTo>
                    <a:cubicBezTo>
                      <a:pt x="421" y="98"/>
                      <a:pt x="421" y="98"/>
                      <a:pt x="421" y="98"/>
                    </a:cubicBezTo>
                    <a:cubicBezTo>
                      <a:pt x="422" y="98"/>
                      <a:pt x="422" y="98"/>
                      <a:pt x="422" y="98"/>
                    </a:cubicBezTo>
                    <a:cubicBezTo>
                      <a:pt x="423" y="98"/>
                      <a:pt x="423" y="98"/>
                      <a:pt x="423" y="98"/>
                    </a:cubicBezTo>
                    <a:cubicBezTo>
                      <a:pt x="423" y="98"/>
                      <a:pt x="423" y="98"/>
                      <a:pt x="423" y="98"/>
                    </a:cubicBezTo>
                    <a:cubicBezTo>
                      <a:pt x="423" y="98"/>
                      <a:pt x="423" y="98"/>
                      <a:pt x="423" y="98"/>
                    </a:cubicBezTo>
                    <a:cubicBezTo>
                      <a:pt x="424" y="97"/>
                      <a:pt x="424" y="97"/>
                      <a:pt x="424" y="97"/>
                    </a:cubicBezTo>
                    <a:cubicBezTo>
                      <a:pt x="425" y="97"/>
                      <a:pt x="425" y="97"/>
                      <a:pt x="425" y="97"/>
                    </a:cubicBezTo>
                    <a:cubicBezTo>
                      <a:pt x="427" y="94"/>
                      <a:pt x="427" y="94"/>
                      <a:pt x="427" y="94"/>
                    </a:cubicBezTo>
                    <a:cubicBezTo>
                      <a:pt x="429" y="93"/>
                      <a:pt x="429" y="93"/>
                      <a:pt x="429" y="93"/>
                    </a:cubicBezTo>
                    <a:cubicBezTo>
                      <a:pt x="429" y="92"/>
                      <a:pt x="429" y="92"/>
                      <a:pt x="429" y="92"/>
                    </a:cubicBezTo>
                    <a:cubicBezTo>
                      <a:pt x="430" y="91"/>
                      <a:pt x="430" y="91"/>
                      <a:pt x="430" y="91"/>
                    </a:cubicBezTo>
                    <a:cubicBezTo>
                      <a:pt x="430" y="91"/>
                      <a:pt x="430" y="91"/>
                      <a:pt x="430" y="91"/>
                    </a:cubicBezTo>
                    <a:cubicBezTo>
                      <a:pt x="431" y="89"/>
                      <a:pt x="431" y="89"/>
                      <a:pt x="431" y="89"/>
                    </a:cubicBezTo>
                    <a:cubicBezTo>
                      <a:pt x="431" y="88"/>
                      <a:pt x="431" y="88"/>
                      <a:pt x="431" y="88"/>
                    </a:cubicBezTo>
                    <a:cubicBezTo>
                      <a:pt x="432" y="87"/>
                      <a:pt x="432" y="87"/>
                      <a:pt x="432" y="87"/>
                    </a:cubicBezTo>
                    <a:cubicBezTo>
                      <a:pt x="432" y="87"/>
                      <a:pt x="432" y="87"/>
                      <a:pt x="432" y="87"/>
                    </a:cubicBezTo>
                    <a:cubicBezTo>
                      <a:pt x="432" y="86"/>
                      <a:pt x="432" y="86"/>
                      <a:pt x="432" y="86"/>
                    </a:cubicBezTo>
                    <a:cubicBezTo>
                      <a:pt x="433" y="85"/>
                      <a:pt x="433" y="85"/>
                      <a:pt x="433" y="85"/>
                    </a:cubicBezTo>
                    <a:cubicBezTo>
                      <a:pt x="433" y="84"/>
                      <a:pt x="433" y="84"/>
                      <a:pt x="433" y="84"/>
                    </a:cubicBezTo>
                    <a:cubicBezTo>
                      <a:pt x="434" y="84"/>
                      <a:pt x="434" y="84"/>
                      <a:pt x="434" y="84"/>
                    </a:cubicBezTo>
                    <a:cubicBezTo>
                      <a:pt x="434" y="83"/>
                      <a:pt x="434" y="83"/>
                      <a:pt x="434" y="83"/>
                    </a:cubicBezTo>
                    <a:cubicBezTo>
                      <a:pt x="436" y="81"/>
                      <a:pt x="436" y="81"/>
                      <a:pt x="436" y="81"/>
                    </a:cubicBezTo>
                    <a:cubicBezTo>
                      <a:pt x="437" y="81"/>
                      <a:pt x="437" y="81"/>
                      <a:pt x="437" y="81"/>
                    </a:cubicBezTo>
                    <a:cubicBezTo>
                      <a:pt x="439" y="80"/>
                      <a:pt x="439" y="80"/>
                      <a:pt x="439" y="80"/>
                    </a:cubicBezTo>
                    <a:cubicBezTo>
                      <a:pt x="439" y="79"/>
                      <a:pt x="439" y="79"/>
                      <a:pt x="439" y="79"/>
                    </a:cubicBezTo>
                    <a:cubicBezTo>
                      <a:pt x="440" y="79"/>
                      <a:pt x="440" y="79"/>
                      <a:pt x="440" y="79"/>
                    </a:cubicBezTo>
                    <a:cubicBezTo>
                      <a:pt x="440" y="78"/>
                      <a:pt x="440" y="78"/>
                      <a:pt x="440" y="78"/>
                    </a:cubicBezTo>
                    <a:cubicBezTo>
                      <a:pt x="442" y="76"/>
                      <a:pt x="442" y="76"/>
                      <a:pt x="442" y="76"/>
                    </a:cubicBezTo>
                    <a:cubicBezTo>
                      <a:pt x="442" y="75"/>
                      <a:pt x="442" y="75"/>
                      <a:pt x="442" y="75"/>
                    </a:cubicBezTo>
                    <a:cubicBezTo>
                      <a:pt x="443" y="74"/>
                      <a:pt x="443" y="74"/>
                      <a:pt x="443" y="74"/>
                    </a:cubicBezTo>
                    <a:cubicBezTo>
                      <a:pt x="444" y="73"/>
                      <a:pt x="444" y="73"/>
                      <a:pt x="444" y="73"/>
                    </a:cubicBezTo>
                    <a:cubicBezTo>
                      <a:pt x="444" y="73"/>
                      <a:pt x="444" y="73"/>
                      <a:pt x="444" y="73"/>
                    </a:cubicBezTo>
                    <a:cubicBezTo>
                      <a:pt x="445" y="72"/>
                      <a:pt x="445" y="72"/>
                      <a:pt x="445" y="72"/>
                    </a:cubicBezTo>
                    <a:cubicBezTo>
                      <a:pt x="446" y="72"/>
                      <a:pt x="446" y="72"/>
                      <a:pt x="446" y="72"/>
                    </a:cubicBezTo>
                    <a:cubicBezTo>
                      <a:pt x="448" y="71"/>
                      <a:pt x="448" y="71"/>
                      <a:pt x="448" y="71"/>
                    </a:cubicBezTo>
                    <a:cubicBezTo>
                      <a:pt x="448" y="70"/>
                      <a:pt x="448" y="70"/>
                      <a:pt x="448" y="70"/>
                    </a:cubicBezTo>
                    <a:cubicBezTo>
                      <a:pt x="449" y="70"/>
                      <a:pt x="449" y="70"/>
                      <a:pt x="449" y="70"/>
                    </a:cubicBezTo>
                    <a:cubicBezTo>
                      <a:pt x="451" y="68"/>
                      <a:pt x="451" y="68"/>
                      <a:pt x="451" y="68"/>
                    </a:cubicBezTo>
                    <a:cubicBezTo>
                      <a:pt x="452" y="68"/>
                      <a:pt x="452" y="68"/>
                      <a:pt x="452" y="68"/>
                    </a:cubicBezTo>
                    <a:cubicBezTo>
                      <a:pt x="453" y="68"/>
                      <a:pt x="453" y="68"/>
                      <a:pt x="453" y="68"/>
                    </a:cubicBezTo>
                    <a:cubicBezTo>
                      <a:pt x="454" y="67"/>
                      <a:pt x="454" y="67"/>
                      <a:pt x="454" y="67"/>
                    </a:cubicBezTo>
                    <a:cubicBezTo>
                      <a:pt x="455" y="66"/>
                      <a:pt x="455" y="66"/>
                      <a:pt x="455" y="66"/>
                    </a:cubicBezTo>
                    <a:cubicBezTo>
                      <a:pt x="457" y="66"/>
                      <a:pt x="457" y="66"/>
                      <a:pt x="457" y="66"/>
                    </a:cubicBezTo>
                    <a:cubicBezTo>
                      <a:pt x="458" y="65"/>
                      <a:pt x="458" y="65"/>
                      <a:pt x="458" y="65"/>
                    </a:cubicBezTo>
                    <a:cubicBezTo>
                      <a:pt x="462" y="63"/>
                      <a:pt x="462" y="63"/>
                      <a:pt x="462" y="63"/>
                    </a:cubicBezTo>
                    <a:cubicBezTo>
                      <a:pt x="465" y="61"/>
                      <a:pt x="465" y="61"/>
                      <a:pt x="465" y="61"/>
                    </a:cubicBezTo>
                    <a:cubicBezTo>
                      <a:pt x="466" y="60"/>
                      <a:pt x="466" y="60"/>
                      <a:pt x="466" y="60"/>
                    </a:cubicBezTo>
                    <a:cubicBezTo>
                      <a:pt x="467" y="60"/>
                      <a:pt x="467" y="60"/>
                      <a:pt x="467" y="60"/>
                    </a:cubicBezTo>
                    <a:cubicBezTo>
                      <a:pt x="468" y="59"/>
                      <a:pt x="468" y="59"/>
                      <a:pt x="468" y="59"/>
                    </a:cubicBezTo>
                    <a:cubicBezTo>
                      <a:pt x="469" y="59"/>
                      <a:pt x="469" y="59"/>
                      <a:pt x="469" y="59"/>
                    </a:cubicBezTo>
                    <a:cubicBezTo>
                      <a:pt x="470" y="59"/>
                      <a:pt x="470" y="59"/>
                      <a:pt x="470" y="59"/>
                    </a:cubicBezTo>
                    <a:cubicBezTo>
                      <a:pt x="470" y="59"/>
                      <a:pt x="470" y="59"/>
                      <a:pt x="470" y="59"/>
                    </a:cubicBezTo>
                    <a:cubicBezTo>
                      <a:pt x="471" y="59"/>
                      <a:pt x="471" y="59"/>
                      <a:pt x="471" y="59"/>
                    </a:cubicBezTo>
                    <a:cubicBezTo>
                      <a:pt x="472" y="58"/>
                      <a:pt x="472" y="58"/>
                      <a:pt x="472" y="58"/>
                    </a:cubicBezTo>
                    <a:cubicBezTo>
                      <a:pt x="472" y="58"/>
                      <a:pt x="472" y="58"/>
                      <a:pt x="472" y="58"/>
                    </a:cubicBezTo>
                    <a:cubicBezTo>
                      <a:pt x="473" y="57"/>
                      <a:pt x="473" y="57"/>
                      <a:pt x="473" y="57"/>
                    </a:cubicBezTo>
                    <a:cubicBezTo>
                      <a:pt x="476" y="56"/>
                      <a:pt x="476" y="56"/>
                      <a:pt x="476" y="56"/>
                    </a:cubicBezTo>
                    <a:cubicBezTo>
                      <a:pt x="477" y="55"/>
                      <a:pt x="477" y="55"/>
                      <a:pt x="477" y="55"/>
                    </a:cubicBezTo>
                    <a:cubicBezTo>
                      <a:pt x="477" y="55"/>
                      <a:pt x="477" y="55"/>
                      <a:pt x="477" y="55"/>
                    </a:cubicBezTo>
                    <a:cubicBezTo>
                      <a:pt x="478" y="55"/>
                      <a:pt x="478" y="55"/>
                      <a:pt x="478" y="55"/>
                    </a:cubicBezTo>
                    <a:cubicBezTo>
                      <a:pt x="478" y="54"/>
                      <a:pt x="478" y="54"/>
                      <a:pt x="478" y="54"/>
                    </a:cubicBezTo>
                    <a:cubicBezTo>
                      <a:pt x="478" y="54"/>
                      <a:pt x="478" y="54"/>
                      <a:pt x="478" y="54"/>
                    </a:cubicBezTo>
                    <a:cubicBezTo>
                      <a:pt x="479" y="52"/>
                      <a:pt x="479" y="52"/>
                      <a:pt x="479" y="52"/>
                    </a:cubicBezTo>
                    <a:cubicBezTo>
                      <a:pt x="479" y="51"/>
                      <a:pt x="479" y="51"/>
                      <a:pt x="479" y="51"/>
                    </a:cubicBezTo>
                    <a:cubicBezTo>
                      <a:pt x="480" y="51"/>
                      <a:pt x="480" y="51"/>
                      <a:pt x="480" y="51"/>
                    </a:cubicBezTo>
                    <a:cubicBezTo>
                      <a:pt x="480" y="50"/>
                      <a:pt x="480" y="50"/>
                      <a:pt x="480" y="50"/>
                    </a:cubicBezTo>
                    <a:cubicBezTo>
                      <a:pt x="480" y="49"/>
                      <a:pt x="480" y="49"/>
                      <a:pt x="480" y="49"/>
                    </a:cubicBezTo>
                    <a:cubicBezTo>
                      <a:pt x="480" y="49"/>
                      <a:pt x="480" y="49"/>
                      <a:pt x="480" y="49"/>
                    </a:cubicBezTo>
                    <a:cubicBezTo>
                      <a:pt x="483" y="47"/>
                      <a:pt x="483" y="47"/>
                      <a:pt x="483" y="47"/>
                    </a:cubicBezTo>
                    <a:cubicBezTo>
                      <a:pt x="486" y="45"/>
                      <a:pt x="486" y="45"/>
                      <a:pt x="486" y="45"/>
                    </a:cubicBezTo>
                    <a:cubicBezTo>
                      <a:pt x="489" y="41"/>
                      <a:pt x="489" y="41"/>
                      <a:pt x="489" y="41"/>
                    </a:cubicBezTo>
                    <a:cubicBezTo>
                      <a:pt x="491" y="40"/>
                      <a:pt x="491" y="40"/>
                      <a:pt x="491" y="40"/>
                    </a:cubicBezTo>
                    <a:cubicBezTo>
                      <a:pt x="495" y="35"/>
                      <a:pt x="495" y="35"/>
                      <a:pt x="495" y="35"/>
                    </a:cubicBezTo>
                    <a:cubicBezTo>
                      <a:pt x="498" y="32"/>
                      <a:pt x="498" y="32"/>
                      <a:pt x="498" y="32"/>
                    </a:cubicBezTo>
                    <a:cubicBezTo>
                      <a:pt x="500" y="29"/>
                      <a:pt x="500" y="29"/>
                      <a:pt x="500" y="29"/>
                    </a:cubicBezTo>
                    <a:cubicBezTo>
                      <a:pt x="502" y="28"/>
                      <a:pt x="502" y="28"/>
                      <a:pt x="502" y="28"/>
                    </a:cubicBezTo>
                    <a:cubicBezTo>
                      <a:pt x="504" y="26"/>
                      <a:pt x="504" y="26"/>
                      <a:pt x="504" y="26"/>
                    </a:cubicBezTo>
                    <a:cubicBezTo>
                      <a:pt x="505" y="25"/>
                      <a:pt x="505" y="25"/>
                      <a:pt x="505" y="25"/>
                    </a:cubicBezTo>
                    <a:cubicBezTo>
                      <a:pt x="505" y="24"/>
                      <a:pt x="505" y="24"/>
                      <a:pt x="505" y="24"/>
                    </a:cubicBezTo>
                    <a:cubicBezTo>
                      <a:pt x="506" y="24"/>
                      <a:pt x="506" y="24"/>
                      <a:pt x="506" y="24"/>
                    </a:cubicBezTo>
                    <a:cubicBezTo>
                      <a:pt x="506" y="23"/>
                      <a:pt x="506" y="23"/>
                      <a:pt x="506" y="23"/>
                    </a:cubicBezTo>
                    <a:cubicBezTo>
                      <a:pt x="507" y="22"/>
                      <a:pt x="507" y="22"/>
                      <a:pt x="507" y="22"/>
                    </a:cubicBezTo>
                    <a:cubicBezTo>
                      <a:pt x="507" y="21"/>
                      <a:pt x="507" y="21"/>
                      <a:pt x="507" y="21"/>
                    </a:cubicBezTo>
                    <a:cubicBezTo>
                      <a:pt x="508" y="21"/>
                      <a:pt x="508" y="21"/>
                      <a:pt x="508" y="21"/>
                    </a:cubicBezTo>
                    <a:cubicBezTo>
                      <a:pt x="508" y="20"/>
                      <a:pt x="508" y="20"/>
                      <a:pt x="508" y="20"/>
                    </a:cubicBezTo>
                    <a:cubicBezTo>
                      <a:pt x="508" y="19"/>
                      <a:pt x="508" y="19"/>
                      <a:pt x="508" y="19"/>
                    </a:cubicBezTo>
                    <a:cubicBezTo>
                      <a:pt x="509" y="19"/>
                      <a:pt x="509" y="19"/>
                      <a:pt x="509" y="19"/>
                    </a:cubicBezTo>
                    <a:cubicBezTo>
                      <a:pt x="509" y="18"/>
                      <a:pt x="509" y="18"/>
                      <a:pt x="509" y="18"/>
                    </a:cubicBezTo>
                    <a:cubicBezTo>
                      <a:pt x="510" y="17"/>
                      <a:pt x="510" y="17"/>
                      <a:pt x="510" y="17"/>
                    </a:cubicBezTo>
                    <a:cubicBezTo>
                      <a:pt x="511" y="16"/>
                      <a:pt x="511" y="16"/>
                      <a:pt x="511" y="16"/>
                    </a:cubicBezTo>
                    <a:cubicBezTo>
                      <a:pt x="513" y="14"/>
                      <a:pt x="513" y="14"/>
                      <a:pt x="513" y="14"/>
                    </a:cubicBezTo>
                    <a:cubicBezTo>
                      <a:pt x="515" y="13"/>
                      <a:pt x="515" y="13"/>
                      <a:pt x="515" y="13"/>
                    </a:cubicBezTo>
                    <a:cubicBezTo>
                      <a:pt x="515" y="13"/>
                      <a:pt x="515" y="13"/>
                      <a:pt x="515" y="13"/>
                    </a:cubicBezTo>
                    <a:cubicBezTo>
                      <a:pt x="516" y="12"/>
                      <a:pt x="516" y="12"/>
                      <a:pt x="516" y="12"/>
                    </a:cubicBezTo>
                    <a:cubicBezTo>
                      <a:pt x="516" y="12"/>
                      <a:pt x="516" y="12"/>
                      <a:pt x="516" y="12"/>
                    </a:cubicBezTo>
                    <a:cubicBezTo>
                      <a:pt x="517" y="11"/>
                      <a:pt x="517" y="11"/>
                      <a:pt x="517" y="11"/>
                    </a:cubicBezTo>
                    <a:cubicBezTo>
                      <a:pt x="518" y="9"/>
                      <a:pt x="518" y="9"/>
                      <a:pt x="518" y="9"/>
                    </a:cubicBezTo>
                    <a:cubicBezTo>
                      <a:pt x="519" y="7"/>
                      <a:pt x="519" y="7"/>
                      <a:pt x="519" y="7"/>
                    </a:cubicBezTo>
                    <a:cubicBezTo>
                      <a:pt x="519" y="7"/>
                      <a:pt x="519" y="7"/>
                      <a:pt x="519" y="7"/>
                    </a:cubicBezTo>
                    <a:cubicBezTo>
                      <a:pt x="521" y="6"/>
                      <a:pt x="521" y="6"/>
                      <a:pt x="521" y="6"/>
                    </a:cubicBezTo>
                    <a:cubicBezTo>
                      <a:pt x="521" y="5"/>
                      <a:pt x="521" y="5"/>
                      <a:pt x="521" y="5"/>
                    </a:cubicBezTo>
                    <a:lnTo>
                      <a:pt x="519" y="3"/>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GB" sz="800" dirty="0">
                  <a:solidFill>
                    <a:srgbClr val="000000"/>
                  </a:solidFill>
                </a:endParaRPr>
              </a:p>
            </p:txBody>
          </p:sp>
          <p:sp>
            <p:nvSpPr>
              <p:cNvPr id="86" name="TL"/>
              <p:cNvSpPr>
                <a:spLocks noEditPoints="1"/>
              </p:cNvSpPr>
              <p:nvPr/>
            </p:nvSpPr>
            <p:spPr bwMode="auto">
              <a:xfrm>
                <a:off x="6611980" y="3799685"/>
                <a:ext cx="916163" cy="830652"/>
              </a:xfrm>
              <a:custGeom>
                <a:avLst/>
                <a:gdLst>
                  <a:gd name="T0" fmla="*/ 34 w 705"/>
                  <a:gd name="T1" fmla="*/ 459 h 640"/>
                  <a:gd name="T2" fmla="*/ 36 w 705"/>
                  <a:gd name="T3" fmla="*/ 490 h 640"/>
                  <a:gd name="T4" fmla="*/ 27 w 705"/>
                  <a:gd name="T5" fmla="*/ 504 h 640"/>
                  <a:gd name="T6" fmla="*/ 24 w 705"/>
                  <a:gd name="T7" fmla="*/ 521 h 640"/>
                  <a:gd name="T8" fmla="*/ 12 w 705"/>
                  <a:gd name="T9" fmla="*/ 535 h 640"/>
                  <a:gd name="T10" fmla="*/ 10 w 705"/>
                  <a:gd name="T11" fmla="*/ 550 h 640"/>
                  <a:gd name="T12" fmla="*/ 51 w 705"/>
                  <a:gd name="T13" fmla="*/ 562 h 640"/>
                  <a:gd name="T14" fmla="*/ 36 w 705"/>
                  <a:gd name="T15" fmla="*/ 590 h 640"/>
                  <a:gd name="T16" fmla="*/ 34 w 705"/>
                  <a:gd name="T17" fmla="*/ 624 h 640"/>
                  <a:gd name="T18" fmla="*/ 153 w 705"/>
                  <a:gd name="T19" fmla="*/ 624 h 640"/>
                  <a:gd name="T20" fmla="*/ 253 w 705"/>
                  <a:gd name="T21" fmla="*/ 602 h 640"/>
                  <a:gd name="T22" fmla="*/ 296 w 705"/>
                  <a:gd name="T23" fmla="*/ 562 h 640"/>
                  <a:gd name="T24" fmla="*/ 361 w 705"/>
                  <a:gd name="T25" fmla="*/ 519 h 640"/>
                  <a:gd name="T26" fmla="*/ 425 w 705"/>
                  <a:gd name="T27" fmla="*/ 487 h 640"/>
                  <a:gd name="T28" fmla="*/ 480 w 705"/>
                  <a:gd name="T29" fmla="*/ 485 h 640"/>
                  <a:gd name="T30" fmla="*/ 478 w 705"/>
                  <a:gd name="T31" fmla="*/ 456 h 640"/>
                  <a:gd name="T32" fmla="*/ 549 w 705"/>
                  <a:gd name="T33" fmla="*/ 452 h 640"/>
                  <a:gd name="T34" fmla="*/ 580 w 705"/>
                  <a:gd name="T35" fmla="*/ 428 h 640"/>
                  <a:gd name="T36" fmla="*/ 657 w 705"/>
                  <a:gd name="T37" fmla="*/ 390 h 640"/>
                  <a:gd name="T38" fmla="*/ 700 w 705"/>
                  <a:gd name="T39" fmla="*/ 335 h 640"/>
                  <a:gd name="T40" fmla="*/ 678 w 705"/>
                  <a:gd name="T41" fmla="*/ 320 h 640"/>
                  <a:gd name="T42" fmla="*/ 645 w 705"/>
                  <a:gd name="T43" fmla="*/ 327 h 640"/>
                  <a:gd name="T44" fmla="*/ 604 w 705"/>
                  <a:gd name="T45" fmla="*/ 327 h 640"/>
                  <a:gd name="T46" fmla="*/ 583 w 705"/>
                  <a:gd name="T47" fmla="*/ 301 h 640"/>
                  <a:gd name="T48" fmla="*/ 569 w 705"/>
                  <a:gd name="T49" fmla="*/ 277 h 640"/>
                  <a:gd name="T50" fmla="*/ 545 w 705"/>
                  <a:gd name="T51" fmla="*/ 272 h 640"/>
                  <a:gd name="T52" fmla="*/ 542 w 705"/>
                  <a:gd name="T53" fmla="*/ 237 h 640"/>
                  <a:gd name="T54" fmla="*/ 480 w 705"/>
                  <a:gd name="T55" fmla="*/ 208 h 640"/>
                  <a:gd name="T56" fmla="*/ 454 w 705"/>
                  <a:gd name="T57" fmla="*/ 198 h 640"/>
                  <a:gd name="T58" fmla="*/ 425 w 705"/>
                  <a:gd name="T59" fmla="*/ 177 h 640"/>
                  <a:gd name="T60" fmla="*/ 416 w 705"/>
                  <a:gd name="T61" fmla="*/ 146 h 640"/>
                  <a:gd name="T62" fmla="*/ 418 w 705"/>
                  <a:gd name="T63" fmla="*/ 119 h 640"/>
                  <a:gd name="T64" fmla="*/ 416 w 705"/>
                  <a:gd name="T65" fmla="*/ 69 h 640"/>
                  <a:gd name="T66" fmla="*/ 380 w 705"/>
                  <a:gd name="T67" fmla="*/ 50 h 640"/>
                  <a:gd name="T68" fmla="*/ 349 w 705"/>
                  <a:gd name="T69" fmla="*/ 65 h 640"/>
                  <a:gd name="T70" fmla="*/ 313 w 705"/>
                  <a:gd name="T71" fmla="*/ 55 h 640"/>
                  <a:gd name="T72" fmla="*/ 294 w 705"/>
                  <a:gd name="T73" fmla="*/ 69 h 640"/>
                  <a:gd name="T74" fmla="*/ 263 w 705"/>
                  <a:gd name="T75" fmla="*/ 60 h 640"/>
                  <a:gd name="T76" fmla="*/ 251 w 705"/>
                  <a:gd name="T77" fmla="*/ 41 h 640"/>
                  <a:gd name="T78" fmla="*/ 230 w 705"/>
                  <a:gd name="T79" fmla="*/ 31 h 640"/>
                  <a:gd name="T80" fmla="*/ 201 w 705"/>
                  <a:gd name="T81" fmla="*/ 21 h 640"/>
                  <a:gd name="T82" fmla="*/ 175 w 705"/>
                  <a:gd name="T83" fmla="*/ 12 h 640"/>
                  <a:gd name="T84" fmla="*/ 163 w 705"/>
                  <a:gd name="T85" fmla="*/ 7 h 640"/>
                  <a:gd name="T86" fmla="*/ 172 w 705"/>
                  <a:gd name="T87" fmla="*/ 36 h 640"/>
                  <a:gd name="T88" fmla="*/ 163 w 705"/>
                  <a:gd name="T89" fmla="*/ 67 h 640"/>
                  <a:gd name="T90" fmla="*/ 148 w 705"/>
                  <a:gd name="T91" fmla="*/ 91 h 640"/>
                  <a:gd name="T92" fmla="*/ 129 w 705"/>
                  <a:gd name="T93" fmla="*/ 115 h 640"/>
                  <a:gd name="T94" fmla="*/ 105 w 705"/>
                  <a:gd name="T95" fmla="*/ 98 h 640"/>
                  <a:gd name="T96" fmla="*/ 94 w 705"/>
                  <a:gd name="T97" fmla="*/ 115 h 640"/>
                  <a:gd name="T98" fmla="*/ 84 w 705"/>
                  <a:gd name="T99" fmla="*/ 139 h 640"/>
                  <a:gd name="T100" fmla="*/ 105 w 705"/>
                  <a:gd name="T101" fmla="*/ 167 h 640"/>
                  <a:gd name="T102" fmla="*/ 89 w 705"/>
                  <a:gd name="T103" fmla="*/ 182 h 640"/>
                  <a:gd name="T104" fmla="*/ 70 w 705"/>
                  <a:gd name="T105" fmla="*/ 210 h 640"/>
                  <a:gd name="T106" fmla="*/ 51 w 705"/>
                  <a:gd name="T107" fmla="*/ 227 h 640"/>
                  <a:gd name="T108" fmla="*/ 55 w 705"/>
                  <a:gd name="T109" fmla="*/ 258 h 640"/>
                  <a:gd name="T110" fmla="*/ 58 w 705"/>
                  <a:gd name="T111" fmla="*/ 277 h 640"/>
                  <a:gd name="T112" fmla="*/ 60 w 705"/>
                  <a:gd name="T113" fmla="*/ 311 h 640"/>
                  <a:gd name="T114" fmla="*/ 46 w 705"/>
                  <a:gd name="T115" fmla="*/ 339 h 640"/>
                  <a:gd name="T116" fmla="*/ 34 w 705"/>
                  <a:gd name="T117" fmla="*/ 363 h 640"/>
                  <a:gd name="T118" fmla="*/ 70 w 705"/>
                  <a:gd name="T119" fmla="*/ 380 h 640"/>
                  <a:gd name="T120" fmla="*/ 41 w 705"/>
                  <a:gd name="T121" fmla="*/ 399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5" h="640">
                    <a:moveTo>
                      <a:pt x="36" y="430"/>
                    </a:moveTo>
                    <a:lnTo>
                      <a:pt x="34" y="435"/>
                    </a:lnTo>
                    <a:lnTo>
                      <a:pt x="36" y="435"/>
                    </a:lnTo>
                    <a:lnTo>
                      <a:pt x="36" y="435"/>
                    </a:lnTo>
                    <a:lnTo>
                      <a:pt x="36" y="437"/>
                    </a:lnTo>
                    <a:lnTo>
                      <a:pt x="36" y="437"/>
                    </a:lnTo>
                    <a:lnTo>
                      <a:pt x="36" y="440"/>
                    </a:lnTo>
                    <a:lnTo>
                      <a:pt x="36" y="442"/>
                    </a:lnTo>
                    <a:lnTo>
                      <a:pt x="36" y="444"/>
                    </a:lnTo>
                    <a:lnTo>
                      <a:pt x="36" y="447"/>
                    </a:lnTo>
                    <a:lnTo>
                      <a:pt x="36" y="449"/>
                    </a:lnTo>
                    <a:lnTo>
                      <a:pt x="36" y="449"/>
                    </a:lnTo>
                    <a:lnTo>
                      <a:pt x="36" y="454"/>
                    </a:lnTo>
                    <a:lnTo>
                      <a:pt x="34" y="459"/>
                    </a:lnTo>
                    <a:lnTo>
                      <a:pt x="34" y="461"/>
                    </a:lnTo>
                    <a:lnTo>
                      <a:pt x="34" y="464"/>
                    </a:lnTo>
                    <a:lnTo>
                      <a:pt x="34" y="466"/>
                    </a:lnTo>
                    <a:lnTo>
                      <a:pt x="34" y="468"/>
                    </a:lnTo>
                    <a:lnTo>
                      <a:pt x="34" y="471"/>
                    </a:lnTo>
                    <a:lnTo>
                      <a:pt x="34" y="473"/>
                    </a:lnTo>
                    <a:lnTo>
                      <a:pt x="34" y="476"/>
                    </a:lnTo>
                    <a:lnTo>
                      <a:pt x="34" y="478"/>
                    </a:lnTo>
                    <a:lnTo>
                      <a:pt x="34" y="480"/>
                    </a:lnTo>
                    <a:lnTo>
                      <a:pt x="34" y="483"/>
                    </a:lnTo>
                    <a:lnTo>
                      <a:pt x="34" y="485"/>
                    </a:lnTo>
                    <a:lnTo>
                      <a:pt x="36" y="485"/>
                    </a:lnTo>
                    <a:lnTo>
                      <a:pt x="36" y="487"/>
                    </a:lnTo>
                    <a:lnTo>
                      <a:pt x="36" y="490"/>
                    </a:lnTo>
                    <a:lnTo>
                      <a:pt x="34" y="490"/>
                    </a:lnTo>
                    <a:lnTo>
                      <a:pt x="31" y="490"/>
                    </a:lnTo>
                    <a:lnTo>
                      <a:pt x="29" y="490"/>
                    </a:lnTo>
                    <a:lnTo>
                      <a:pt x="29" y="492"/>
                    </a:lnTo>
                    <a:lnTo>
                      <a:pt x="29" y="495"/>
                    </a:lnTo>
                    <a:lnTo>
                      <a:pt x="29" y="497"/>
                    </a:lnTo>
                    <a:lnTo>
                      <a:pt x="31" y="497"/>
                    </a:lnTo>
                    <a:lnTo>
                      <a:pt x="34" y="497"/>
                    </a:lnTo>
                    <a:lnTo>
                      <a:pt x="36" y="499"/>
                    </a:lnTo>
                    <a:lnTo>
                      <a:pt x="36" y="502"/>
                    </a:lnTo>
                    <a:lnTo>
                      <a:pt x="34" y="504"/>
                    </a:lnTo>
                    <a:lnTo>
                      <a:pt x="31" y="504"/>
                    </a:lnTo>
                    <a:lnTo>
                      <a:pt x="29" y="504"/>
                    </a:lnTo>
                    <a:lnTo>
                      <a:pt x="27" y="504"/>
                    </a:lnTo>
                    <a:lnTo>
                      <a:pt x="29" y="504"/>
                    </a:lnTo>
                    <a:lnTo>
                      <a:pt x="29" y="507"/>
                    </a:lnTo>
                    <a:lnTo>
                      <a:pt x="31" y="507"/>
                    </a:lnTo>
                    <a:lnTo>
                      <a:pt x="34" y="507"/>
                    </a:lnTo>
                    <a:lnTo>
                      <a:pt x="36" y="507"/>
                    </a:lnTo>
                    <a:lnTo>
                      <a:pt x="36" y="509"/>
                    </a:lnTo>
                    <a:lnTo>
                      <a:pt x="36" y="511"/>
                    </a:lnTo>
                    <a:lnTo>
                      <a:pt x="36" y="516"/>
                    </a:lnTo>
                    <a:lnTo>
                      <a:pt x="36" y="516"/>
                    </a:lnTo>
                    <a:lnTo>
                      <a:pt x="36" y="519"/>
                    </a:lnTo>
                    <a:lnTo>
                      <a:pt x="34" y="519"/>
                    </a:lnTo>
                    <a:lnTo>
                      <a:pt x="31" y="519"/>
                    </a:lnTo>
                    <a:lnTo>
                      <a:pt x="29" y="521"/>
                    </a:lnTo>
                    <a:lnTo>
                      <a:pt x="24" y="521"/>
                    </a:lnTo>
                    <a:lnTo>
                      <a:pt x="24" y="523"/>
                    </a:lnTo>
                    <a:lnTo>
                      <a:pt x="24" y="526"/>
                    </a:lnTo>
                    <a:lnTo>
                      <a:pt x="27" y="526"/>
                    </a:lnTo>
                    <a:lnTo>
                      <a:pt x="29" y="528"/>
                    </a:lnTo>
                    <a:lnTo>
                      <a:pt x="29" y="531"/>
                    </a:lnTo>
                    <a:lnTo>
                      <a:pt x="27" y="531"/>
                    </a:lnTo>
                    <a:lnTo>
                      <a:pt x="24" y="531"/>
                    </a:lnTo>
                    <a:lnTo>
                      <a:pt x="22" y="531"/>
                    </a:lnTo>
                    <a:lnTo>
                      <a:pt x="20" y="531"/>
                    </a:lnTo>
                    <a:lnTo>
                      <a:pt x="20" y="533"/>
                    </a:lnTo>
                    <a:lnTo>
                      <a:pt x="20" y="535"/>
                    </a:lnTo>
                    <a:lnTo>
                      <a:pt x="17" y="535"/>
                    </a:lnTo>
                    <a:lnTo>
                      <a:pt x="15" y="535"/>
                    </a:lnTo>
                    <a:lnTo>
                      <a:pt x="12" y="535"/>
                    </a:lnTo>
                    <a:lnTo>
                      <a:pt x="10" y="535"/>
                    </a:lnTo>
                    <a:lnTo>
                      <a:pt x="8" y="533"/>
                    </a:lnTo>
                    <a:lnTo>
                      <a:pt x="5" y="533"/>
                    </a:lnTo>
                    <a:lnTo>
                      <a:pt x="3" y="533"/>
                    </a:lnTo>
                    <a:lnTo>
                      <a:pt x="0" y="533"/>
                    </a:lnTo>
                    <a:lnTo>
                      <a:pt x="0" y="535"/>
                    </a:lnTo>
                    <a:lnTo>
                      <a:pt x="0" y="538"/>
                    </a:lnTo>
                    <a:lnTo>
                      <a:pt x="3" y="538"/>
                    </a:lnTo>
                    <a:lnTo>
                      <a:pt x="3" y="540"/>
                    </a:lnTo>
                    <a:lnTo>
                      <a:pt x="3" y="542"/>
                    </a:lnTo>
                    <a:lnTo>
                      <a:pt x="5" y="542"/>
                    </a:lnTo>
                    <a:lnTo>
                      <a:pt x="5" y="545"/>
                    </a:lnTo>
                    <a:lnTo>
                      <a:pt x="8" y="547"/>
                    </a:lnTo>
                    <a:lnTo>
                      <a:pt x="10" y="550"/>
                    </a:lnTo>
                    <a:lnTo>
                      <a:pt x="12" y="550"/>
                    </a:lnTo>
                    <a:lnTo>
                      <a:pt x="17" y="552"/>
                    </a:lnTo>
                    <a:lnTo>
                      <a:pt x="20" y="552"/>
                    </a:lnTo>
                    <a:lnTo>
                      <a:pt x="22" y="552"/>
                    </a:lnTo>
                    <a:lnTo>
                      <a:pt x="27" y="552"/>
                    </a:lnTo>
                    <a:lnTo>
                      <a:pt x="29" y="552"/>
                    </a:lnTo>
                    <a:lnTo>
                      <a:pt x="31" y="554"/>
                    </a:lnTo>
                    <a:lnTo>
                      <a:pt x="34" y="554"/>
                    </a:lnTo>
                    <a:lnTo>
                      <a:pt x="36" y="554"/>
                    </a:lnTo>
                    <a:lnTo>
                      <a:pt x="39" y="557"/>
                    </a:lnTo>
                    <a:lnTo>
                      <a:pt x="43" y="557"/>
                    </a:lnTo>
                    <a:lnTo>
                      <a:pt x="46" y="559"/>
                    </a:lnTo>
                    <a:lnTo>
                      <a:pt x="48" y="562"/>
                    </a:lnTo>
                    <a:lnTo>
                      <a:pt x="51" y="562"/>
                    </a:lnTo>
                    <a:lnTo>
                      <a:pt x="53" y="566"/>
                    </a:lnTo>
                    <a:lnTo>
                      <a:pt x="53" y="569"/>
                    </a:lnTo>
                    <a:lnTo>
                      <a:pt x="51" y="569"/>
                    </a:lnTo>
                    <a:lnTo>
                      <a:pt x="48" y="569"/>
                    </a:lnTo>
                    <a:lnTo>
                      <a:pt x="46" y="571"/>
                    </a:lnTo>
                    <a:lnTo>
                      <a:pt x="43" y="571"/>
                    </a:lnTo>
                    <a:lnTo>
                      <a:pt x="41" y="571"/>
                    </a:lnTo>
                    <a:lnTo>
                      <a:pt x="39" y="571"/>
                    </a:lnTo>
                    <a:lnTo>
                      <a:pt x="36" y="574"/>
                    </a:lnTo>
                    <a:lnTo>
                      <a:pt x="36" y="578"/>
                    </a:lnTo>
                    <a:lnTo>
                      <a:pt x="36" y="583"/>
                    </a:lnTo>
                    <a:lnTo>
                      <a:pt x="36" y="585"/>
                    </a:lnTo>
                    <a:lnTo>
                      <a:pt x="36" y="588"/>
                    </a:lnTo>
                    <a:lnTo>
                      <a:pt x="36" y="590"/>
                    </a:lnTo>
                    <a:lnTo>
                      <a:pt x="39" y="593"/>
                    </a:lnTo>
                    <a:lnTo>
                      <a:pt x="39" y="595"/>
                    </a:lnTo>
                    <a:lnTo>
                      <a:pt x="39" y="597"/>
                    </a:lnTo>
                    <a:lnTo>
                      <a:pt x="39" y="600"/>
                    </a:lnTo>
                    <a:lnTo>
                      <a:pt x="36" y="605"/>
                    </a:lnTo>
                    <a:lnTo>
                      <a:pt x="36" y="607"/>
                    </a:lnTo>
                    <a:lnTo>
                      <a:pt x="39" y="612"/>
                    </a:lnTo>
                    <a:lnTo>
                      <a:pt x="41" y="617"/>
                    </a:lnTo>
                    <a:lnTo>
                      <a:pt x="41" y="619"/>
                    </a:lnTo>
                    <a:lnTo>
                      <a:pt x="41" y="624"/>
                    </a:lnTo>
                    <a:lnTo>
                      <a:pt x="39" y="626"/>
                    </a:lnTo>
                    <a:lnTo>
                      <a:pt x="36" y="626"/>
                    </a:lnTo>
                    <a:lnTo>
                      <a:pt x="36" y="626"/>
                    </a:lnTo>
                    <a:lnTo>
                      <a:pt x="34" y="624"/>
                    </a:lnTo>
                    <a:lnTo>
                      <a:pt x="36" y="628"/>
                    </a:lnTo>
                    <a:lnTo>
                      <a:pt x="43" y="631"/>
                    </a:lnTo>
                    <a:lnTo>
                      <a:pt x="51" y="638"/>
                    </a:lnTo>
                    <a:lnTo>
                      <a:pt x="62" y="638"/>
                    </a:lnTo>
                    <a:lnTo>
                      <a:pt x="79" y="640"/>
                    </a:lnTo>
                    <a:lnTo>
                      <a:pt x="86" y="640"/>
                    </a:lnTo>
                    <a:lnTo>
                      <a:pt x="98" y="640"/>
                    </a:lnTo>
                    <a:lnTo>
                      <a:pt x="110" y="640"/>
                    </a:lnTo>
                    <a:lnTo>
                      <a:pt x="115" y="636"/>
                    </a:lnTo>
                    <a:lnTo>
                      <a:pt x="122" y="633"/>
                    </a:lnTo>
                    <a:lnTo>
                      <a:pt x="127" y="640"/>
                    </a:lnTo>
                    <a:lnTo>
                      <a:pt x="139" y="638"/>
                    </a:lnTo>
                    <a:lnTo>
                      <a:pt x="144" y="633"/>
                    </a:lnTo>
                    <a:lnTo>
                      <a:pt x="153" y="624"/>
                    </a:lnTo>
                    <a:lnTo>
                      <a:pt x="156" y="619"/>
                    </a:lnTo>
                    <a:lnTo>
                      <a:pt x="165" y="612"/>
                    </a:lnTo>
                    <a:lnTo>
                      <a:pt x="172" y="607"/>
                    </a:lnTo>
                    <a:lnTo>
                      <a:pt x="184" y="607"/>
                    </a:lnTo>
                    <a:lnTo>
                      <a:pt x="191" y="609"/>
                    </a:lnTo>
                    <a:lnTo>
                      <a:pt x="208" y="609"/>
                    </a:lnTo>
                    <a:lnTo>
                      <a:pt x="210" y="607"/>
                    </a:lnTo>
                    <a:lnTo>
                      <a:pt x="225" y="609"/>
                    </a:lnTo>
                    <a:lnTo>
                      <a:pt x="227" y="614"/>
                    </a:lnTo>
                    <a:lnTo>
                      <a:pt x="237" y="614"/>
                    </a:lnTo>
                    <a:lnTo>
                      <a:pt x="242" y="607"/>
                    </a:lnTo>
                    <a:lnTo>
                      <a:pt x="242" y="600"/>
                    </a:lnTo>
                    <a:lnTo>
                      <a:pt x="242" y="595"/>
                    </a:lnTo>
                    <a:lnTo>
                      <a:pt x="253" y="602"/>
                    </a:lnTo>
                    <a:lnTo>
                      <a:pt x="256" y="600"/>
                    </a:lnTo>
                    <a:lnTo>
                      <a:pt x="256" y="593"/>
                    </a:lnTo>
                    <a:lnTo>
                      <a:pt x="263" y="585"/>
                    </a:lnTo>
                    <a:lnTo>
                      <a:pt x="270" y="585"/>
                    </a:lnTo>
                    <a:lnTo>
                      <a:pt x="282" y="585"/>
                    </a:lnTo>
                    <a:lnTo>
                      <a:pt x="289" y="583"/>
                    </a:lnTo>
                    <a:lnTo>
                      <a:pt x="294" y="583"/>
                    </a:lnTo>
                    <a:lnTo>
                      <a:pt x="296" y="583"/>
                    </a:lnTo>
                    <a:lnTo>
                      <a:pt x="304" y="571"/>
                    </a:lnTo>
                    <a:lnTo>
                      <a:pt x="296" y="564"/>
                    </a:lnTo>
                    <a:lnTo>
                      <a:pt x="299" y="562"/>
                    </a:lnTo>
                    <a:lnTo>
                      <a:pt x="296" y="559"/>
                    </a:lnTo>
                    <a:lnTo>
                      <a:pt x="296" y="562"/>
                    </a:lnTo>
                    <a:moveTo>
                      <a:pt x="296" y="562"/>
                    </a:moveTo>
                    <a:lnTo>
                      <a:pt x="296" y="559"/>
                    </a:lnTo>
                    <a:lnTo>
                      <a:pt x="299" y="557"/>
                    </a:lnTo>
                    <a:lnTo>
                      <a:pt x="294" y="550"/>
                    </a:lnTo>
                    <a:lnTo>
                      <a:pt x="299" y="542"/>
                    </a:lnTo>
                    <a:lnTo>
                      <a:pt x="299" y="535"/>
                    </a:lnTo>
                    <a:lnTo>
                      <a:pt x="301" y="533"/>
                    </a:lnTo>
                    <a:lnTo>
                      <a:pt x="311" y="531"/>
                    </a:lnTo>
                    <a:lnTo>
                      <a:pt x="316" y="531"/>
                    </a:lnTo>
                    <a:lnTo>
                      <a:pt x="325" y="528"/>
                    </a:lnTo>
                    <a:lnTo>
                      <a:pt x="337" y="526"/>
                    </a:lnTo>
                    <a:lnTo>
                      <a:pt x="344" y="526"/>
                    </a:lnTo>
                    <a:lnTo>
                      <a:pt x="347" y="523"/>
                    </a:lnTo>
                    <a:lnTo>
                      <a:pt x="351" y="519"/>
                    </a:lnTo>
                    <a:lnTo>
                      <a:pt x="361" y="519"/>
                    </a:lnTo>
                    <a:lnTo>
                      <a:pt x="368" y="516"/>
                    </a:lnTo>
                    <a:lnTo>
                      <a:pt x="375" y="509"/>
                    </a:lnTo>
                    <a:lnTo>
                      <a:pt x="382" y="507"/>
                    </a:lnTo>
                    <a:lnTo>
                      <a:pt x="390" y="504"/>
                    </a:lnTo>
                    <a:lnTo>
                      <a:pt x="394" y="509"/>
                    </a:lnTo>
                    <a:lnTo>
                      <a:pt x="404" y="511"/>
                    </a:lnTo>
                    <a:lnTo>
                      <a:pt x="409" y="519"/>
                    </a:lnTo>
                    <a:lnTo>
                      <a:pt x="416" y="519"/>
                    </a:lnTo>
                    <a:lnTo>
                      <a:pt x="421" y="511"/>
                    </a:lnTo>
                    <a:lnTo>
                      <a:pt x="425" y="502"/>
                    </a:lnTo>
                    <a:lnTo>
                      <a:pt x="432" y="495"/>
                    </a:lnTo>
                    <a:lnTo>
                      <a:pt x="430" y="495"/>
                    </a:lnTo>
                    <a:lnTo>
                      <a:pt x="430" y="492"/>
                    </a:lnTo>
                    <a:lnTo>
                      <a:pt x="425" y="487"/>
                    </a:lnTo>
                    <a:lnTo>
                      <a:pt x="425" y="478"/>
                    </a:lnTo>
                    <a:lnTo>
                      <a:pt x="428" y="471"/>
                    </a:lnTo>
                    <a:lnTo>
                      <a:pt x="432" y="466"/>
                    </a:lnTo>
                    <a:lnTo>
                      <a:pt x="432" y="464"/>
                    </a:lnTo>
                    <a:lnTo>
                      <a:pt x="442" y="464"/>
                    </a:lnTo>
                    <a:lnTo>
                      <a:pt x="444" y="456"/>
                    </a:lnTo>
                    <a:lnTo>
                      <a:pt x="461" y="461"/>
                    </a:lnTo>
                    <a:lnTo>
                      <a:pt x="464" y="466"/>
                    </a:lnTo>
                    <a:lnTo>
                      <a:pt x="471" y="476"/>
                    </a:lnTo>
                    <a:lnTo>
                      <a:pt x="473" y="478"/>
                    </a:lnTo>
                    <a:lnTo>
                      <a:pt x="471" y="483"/>
                    </a:lnTo>
                    <a:lnTo>
                      <a:pt x="471" y="487"/>
                    </a:lnTo>
                    <a:lnTo>
                      <a:pt x="475" y="490"/>
                    </a:lnTo>
                    <a:lnTo>
                      <a:pt x="480" y="485"/>
                    </a:lnTo>
                    <a:lnTo>
                      <a:pt x="487" y="487"/>
                    </a:lnTo>
                    <a:lnTo>
                      <a:pt x="487" y="492"/>
                    </a:lnTo>
                    <a:lnTo>
                      <a:pt x="492" y="497"/>
                    </a:lnTo>
                    <a:lnTo>
                      <a:pt x="502" y="497"/>
                    </a:lnTo>
                    <a:lnTo>
                      <a:pt x="506" y="492"/>
                    </a:lnTo>
                    <a:lnTo>
                      <a:pt x="504" y="487"/>
                    </a:lnTo>
                    <a:lnTo>
                      <a:pt x="509" y="485"/>
                    </a:lnTo>
                    <a:lnTo>
                      <a:pt x="506" y="478"/>
                    </a:lnTo>
                    <a:lnTo>
                      <a:pt x="504" y="471"/>
                    </a:lnTo>
                    <a:lnTo>
                      <a:pt x="492" y="471"/>
                    </a:lnTo>
                    <a:lnTo>
                      <a:pt x="490" y="471"/>
                    </a:lnTo>
                    <a:lnTo>
                      <a:pt x="490" y="461"/>
                    </a:lnTo>
                    <a:lnTo>
                      <a:pt x="478" y="461"/>
                    </a:lnTo>
                    <a:lnTo>
                      <a:pt x="478" y="456"/>
                    </a:lnTo>
                    <a:lnTo>
                      <a:pt x="478" y="449"/>
                    </a:lnTo>
                    <a:lnTo>
                      <a:pt x="485" y="452"/>
                    </a:lnTo>
                    <a:lnTo>
                      <a:pt x="490" y="454"/>
                    </a:lnTo>
                    <a:lnTo>
                      <a:pt x="492" y="449"/>
                    </a:lnTo>
                    <a:lnTo>
                      <a:pt x="499" y="440"/>
                    </a:lnTo>
                    <a:lnTo>
                      <a:pt x="504" y="437"/>
                    </a:lnTo>
                    <a:lnTo>
                      <a:pt x="511" y="442"/>
                    </a:lnTo>
                    <a:lnTo>
                      <a:pt x="514" y="447"/>
                    </a:lnTo>
                    <a:lnTo>
                      <a:pt x="521" y="447"/>
                    </a:lnTo>
                    <a:lnTo>
                      <a:pt x="523" y="449"/>
                    </a:lnTo>
                    <a:lnTo>
                      <a:pt x="526" y="452"/>
                    </a:lnTo>
                    <a:lnTo>
                      <a:pt x="533" y="449"/>
                    </a:lnTo>
                    <a:lnTo>
                      <a:pt x="540" y="454"/>
                    </a:lnTo>
                    <a:lnTo>
                      <a:pt x="549" y="452"/>
                    </a:lnTo>
                    <a:lnTo>
                      <a:pt x="552" y="456"/>
                    </a:lnTo>
                    <a:lnTo>
                      <a:pt x="557" y="452"/>
                    </a:lnTo>
                    <a:lnTo>
                      <a:pt x="554" y="452"/>
                    </a:lnTo>
                    <a:lnTo>
                      <a:pt x="552" y="447"/>
                    </a:lnTo>
                    <a:lnTo>
                      <a:pt x="549" y="442"/>
                    </a:lnTo>
                    <a:lnTo>
                      <a:pt x="552" y="440"/>
                    </a:lnTo>
                    <a:lnTo>
                      <a:pt x="554" y="437"/>
                    </a:lnTo>
                    <a:lnTo>
                      <a:pt x="559" y="430"/>
                    </a:lnTo>
                    <a:lnTo>
                      <a:pt x="564" y="425"/>
                    </a:lnTo>
                    <a:lnTo>
                      <a:pt x="566" y="430"/>
                    </a:lnTo>
                    <a:lnTo>
                      <a:pt x="569" y="433"/>
                    </a:lnTo>
                    <a:lnTo>
                      <a:pt x="573" y="428"/>
                    </a:lnTo>
                    <a:lnTo>
                      <a:pt x="578" y="428"/>
                    </a:lnTo>
                    <a:lnTo>
                      <a:pt x="580" y="428"/>
                    </a:lnTo>
                    <a:lnTo>
                      <a:pt x="592" y="425"/>
                    </a:lnTo>
                    <a:lnTo>
                      <a:pt x="595" y="425"/>
                    </a:lnTo>
                    <a:lnTo>
                      <a:pt x="600" y="416"/>
                    </a:lnTo>
                    <a:lnTo>
                      <a:pt x="602" y="411"/>
                    </a:lnTo>
                    <a:lnTo>
                      <a:pt x="609" y="411"/>
                    </a:lnTo>
                    <a:lnTo>
                      <a:pt x="616" y="406"/>
                    </a:lnTo>
                    <a:lnTo>
                      <a:pt x="619" y="401"/>
                    </a:lnTo>
                    <a:lnTo>
                      <a:pt x="628" y="404"/>
                    </a:lnTo>
                    <a:lnTo>
                      <a:pt x="635" y="401"/>
                    </a:lnTo>
                    <a:lnTo>
                      <a:pt x="640" y="397"/>
                    </a:lnTo>
                    <a:lnTo>
                      <a:pt x="645" y="392"/>
                    </a:lnTo>
                    <a:lnTo>
                      <a:pt x="647" y="385"/>
                    </a:lnTo>
                    <a:lnTo>
                      <a:pt x="652" y="390"/>
                    </a:lnTo>
                    <a:lnTo>
                      <a:pt x="657" y="390"/>
                    </a:lnTo>
                    <a:lnTo>
                      <a:pt x="662" y="387"/>
                    </a:lnTo>
                    <a:lnTo>
                      <a:pt x="664" y="385"/>
                    </a:lnTo>
                    <a:lnTo>
                      <a:pt x="664" y="378"/>
                    </a:lnTo>
                    <a:lnTo>
                      <a:pt x="666" y="373"/>
                    </a:lnTo>
                    <a:lnTo>
                      <a:pt x="669" y="366"/>
                    </a:lnTo>
                    <a:lnTo>
                      <a:pt x="669" y="358"/>
                    </a:lnTo>
                    <a:lnTo>
                      <a:pt x="671" y="356"/>
                    </a:lnTo>
                    <a:lnTo>
                      <a:pt x="676" y="351"/>
                    </a:lnTo>
                    <a:lnTo>
                      <a:pt x="678" y="349"/>
                    </a:lnTo>
                    <a:lnTo>
                      <a:pt x="683" y="349"/>
                    </a:lnTo>
                    <a:lnTo>
                      <a:pt x="686" y="346"/>
                    </a:lnTo>
                    <a:lnTo>
                      <a:pt x="688" y="344"/>
                    </a:lnTo>
                    <a:lnTo>
                      <a:pt x="693" y="339"/>
                    </a:lnTo>
                    <a:lnTo>
                      <a:pt x="700" y="335"/>
                    </a:lnTo>
                    <a:lnTo>
                      <a:pt x="705" y="332"/>
                    </a:lnTo>
                    <a:lnTo>
                      <a:pt x="705" y="327"/>
                    </a:lnTo>
                    <a:lnTo>
                      <a:pt x="702" y="318"/>
                    </a:lnTo>
                    <a:lnTo>
                      <a:pt x="700" y="320"/>
                    </a:lnTo>
                    <a:lnTo>
                      <a:pt x="697" y="320"/>
                    </a:lnTo>
                    <a:lnTo>
                      <a:pt x="695" y="320"/>
                    </a:lnTo>
                    <a:lnTo>
                      <a:pt x="693" y="320"/>
                    </a:lnTo>
                    <a:lnTo>
                      <a:pt x="693" y="318"/>
                    </a:lnTo>
                    <a:lnTo>
                      <a:pt x="690" y="318"/>
                    </a:lnTo>
                    <a:lnTo>
                      <a:pt x="688" y="318"/>
                    </a:lnTo>
                    <a:lnTo>
                      <a:pt x="686" y="318"/>
                    </a:lnTo>
                    <a:lnTo>
                      <a:pt x="683" y="318"/>
                    </a:lnTo>
                    <a:lnTo>
                      <a:pt x="681" y="320"/>
                    </a:lnTo>
                    <a:lnTo>
                      <a:pt x="678" y="320"/>
                    </a:lnTo>
                    <a:lnTo>
                      <a:pt x="676" y="320"/>
                    </a:lnTo>
                    <a:lnTo>
                      <a:pt x="671" y="323"/>
                    </a:lnTo>
                    <a:lnTo>
                      <a:pt x="669" y="323"/>
                    </a:lnTo>
                    <a:lnTo>
                      <a:pt x="666" y="325"/>
                    </a:lnTo>
                    <a:lnTo>
                      <a:pt x="664" y="325"/>
                    </a:lnTo>
                    <a:lnTo>
                      <a:pt x="662" y="327"/>
                    </a:lnTo>
                    <a:lnTo>
                      <a:pt x="659" y="327"/>
                    </a:lnTo>
                    <a:lnTo>
                      <a:pt x="657" y="327"/>
                    </a:lnTo>
                    <a:lnTo>
                      <a:pt x="654" y="327"/>
                    </a:lnTo>
                    <a:lnTo>
                      <a:pt x="654" y="325"/>
                    </a:lnTo>
                    <a:lnTo>
                      <a:pt x="652" y="325"/>
                    </a:lnTo>
                    <a:lnTo>
                      <a:pt x="647" y="325"/>
                    </a:lnTo>
                    <a:lnTo>
                      <a:pt x="647" y="327"/>
                    </a:lnTo>
                    <a:lnTo>
                      <a:pt x="645" y="327"/>
                    </a:lnTo>
                    <a:lnTo>
                      <a:pt x="643" y="327"/>
                    </a:lnTo>
                    <a:lnTo>
                      <a:pt x="640" y="327"/>
                    </a:lnTo>
                    <a:lnTo>
                      <a:pt x="638" y="327"/>
                    </a:lnTo>
                    <a:lnTo>
                      <a:pt x="635" y="327"/>
                    </a:lnTo>
                    <a:lnTo>
                      <a:pt x="633" y="327"/>
                    </a:lnTo>
                    <a:lnTo>
                      <a:pt x="631" y="330"/>
                    </a:lnTo>
                    <a:lnTo>
                      <a:pt x="628" y="330"/>
                    </a:lnTo>
                    <a:lnTo>
                      <a:pt x="626" y="327"/>
                    </a:lnTo>
                    <a:lnTo>
                      <a:pt x="621" y="327"/>
                    </a:lnTo>
                    <a:lnTo>
                      <a:pt x="616" y="325"/>
                    </a:lnTo>
                    <a:lnTo>
                      <a:pt x="614" y="325"/>
                    </a:lnTo>
                    <a:lnTo>
                      <a:pt x="609" y="325"/>
                    </a:lnTo>
                    <a:lnTo>
                      <a:pt x="607" y="325"/>
                    </a:lnTo>
                    <a:lnTo>
                      <a:pt x="604" y="327"/>
                    </a:lnTo>
                    <a:lnTo>
                      <a:pt x="600" y="330"/>
                    </a:lnTo>
                    <a:lnTo>
                      <a:pt x="597" y="332"/>
                    </a:lnTo>
                    <a:lnTo>
                      <a:pt x="595" y="332"/>
                    </a:lnTo>
                    <a:lnTo>
                      <a:pt x="590" y="335"/>
                    </a:lnTo>
                    <a:lnTo>
                      <a:pt x="588" y="335"/>
                    </a:lnTo>
                    <a:lnTo>
                      <a:pt x="585" y="335"/>
                    </a:lnTo>
                    <a:lnTo>
                      <a:pt x="585" y="332"/>
                    </a:lnTo>
                    <a:lnTo>
                      <a:pt x="583" y="330"/>
                    </a:lnTo>
                    <a:lnTo>
                      <a:pt x="583" y="323"/>
                    </a:lnTo>
                    <a:lnTo>
                      <a:pt x="585" y="318"/>
                    </a:lnTo>
                    <a:lnTo>
                      <a:pt x="585" y="313"/>
                    </a:lnTo>
                    <a:lnTo>
                      <a:pt x="585" y="311"/>
                    </a:lnTo>
                    <a:lnTo>
                      <a:pt x="585" y="306"/>
                    </a:lnTo>
                    <a:lnTo>
                      <a:pt x="583" y="301"/>
                    </a:lnTo>
                    <a:lnTo>
                      <a:pt x="583" y="299"/>
                    </a:lnTo>
                    <a:lnTo>
                      <a:pt x="580" y="296"/>
                    </a:lnTo>
                    <a:lnTo>
                      <a:pt x="578" y="292"/>
                    </a:lnTo>
                    <a:lnTo>
                      <a:pt x="576" y="289"/>
                    </a:lnTo>
                    <a:lnTo>
                      <a:pt x="576" y="284"/>
                    </a:lnTo>
                    <a:lnTo>
                      <a:pt x="578" y="282"/>
                    </a:lnTo>
                    <a:lnTo>
                      <a:pt x="578" y="280"/>
                    </a:lnTo>
                    <a:lnTo>
                      <a:pt x="580" y="275"/>
                    </a:lnTo>
                    <a:lnTo>
                      <a:pt x="580" y="272"/>
                    </a:lnTo>
                    <a:lnTo>
                      <a:pt x="578" y="272"/>
                    </a:lnTo>
                    <a:lnTo>
                      <a:pt x="576" y="275"/>
                    </a:lnTo>
                    <a:lnTo>
                      <a:pt x="571" y="277"/>
                    </a:lnTo>
                    <a:lnTo>
                      <a:pt x="569" y="277"/>
                    </a:lnTo>
                    <a:lnTo>
                      <a:pt x="569" y="277"/>
                    </a:lnTo>
                    <a:lnTo>
                      <a:pt x="566" y="275"/>
                    </a:lnTo>
                    <a:lnTo>
                      <a:pt x="564" y="275"/>
                    </a:lnTo>
                    <a:lnTo>
                      <a:pt x="564" y="272"/>
                    </a:lnTo>
                    <a:lnTo>
                      <a:pt x="564" y="270"/>
                    </a:lnTo>
                    <a:lnTo>
                      <a:pt x="564" y="268"/>
                    </a:lnTo>
                    <a:lnTo>
                      <a:pt x="561" y="265"/>
                    </a:lnTo>
                    <a:lnTo>
                      <a:pt x="559" y="260"/>
                    </a:lnTo>
                    <a:lnTo>
                      <a:pt x="557" y="265"/>
                    </a:lnTo>
                    <a:lnTo>
                      <a:pt x="557" y="270"/>
                    </a:lnTo>
                    <a:lnTo>
                      <a:pt x="554" y="275"/>
                    </a:lnTo>
                    <a:lnTo>
                      <a:pt x="552" y="275"/>
                    </a:lnTo>
                    <a:lnTo>
                      <a:pt x="549" y="275"/>
                    </a:lnTo>
                    <a:lnTo>
                      <a:pt x="547" y="272"/>
                    </a:lnTo>
                    <a:lnTo>
                      <a:pt x="545" y="272"/>
                    </a:lnTo>
                    <a:lnTo>
                      <a:pt x="542" y="270"/>
                    </a:lnTo>
                    <a:lnTo>
                      <a:pt x="542" y="268"/>
                    </a:lnTo>
                    <a:lnTo>
                      <a:pt x="542" y="265"/>
                    </a:lnTo>
                    <a:lnTo>
                      <a:pt x="545" y="265"/>
                    </a:lnTo>
                    <a:lnTo>
                      <a:pt x="547" y="263"/>
                    </a:lnTo>
                    <a:lnTo>
                      <a:pt x="549" y="260"/>
                    </a:lnTo>
                    <a:lnTo>
                      <a:pt x="552" y="258"/>
                    </a:lnTo>
                    <a:lnTo>
                      <a:pt x="552" y="256"/>
                    </a:lnTo>
                    <a:lnTo>
                      <a:pt x="549" y="253"/>
                    </a:lnTo>
                    <a:lnTo>
                      <a:pt x="547" y="251"/>
                    </a:lnTo>
                    <a:lnTo>
                      <a:pt x="545" y="246"/>
                    </a:lnTo>
                    <a:lnTo>
                      <a:pt x="545" y="244"/>
                    </a:lnTo>
                    <a:lnTo>
                      <a:pt x="542" y="239"/>
                    </a:lnTo>
                    <a:lnTo>
                      <a:pt x="542" y="237"/>
                    </a:lnTo>
                    <a:lnTo>
                      <a:pt x="540" y="234"/>
                    </a:lnTo>
                    <a:lnTo>
                      <a:pt x="533" y="229"/>
                    </a:lnTo>
                    <a:lnTo>
                      <a:pt x="509" y="206"/>
                    </a:lnTo>
                    <a:lnTo>
                      <a:pt x="504" y="206"/>
                    </a:lnTo>
                    <a:lnTo>
                      <a:pt x="502" y="203"/>
                    </a:lnTo>
                    <a:lnTo>
                      <a:pt x="497" y="203"/>
                    </a:lnTo>
                    <a:lnTo>
                      <a:pt x="495" y="203"/>
                    </a:lnTo>
                    <a:lnTo>
                      <a:pt x="490" y="206"/>
                    </a:lnTo>
                    <a:lnTo>
                      <a:pt x="487" y="206"/>
                    </a:lnTo>
                    <a:lnTo>
                      <a:pt x="483" y="208"/>
                    </a:lnTo>
                    <a:lnTo>
                      <a:pt x="480" y="208"/>
                    </a:lnTo>
                    <a:lnTo>
                      <a:pt x="480" y="208"/>
                    </a:lnTo>
                    <a:lnTo>
                      <a:pt x="480" y="208"/>
                    </a:lnTo>
                    <a:lnTo>
                      <a:pt x="480" y="208"/>
                    </a:lnTo>
                    <a:lnTo>
                      <a:pt x="478" y="210"/>
                    </a:lnTo>
                    <a:lnTo>
                      <a:pt x="478" y="210"/>
                    </a:lnTo>
                    <a:lnTo>
                      <a:pt x="473" y="208"/>
                    </a:lnTo>
                    <a:lnTo>
                      <a:pt x="473" y="206"/>
                    </a:lnTo>
                    <a:lnTo>
                      <a:pt x="471" y="203"/>
                    </a:lnTo>
                    <a:lnTo>
                      <a:pt x="471" y="203"/>
                    </a:lnTo>
                    <a:lnTo>
                      <a:pt x="471" y="201"/>
                    </a:lnTo>
                    <a:lnTo>
                      <a:pt x="468" y="198"/>
                    </a:lnTo>
                    <a:lnTo>
                      <a:pt x="466" y="198"/>
                    </a:lnTo>
                    <a:lnTo>
                      <a:pt x="464" y="198"/>
                    </a:lnTo>
                    <a:lnTo>
                      <a:pt x="461" y="196"/>
                    </a:lnTo>
                    <a:lnTo>
                      <a:pt x="459" y="198"/>
                    </a:lnTo>
                    <a:lnTo>
                      <a:pt x="456" y="198"/>
                    </a:lnTo>
                    <a:lnTo>
                      <a:pt x="454" y="198"/>
                    </a:lnTo>
                    <a:lnTo>
                      <a:pt x="452" y="198"/>
                    </a:lnTo>
                    <a:lnTo>
                      <a:pt x="447" y="198"/>
                    </a:lnTo>
                    <a:lnTo>
                      <a:pt x="444" y="198"/>
                    </a:lnTo>
                    <a:lnTo>
                      <a:pt x="442" y="196"/>
                    </a:lnTo>
                    <a:lnTo>
                      <a:pt x="440" y="194"/>
                    </a:lnTo>
                    <a:lnTo>
                      <a:pt x="437" y="194"/>
                    </a:lnTo>
                    <a:lnTo>
                      <a:pt x="435" y="191"/>
                    </a:lnTo>
                    <a:lnTo>
                      <a:pt x="432" y="189"/>
                    </a:lnTo>
                    <a:lnTo>
                      <a:pt x="430" y="186"/>
                    </a:lnTo>
                    <a:lnTo>
                      <a:pt x="425" y="186"/>
                    </a:lnTo>
                    <a:lnTo>
                      <a:pt x="423" y="182"/>
                    </a:lnTo>
                    <a:lnTo>
                      <a:pt x="423" y="179"/>
                    </a:lnTo>
                    <a:lnTo>
                      <a:pt x="423" y="177"/>
                    </a:lnTo>
                    <a:lnTo>
                      <a:pt x="425" y="177"/>
                    </a:lnTo>
                    <a:lnTo>
                      <a:pt x="423" y="174"/>
                    </a:lnTo>
                    <a:lnTo>
                      <a:pt x="418" y="177"/>
                    </a:lnTo>
                    <a:lnTo>
                      <a:pt x="416" y="177"/>
                    </a:lnTo>
                    <a:lnTo>
                      <a:pt x="421" y="174"/>
                    </a:lnTo>
                    <a:lnTo>
                      <a:pt x="423" y="170"/>
                    </a:lnTo>
                    <a:lnTo>
                      <a:pt x="423" y="167"/>
                    </a:lnTo>
                    <a:lnTo>
                      <a:pt x="423" y="165"/>
                    </a:lnTo>
                    <a:lnTo>
                      <a:pt x="423" y="162"/>
                    </a:lnTo>
                    <a:lnTo>
                      <a:pt x="421" y="158"/>
                    </a:lnTo>
                    <a:lnTo>
                      <a:pt x="421" y="155"/>
                    </a:lnTo>
                    <a:lnTo>
                      <a:pt x="421" y="153"/>
                    </a:lnTo>
                    <a:lnTo>
                      <a:pt x="421" y="151"/>
                    </a:lnTo>
                    <a:lnTo>
                      <a:pt x="418" y="148"/>
                    </a:lnTo>
                    <a:lnTo>
                      <a:pt x="416" y="146"/>
                    </a:lnTo>
                    <a:lnTo>
                      <a:pt x="413" y="143"/>
                    </a:lnTo>
                    <a:lnTo>
                      <a:pt x="411" y="141"/>
                    </a:lnTo>
                    <a:lnTo>
                      <a:pt x="409" y="141"/>
                    </a:lnTo>
                    <a:lnTo>
                      <a:pt x="406" y="141"/>
                    </a:lnTo>
                    <a:lnTo>
                      <a:pt x="404" y="141"/>
                    </a:lnTo>
                    <a:lnTo>
                      <a:pt x="401" y="141"/>
                    </a:lnTo>
                    <a:lnTo>
                      <a:pt x="401" y="139"/>
                    </a:lnTo>
                    <a:lnTo>
                      <a:pt x="401" y="134"/>
                    </a:lnTo>
                    <a:lnTo>
                      <a:pt x="404" y="131"/>
                    </a:lnTo>
                    <a:lnTo>
                      <a:pt x="404" y="129"/>
                    </a:lnTo>
                    <a:lnTo>
                      <a:pt x="406" y="127"/>
                    </a:lnTo>
                    <a:lnTo>
                      <a:pt x="413" y="124"/>
                    </a:lnTo>
                    <a:lnTo>
                      <a:pt x="416" y="122"/>
                    </a:lnTo>
                    <a:lnTo>
                      <a:pt x="418" y="119"/>
                    </a:lnTo>
                    <a:lnTo>
                      <a:pt x="418" y="115"/>
                    </a:lnTo>
                    <a:lnTo>
                      <a:pt x="418" y="115"/>
                    </a:lnTo>
                    <a:lnTo>
                      <a:pt x="416" y="110"/>
                    </a:lnTo>
                    <a:lnTo>
                      <a:pt x="416" y="108"/>
                    </a:lnTo>
                    <a:lnTo>
                      <a:pt x="413" y="105"/>
                    </a:lnTo>
                    <a:lnTo>
                      <a:pt x="416" y="100"/>
                    </a:lnTo>
                    <a:lnTo>
                      <a:pt x="416" y="98"/>
                    </a:lnTo>
                    <a:lnTo>
                      <a:pt x="416" y="96"/>
                    </a:lnTo>
                    <a:lnTo>
                      <a:pt x="418" y="93"/>
                    </a:lnTo>
                    <a:lnTo>
                      <a:pt x="418" y="88"/>
                    </a:lnTo>
                    <a:lnTo>
                      <a:pt x="418" y="86"/>
                    </a:lnTo>
                    <a:lnTo>
                      <a:pt x="418" y="76"/>
                    </a:lnTo>
                    <a:lnTo>
                      <a:pt x="418" y="72"/>
                    </a:lnTo>
                    <a:lnTo>
                      <a:pt x="416" y="69"/>
                    </a:lnTo>
                    <a:lnTo>
                      <a:pt x="413" y="69"/>
                    </a:lnTo>
                    <a:lnTo>
                      <a:pt x="411" y="69"/>
                    </a:lnTo>
                    <a:lnTo>
                      <a:pt x="409" y="69"/>
                    </a:lnTo>
                    <a:lnTo>
                      <a:pt x="404" y="69"/>
                    </a:lnTo>
                    <a:lnTo>
                      <a:pt x="401" y="67"/>
                    </a:lnTo>
                    <a:lnTo>
                      <a:pt x="399" y="67"/>
                    </a:lnTo>
                    <a:lnTo>
                      <a:pt x="397" y="65"/>
                    </a:lnTo>
                    <a:lnTo>
                      <a:pt x="397" y="62"/>
                    </a:lnTo>
                    <a:lnTo>
                      <a:pt x="397" y="60"/>
                    </a:lnTo>
                    <a:lnTo>
                      <a:pt x="394" y="55"/>
                    </a:lnTo>
                    <a:lnTo>
                      <a:pt x="392" y="53"/>
                    </a:lnTo>
                    <a:lnTo>
                      <a:pt x="385" y="50"/>
                    </a:lnTo>
                    <a:lnTo>
                      <a:pt x="382" y="50"/>
                    </a:lnTo>
                    <a:lnTo>
                      <a:pt x="380" y="50"/>
                    </a:lnTo>
                    <a:lnTo>
                      <a:pt x="380" y="53"/>
                    </a:lnTo>
                    <a:lnTo>
                      <a:pt x="378" y="55"/>
                    </a:lnTo>
                    <a:lnTo>
                      <a:pt x="375" y="57"/>
                    </a:lnTo>
                    <a:lnTo>
                      <a:pt x="375" y="60"/>
                    </a:lnTo>
                    <a:lnTo>
                      <a:pt x="373" y="62"/>
                    </a:lnTo>
                    <a:lnTo>
                      <a:pt x="370" y="65"/>
                    </a:lnTo>
                    <a:lnTo>
                      <a:pt x="366" y="67"/>
                    </a:lnTo>
                    <a:lnTo>
                      <a:pt x="366" y="69"/>
                    </a:lnTo>
                    <a:lnTo>
                      <a:pt x="363" y="69"/>
                    </a:lnTo>
                    <a:lnTo>
                      <a:pt x="361" y="67"/>
                    </a:lnTo>
                    <a:lnTo>
                      <a:pt x="358" y="67"/>
                    </a:lnTo>
                    <a:lnTo>
                      <a:pt x="356" y="67"/>
                    </a:lnTo>
                    <a:lnTo>
                      <a:pt x="351" y="65"/>
                    </a:lnTo>
                    <a:lnTo>
                      <a:pt x="349" y="65"/>
                    </a:lnTo>
                    <a:lnTo>
                      <a:pt x="347" y="67"/>
                    </a:lnTo>
                    <a:lnTo>
                      <a:pt x="342" y="67"/>
                    </a:lnTo>
                    <a:lnTo>
                      <a:pt x="339" y="67"/>
                    </a:lnTo>
                    <a:lnTo>
                      <a:pt x="339" y="65"/>
                    </a:lnTo>
                    <a:lnTo>
                      <a:pt x="337" y="62"/>
                    </a:lnTo>
                    <a:lnTo>
                      <a:pt x="332" y="62"/>
                    </a:lnTo>
                    <a:lnTo>
                      <a:pt x="330" y="60"/>
                    </a:lnTo>
                    <a:lnTo>
                      <a:pt x="327" y="60"/>
                    </a:lnTo>
                    <a:lnTo>
                      <a:pt x="325" y="60"/>
                    </a:lnTo>
                    <a:lnTo>
                      <a:pt x="323" y="60"/>
                    </a:lnTo>
                    <a:lnTo>
                      <a:pt x="320" y="57"/>
                    </a:lnTo>
                    <a:lnTo>
                      <a:pt x="318" y="57"/>
                    </a:lnTo>
                    <a:lnTo>
                      <a:pt x="316" y="55"/>
                    </a:lnTo>
                    <a:lnTo>
                      <a:pt x="313" y="55"/>
                    </a:lnTo>
                    <a:lnTo>
                      <a:pt x="311" y="53"/>
                    </a:lnTo>
                    <a:lnTo>
                      <a:pt x="311" y="55"/>
                    </a:lnTo>
                    <a:lnTo>
                      <a:pt x="311" y="57"/>
                    </a:lnTo>
                    <a:lnTo>
                      <a:pt x="311" y="60"/>
                    </a:lnTo>
                    <a:lnTo>
                      <a:pt x="311" y="62"/>
                    </a:lnTo>
                    <a:lnTo>
                      <a:pt x="308" y="65"/>
                    </a:lnTo>
                    <a:lnTo>
                      <a:pt x="308" y="69"/>
                    </a:lnTo>
                    <a:lnTo>
                      <a:pt x="308" y="72"/>
                    </a:lnTo>
                    <a:lnTo>
                      <a:pt x="308" y="76"/>
                    </a:lnTo>
                    <a:lnTo>
                      <a:pt x="304" y="76"/>
                    </a:lnTo>
                    <a:lnTo>
                      <a:pt x="301" y="76"/>
                    </a:lnTo>
                    <a:lnTo>
                      <a:pt x="299" y="74"/>
                    </a:lnTo>
                    <a:lnTo>
                      <a:pt x="296" y="72"/>
                    </a:lnTo>
                    <a:lnTo>
                      <a:pt x="294" y="69"/>
                    </a:lnTo>
                    <a:lnTo>
                      <a:pt x="292" y="67"/>
                    </a:lnTo>
                    <a:lnTo>
                      <a:pt x="287" y="65"/>
                    </a:lnTo>
                    <a:lnTo>
                      <a:pt x="284" y="65"/>
                    </a:lnTo>
                    <a:lnTo>
                      <a:pt x="282" y="65"/>
                    </a:lnTo>
                    <a:lnTo>
                      <a:pt x="280" y="62"/>
                    </a:lnTo>
                    <a:lnTo>
                      <a:pt x="280" y="62"/>
                    </a:lnTo>
                    <a:lnTo>
                      <a:pt x="275" y="62"/>
                    </a:lnTo>
                    <a:lnTo>
                      <a:pt x="273" y="65"/>
                    </a:lnTo>
                    <a:lnTo>
                      <a:pt x="270" y="65"/>
                    </a:lnTo>
                    <a:lnTo>
                      <a:pt x="268" y="65"/>
                    </a:lnTo>
                    <a:lnTo>
                      <a:pt x="263" y="65"/>
                    </a:lnTo>
                    <a:lnTo>
                      <a:pt x="261" y="62"/>
                    </a:lnTo>
                    <a:lnTo>
                      <a:pt x="263" y="62"/>
                    </a:lnTo>
                    <a:lnTo>
                      <a:pt x="263" y="60"/>
                    </a:lnTo>
                    <a:lnTo>
                      <a:pt x="268" y="55"/>
                    </a:lnTo>
                    <a:lnTo>
                      <a:pt x="265" y="55"/>
                    </a:lnTo>
                    <a:lnTo>
                      <a:pt x="265" y="53"/>
                    </a:lnTo>
                    <a:lnTo>
                      <a:pt x="265" y="50"/>
                    </a:lnTo>
                    <a:lnTo>
                      <a:pt x="265" y="48"/>
                    </a:lnTo>
                    <a:lnTo>
                      <a:pt x="268" y="45"/>
                    </a:lnTo>
                    <a:lnTo>
                      <a:pt x="265" y="45"/>
                    </a:lnTo>
                    <a:lnTo>
                      <a:pt x="261" y="45"/>
                    </a:lnTo>
                    <a:lnTo>
                      <a:pt x="258" y="45"/>
                    </a:lnTo>
                    <a:lnTo>
                      <a:pt x="256" y="45"/>
                    </a:lnTo>
                    <a:lnTo>
                      <a:pt x="253" y="45"/>
                    </a:lnTo>
                    <a:lnTo>
                      <a:pt x="249" y="45"/>
                    </a:lnTo>
                    <a:lnTo>
                      <a:pt x="249" y="43"/>
                    </a:lnTo>
                    <a:lnTo>
                      <a:pt x="251" y="41"/>
                    </a:lnTo>
                    <a:lnTo>
                      <a:pt x="249" y="38"/>
                    </a:lnTo>
                    <a:lnTo>
                      <a:pt x="249" y="36"/>
                    </a:lnTo>
                    <a:lnTo>
                      <a:pt x="246" y="33"/>
                    </a:lnTo>
                    <a:lnTo>
                      <a:pt x="249" y="33"/>
                    </a:lnTo>
                    <a:lnTo>
                      <a:pt x="249" y="31"/>
                    </a:lnTo>
                    <a:lnTo>
                      <a:pt x="249" y="29"/>
                    </a:lnTo>
                    <a:lnTo>
                      <a:pt x="246" y="29"/>
                    </a:lnTo>
                    <a:lnTo>
                      <a:pt x="244" y="29"/>
                    </a:lnTo>
                    <a:lnTo>
                      <a:pt x="242" y="29"/>
                    </a:lnTo>
                    <a:lnTo>
                      <a:pt x="239" y="29"/>
                    </a:lnTo>
                    <a:lnTo>
                      <a:pt x="237" y="31"/>
                    </a:lnTo>
                    <a:lnTo>
                      <a:pt x="234" y="31"/>
                    </a:lnTo>
                    <a:lnTo>
                      <a:pt x="232" y="31"/>
                    </a:lnTo>
                    <a:lnTo>
                      <a:pt x="230" y="31"/>
                    </a:lnTo>
                    <a:lnTo>
                      <a:pt x="227" y="29"/>
                    </a:lnTo>
                    <a:lnTo>
                      <a:pt x="225" y="29"/>
                    </a:lnTo>
                    <a:lnTo>
                      <a:pt x="222" y="29"/>
                    </a:lnTo>
                    <a:lnTo>
                      <a:pt x="222" y="26"/>
                    </a:lnTo>
                    <a:lnTo>
                      <a:pt x="220" y="26"/>
                    </a:lnTo>
                    <a:lnTo>
                      <a:pt x="218" y="24"/>
                    </a:lnTo>
                    <a:lnTo>
                      <a:pt x="215" y="24"/>
                    </a:lnTo>
                    <a:lnTo>
                      <a:pt x="215" y="24"/>
                    </a:lnTo>
                    <a:lnTo>
                      <a:pt x="213" y="21"/>
                    </a:lnTo>
                    <a:lnTo>
                      <a:pt x="210" y="21"/>
                    </a:lnTo>
                    <a:lnTo>
                      <a:pt x="208" y="21"/>
                    </a:lnTo>
                    <a:lnTo>
                      <a:pt x="206" y="21"/>
                    </a:lnTo>
                    <a:lnTo>
                      <a:pt x="203" y="21"/>
                    </a:lnTo>
                    <a:lnTo>
                      <a:pt x="201" y="21"/>
                    </a:lnTo>
                    <a:lnTo>
                      <a:pt x="199" y="24"/>
                    </a:lnTo>
                    <a:lnTo>
                      <a:pt x="196" y="24"/>
                    </a:lnTo>
                    <a:lnTo>
                      <a:pt x="194" y="24"/>
                    </a:lnTo>
                    <a:lnTo>
                      <a:pt x="191" y="24"/>
                    </a:lnTo>
                    <a:lnTo>
                      <a:pt x="189" y="24"/>
                    </a:lnTo>
                    <a:lnTo>
                      <a:pt x="187" y="24"/>
                    </a:lnTo>
                    <a:lnTo>
                      <a:pt x="184" y="24"/>
                    </a:lnTo>
                    <a:lnTo>
                      <a:pt x="182" y="21"/>
                    </a:lnTo>
                    <a:lnTo>
                      <a:pt x="182" y="19"/>
                    </a:lnTo>
                    <a:lnTo>
                      <a:pt x="179" y="19"/>
                    </a:lnTo>
                    <a:lnTo>
                      <a:pt x="179" y="17"/>
                    </a:lnTo>
                    <a:lnTo>
                      <a:pt x="177" y="14"/>
                    </a:lnTo>
                    <a:lnTo>
                      <a:pt x="177" y="12"/>
                    </a:lnTo>
                    <a:lnTo>
                      <a:pt x="175" y="12"/>
                    </a:lnTo>
                    <a:lnTo>
                      <a:pt x="172" y="12"/>
                    </a:lnTo>
                    <a:lnTo>
                      <a:pt x="170" y="12"/>
                    </a:lnTo>
                    <a:lnTo>
                      <a:pt x="170" y="10"/>
                    </a:lnTo>
                    <a:lnTo>
                      <a:pt x="168" y="10"/>
                    </a:lnTo>
                    <a:lnTo>
                      <a:pt x="168" y="7"/>
                    </a:lnTo>
                    <a:lnTo>
                      <a:pt x="168" y="5"/>
                    </a:lnTo>
                    <a:lnTo>
                      <a:pt x="170" y="5"/>
                    </a:lnTo>
                    <a:lnTo>
                      <a:pt x="170" y="2"/>
                    </a:lnTo>
                    <a:lnTo>
                      <a:pt x="168" y="0"/>
                    </a:lnTo>
                    <a:lnTo>
                      <a:pt x="165" y="0"/>
                    </a:lnTo>
                    <a:lnTo>
                      <a:pt x="163" y="2"/>
                    </a:lnTo>
                    <a:lnTo>
                      <a:pt x="160" y="2"/>
                    </a:lnTo>
                    <a:lnTo>
                      <a:pt x="160" y="5"/>
                    </a:lnTo>
                    <a:lnTo>
                      <a:pt x="163" y="7"/>
                    </a:lnTo>
                    <a:lnTo>
                      <a:pt x="163" y="10"/>
                    </a:lnTo>
                    <a:lnTo>
                      <a:pt x="165" y="10"/>
                    </a:lnTo>
                    <a:lnTo>
                      <a:pt x="165" y="12"/>
                    </a:lnTo>
                    <a:lnTo>
                      <a:pt x="168" y="14"/>
                    </a:lnTo>
                    <a:lnTo>
                      <a:pt x="168" y="17"/>
                    </a:lnTo>
                    <a:lnTo>
                      <a:pt x="168" y="19"/>
                    </a:lnTo>
                    <a:lnTo>
                      <a:pt x="170" y="19"/>
                    </a:lnTo>
                    <a:lnTo>
                      <a:pt x="170" y="21"/>
                    </a:lnTo>
                    <a:lnTo>
                      <a:pt x="170" y="24"/>
                    </a:lnTo>
                    <a:lnTo>
                      <a:pt x="170" y="26"/>
                    </a:lnTo>
                    <a:lnTo>
                      <a:pt x="172" y="29"/>
                    </a:lnTo>
                    <a:lnTo>
                      <a:pt x="172" y="31"/>
                    </a:lnTo>
                    <a:lnTo>
                      <a:pt x="172" y="33"/>
                    </a:lnTo>
                    <a:lnTo>
                      <a:pt x="172" y="36"/>
                    </a:lnTo>
                    <a:lnTo>
                      <a:pt x="170" y="38"/>
                    </a:lnTo>
                    <a:lnTo>
                      <a:pt x="168" y="38"/>
                    </a:lnTo>
                    <a:lnTo>
                      <a:pt x="165" y="41"/>
                    </a:lnTo>
                    <a:lnTo>
                      <a:pt x="165" y="43"/>
                    </a:lnTo>
                    <a:lnTo>
                      <a:pt x="165" y="45"/>
                    </a:lnTo>
                    <a:lnTo>
                      <a:pt x="165" y="48"/>
                    </a:lnTo>
                    <a:lnTo>
                      <a:pt x="165" y="50"/>
                    </a:lnTo>
                    <a:lnTo>
                      <a:pt x="168" y="53"/>
                    </a:lnTo>
                    <a:lnTo>
                      <a:pt x="168" y="55"/>
                    </a:lnTo>
                    <a:lnTo>
                      <a:pt x="168" y="57"/>
                    </a:lnTo>
                    <a:lnTo>
                      <a:pt x="165" y="60"/>
                    </a:lnTo>
                    <a:lnTo>
                      <a:pt x="163" y="62"/>
                    </a:lnTo>
                    <a:lnTo>
                      <a:pt x="163" y="65"/>
                    </a:lnTo>
                    <a:lnTo>
                      <a:pt x="163" y="67"/>
                    </a:lnTo>
                    <a:lnTo>
                      <a:pt x="163" y="69"/>
                    </a:lnTo>
                    <a:lnTo>
                      <a:pt x="163" y="72"/>
                    </a:lnTo>
                    <a:lnTo>
                      <a:pt x="163" y="74"/>
                    </a:lnTo>
                    <a:lnTo>
                      <a:pt x="165" y="76"/>
                    </a:lnTo>
                    <a:lnTo>
                      <a:pt x="163" y="79"/>
                    </a:lnTo>
                    <a:lnTo>
                      <a:pt x="163" y="81"/>
                    </a:lnTo>
                    <a:lnTo>
                      <a:pt x="160" y="84"/>
                    </a:lnTo>
                    <a:lnTo>
                      <a:pt x="158" y="84"/>
                    </a:lnTo>
                    <a:lnTo>
                      <a:pt x="156" y="84"/>
                    </a:lnTo>
                    <a:lnTo>
                      <a:pt x="153" y="86"/>
                    </a:lnTo>
                    <a:lnTo>
                      <a:pt x="153" y="86"/>
                    </a:lnTo>
                    <a:lnTo>
                      <a:pt x="151" y="88"/>
                    </a:lnTo>
                    <a:lnTo>
                      <a:pt x="148" y="88"/>
                    </a:lnTo>
                    <a:lnTo>
                      <a:pt x="148" y="91"/>
                    </a:lnTo>
                    <a:lnTo>
                      <a:pt x="148" y="103"/>
                    </a:lnTo>
                    <a:lnTo>
                      <a:pt x="148" y="105"/>
                    </a:lnTo>
                    <a:lnTo>
                      <a:pt x="148" y="108"/>
                    </a:lnTo>
                    <a:lnTo>
                      <a:pt x="148" y="110"/>
                    </a:lnTo>
                    <a:lnTo>
                      <a:pt x="148" y="115"/>
                    </a:lnTo>
                    <a:lnTo>
                      <a:pt x="146" y="115"/>
                    </a:lnTo>
                    <a:lnTo>
                      <a:pt x="144" y="115"/>
                    </a:lnTo>
                    <a:lnTo>
                      <a:pt x="141" y="115"/>
                    </a:lnTo>
                    <a:lnTo>
                      <a:pt x="139" y="115"/>
                    </a:lnTo>
                    <a:lnTo>
                      <a:pt x="139" y="112"/>
                    </a:lnTo>
                    <a:lnTo>
                      <a:pt x="136" y="112"/>
                    </a:lnTo>
                    <a:lnTo>
                      <a:pt x="134" y="112"/>
                    </a:lnTo>
                    <a:lnTo>
                      <a:pt x="132" y="115"/>
                    </a:lnTo>
                    <a:lnTo>
                      <a:pt x="129" y="115"/>
                    </a:lnTo>
                    <a:lnTo>
                      <a:pt x="127" y="115"/>
                    </a:lnTo>
                    <a:lnTo>
                      <a:pt x="125" y="112"/>
                    </a:lnTo>
                    <a:lnTo>
                      <a:pt x="125" y="110"/>
                    </a:lnTo>
                    <a:lnTo>
                      <a:pt x="122" y="108"/>
                    </a:lnTo>
                    <a:lnTo>
                      <a:pt x="120" y="105"/>
                    </a:lnTo>
                    <a:lnTo>
                      <a:pt x="120" y="103"/>
                    </a:lnTo>
                    <a:lnTo>
                      <a:pt x="117" y="103"/>
                    </a:lnTo>
                    <a:lnTo>
                      <a:pt x="117" y="100"/>
                    </a:lnTo>
                    <a:lnTo>
                      <a:pt x="115" y="100"/>
                    </a:lnTo>
                    <a:lnTo>
                      <a:pt x="113" y="98"/>
                    </a:lnTo>
                    <a:lnTo>
                      <a:pt x="110" y="96"/>
                    </a:lnTo>
                    <a:lnTo>
                      <a:pt x="108" y="96"/>
                    </a:lnTo>
                    <a:lnTo>
                      <a:pt x="108" y="98"/>
                    </a:lnTo>
                    <a:lnTo>
                      <a:pt x="105" y="98"/>
                    </a:lnTo>
                    <a:lnTo>
                      <a:pt x="101" y="98"/>
                    </a:lnTo>
                    <a:lnTo>
                      <a:pt x="101" y="100"/>
                    </a:lnTo>
                    <a:lnTo>
                      <a:pt x="98" y="100"/>
                    </a:lnTo>
                    <a:lnTo>
                      <a:pt x="98" y="103"/>
                    </a:lnTo>
                    <a:lnTo>
                      <a:pt x="98" y="105"/>
                    </a:lnTo>
                    <a:lnTo>
                      <a:pt x="101" y="105"/>
                    </a:lnTo>
                    <a:lnTo>
                      <a:pt x="101" y="108"/>
                    </a:lnTo>
                    <a:lnTo>
                      <a:pt x="103" y="108"/>
                    </a:lnTo>
                    <a:lnTo>
                      <a:pt x="103" y="110"/>
                    </a:lnTo>
                    <a:lnTo>
                      <a:pt x="101" y="112"/>
                    </a:lnTo>
                    <a:lnTo>
                      <a:pt x="98" y="112"/>
                    </a:lnTo>
                    <a:lnTo>
                      <a:pt x="96" y="112"/>
                    </a:lnTo>
                    <a:lnTo>
                      <a:pt x="94" y="115"/>
                    </a:lnTo>
                    <a:lnTo>
                      <a:pt x="94" y="115"/>
                    </a:lnTo>
                    <a:lnTo>
                      <a:pt x="96" y="115"/>
                    </a:lnTo>
                    <a:lnTo>
                      <a:pt x="96" y="117"/>
                    </a:lnTo>
                    <a:lnTo>
                      <a:pt x="96" y="119"/>
                    </a:lnTo>
                    <a:lnTo>
                      <a:pt x="96" y="122"/>
                    </a:lnTo>
                    <a:lnTo>
                      <a:pt x="94" y="124"/>
                    </a:lnTo>
                    <a:lnTo>
                      <a:pt x="94" y="127"/>
                    </a:lnTo>
                    <a:lnTo>
                      <a:pt x="91" y="131"/>
                    </a:lnTo>
                    <a:lnTo>
                      <a:pt x="91" y="134"/>
                    </a:lnTo>
                    <a:lnTo>
                      <a:pt x="91" y="134"/>
                    </a:lnTo>
                    <a:lnTo>
                      <a:pt x="89" y="131"/>
                    </a:lnTo>
                    <a:lnTo>
                      <a:pt x="89" y="134"/>
                    </a:lnTo>
                    <a:lnTo>
                      <a:pt x="89" y="136"/>
                    </a:lnTo>
                    <a:lnTo>
                      <a:pt x="86" y="139"/>
                    </a:lnTo>
                    <a:lnTo>
                      <a:pt x="84" y="139"/>
                    </a:lnTo>
                    <a:lnTo>
                      <a:pt x="82" y="139"/>
                    </a:lnTo>
                    <a:lnTo>
                      <a:pt x="82" y="141"/>
                    </a:lnTo>
                    <a:lnTo>
                      <a:pt x="82" y="143"/>
                    </a:lnTo>
                    <a:lnTo>
                      <a:pt x="84" y="146"/>
                    </a:lnTo>
                    <a:lnTo>
                      <a:pt x="82" y="146"/>
                    </a:lnTo>
                    <a:lnTo>
                      <a:pt x="82" y="148"/>
                    </a:lnTo>
                    <a:lnTo>
                      <a:pt x="84" y="151"/>
                    </a:lnTo>
                    <a:lnTo>
                      <a:pt x="86" y="151"/>
                    </a:lnTo>
                    <a:lnTo>
                      <a:pt x="89" y="151"/>
                    </a:lnTo>
                    <a:lnTo>
                      <a:pt x="91" y="153"/>
                    </a:lnTo>
                    <a:lnTo>
                      <a:pt x="94" y="155"/>
                    </a:lnTo>
                    <a:lnTo>
                      <a:pt x="101" y="165"/>
                    </a:lnTo>
                    <a:lnTo>
                      <a:pt x="103" y="167"/>
                    </a:lnTo>
                    <a:lnTo>
                      <a:pt x="105" y="167"/>
                    </a:lnTo>
                    <a:lnTo>
                      <a:pt x="105" y="167"/>
                    </a:lnTo>
                    <a:lnTo>
                      <a:pt x="108" y="170"/>
                    </a:lnTo>
                    <a:lnTo>
                      <a:pt x="108" y="172"/>
                    </a:lnTo>
                    <a:lnTo>
                      <a:pt x="110" y="174"/>
                    </a:lnTo>
                    <a:lnTo>
                      <a:pt x="110" y="174"/>
                    </a:lnTo>
                    <a:lnTo>
                      <a:pt x="108" y="174"/>
                    </a:lnTo>
                    <a:lnTo>
                      <a:pt x="105" y="174"/>
                    </a:lnTo>
                    <a:lnTo>
                      <a:pt x="103" y="174"/>
                    </a:lnTo>
                    <a:lnTo>
                      <a:pt x="101" y="174"/>
                    </a:lnTo>
                    <a:lnTo>
                      <a:pt x="91" y="174"/>
                    </a:lnTo>
                    <a:lnTo>
                      <a:pt x="91" y="177"/>
                    </a:lnTo>
                    <a:lnTo>
                      <a:pt x="89" y="177"/>
                    </a:lnTo>
                    <a:lnTo>
                      <a:pt x="89" y="179"/>
                    </a:lnTo>
                    <a:lnTo>
                      <a:pt x="89" y="182"/>
                    </a:lnTo>
                    <a:lnTo>
                      <a:pt x="89" y="186"/>
                    </a:lnTo>
                    <a:lnTo>
                      <a:pt x="89" y="189"/>
                    </a:lnTo>
                    <a:lnTo>
                      <a:pt x="86" y="191"/>
                    </a:lnTo>
                    <a:lnTo>
                      <a:pt x="86" y="194"/>
                    </a:lnTo>
                    <a:lnTo>
                      <a:pt x="84" y="194"/>
                    </a:lnTo>
                    <a:lnTo>
                      <a:pt x="82" y="196"/>
                    </a:lnTo>
                    <a:lnTo>
                      <a:pt x="82" y="198"/>
                    </a:lnTo>
                    <a:lnTo>
                      <a:pt x="79" y="198"/>
                    </a:lnTo>
                    <a:lnTo>
                      <a:pt x="79" y="201"/>
                    </a:lnTo>
                    <a:lnTo>
                      <a:pt x="77" y="203"/>
                    </a:lnTo>
                    <a:lnTo>
                      <a:pt x="74" y="203"/>
                    </a:lnTo>
                    <a:lnTo>
                      <a:pt x="72" y="206"/>
                    </a:lnTo>
                    <a:lnTo>
                      <a:pt x="70" y="208"/>
                    </a:lnTo>
                    <a:lnTo>
                      <a:pt x="70" y="210"/>
                    </a:lnTo>
                    <a:lnTo>
                      <a:pt x="70" y="210"/>
                    </a:lnTo>
                    <a:lnTo>
                      <a:pt x="70" y="213"/>
                    </a:lnTo>
                    <a:lnTo>
                      <a:pt x="67" y="213"/>
                    </a:lnTo>
                    <a:lnTo>
                      <a:pt x="65" y="213"/>
                    </a:lnTo>
                    <a:lnTo>
                      <a:pt x="62" y="213"/>
                    </a:lnTo>
                    <a:lnTo>
                      <a:pt x="60" y="213"/>
                    </a:lnTo>
                    <a:lnTo>
                      <a:pt x="58" y="213"/>
                    </a:lnTo>
                    <a:lnTo>
                      <a:pt x="55" y="215"/>
                    </a:lnTo>
                    <a:lnTo>
                      <a:pt x="53" y="217"/>
                    </a:lnTo>
                    <a:lnTo>
                      <a:pt x="53" y="220"/>
                    </a:lnTo>
                    <a:lnTo>
                      <a:pt x="55" y="222"/>
                    </a:lnTo>
                    <a:lnTo>
                      <a:pt x="53" y="225"/>
                    </a:lnTo>
                    <a:lnTo>
                      <a:pt x="53" y="227"/>
                    </a:lnTo>
                    <a:lnTo>
                      <a:pt x="51" y="227"/>
                    </a:lnTo>
                    <a:lnTo>
                      <a:pt x="51" y="229"/>
                    </a:lnTo>
                    <a:lnTo>
                      <a:pt x="51" y="232"/>
                    </a:lnTo>
                    <a:lnTo>
                      <a:pt x="48" y="232"/>
                    </a:lnTo>
                    <a:lnTo>
                      <a:pt x="48" y="234"/>
                    </a:lnTo>
                    <a:lnTo>
                      <a:pt x="48" y="237"/>
                    </a:lnTo>
                    <a:lnTo>
                      <a:pt x="48" y="241"/>
                    </a:lnTo>
                    <a:lnTo>
                      <a:pt x="48" y="246"/>
                    </a:lnTo>
                    <a:lnTo>
                      <a:pt x="48" y="246"/>
                    </a:lnTo>
                    <a:lnTo>
                      <a:pt x="48" y="251"/>
                    </a:lnTo>
                    <a:lnTo>
                      <a:pt x="48" y="253"/>
                    </a:lnTo>
                    <a:lnTo>
                      <a:pt x="53" y="253"/>
                    </a:lnTo>
                    <a:lnTo>
                      <a:pt x="55" y="253"/>
                    </a:lnTo>
                    <a:lnTo>
                      <a:pt x="58" y="256"/>
                    </a:lnTo>
                    <a:lnTo>
                      <a:pt x="55" y="258"/>
                    </a:lnTo>
                    <a:lnTo>
                      <a:pt x="53" y="260"/>
                    </a:lnTo>
                    <a:lnTo>
                      <a:pt x="58" y="260"/>
                    </a:lnTo>
                    <a:lnTo>
                      <a:pt x="62" y="258"/>
                    </a:lnTo>
                    <a:lnTo>
                      <a:pt x="62" y="260"/>
                    </a:lnTo>
                    <a:lnTo>
                      <a:pt x="58" y="260"/>
                    </a:lnTo>
                    <a:lnTo>
                      <a:pt x="53" y="260"/>
                    </a:lnTo>
                    <a:lnTo>
                      <a:pt x="53" y="263"/>
                    </a:lnTo>
                    <a:lnTo>
                      <a:pt x="51" y="263"/>
                    </a:lnTo>
                    <a:lnTo>
                      <a:pt x="51" y="265"/>
                    </a:lnTo>
                    <a:lnTo>
                      <a:pt x="53" y="268"/>
                    </a:lnTo>
                    <a:lnTo>
                      <a:pt x="53" y="270"/>
                    </a:lnTo>
                    <a:lnTo>
                      <a:pt x="55" y="272"/>
                    </a:lnTo>
                    <a:lnTo>
                      <a:pt x="58" y="275"/>
                    </a:lnTo>
                    <a:lnTo>
                      <a:pt x="58" y="277"/>
                    </a:lnTo>
                    <a:lnTo>
                      <a:pt x="58" y="282"/>
                    </a:lnTo>
                    <a:lnTo>
                      <a:pt x="55" y="284"/>
                    </a:lnTo>
                    <a:lnTo>
                      <a:pt x="53" y="284"/>
                    </a:lnTo>
                    <a:lnTo>
                      <a:pt x="51" y="289"/>
                    </a:lnTo>
                    <a:lnTo>
                      <a:pt x="48" y="292"/>
                    </a:lnTo>
                    <a:lnTo>
                      <a:pt x="51" y="296"/>
                    </a:lnTo>
                    <a:lnTo>
                      <a:pt x="53" y="299"/>
                    </a:lnTo>
                    <a:lnTo>
                      <a:pt x="55" y="299"/>
                    </a:lnTo>
                    <a:lnTo>
                      <a:pt x="58" y="299"/>
                    </a:lnTo>
                    <a:lnTo>
                      <a:pt x="58" y="301"/>
                    </a:lnTo>
                    <a:lnTo>
                      <a:pt x="58" y="303"/>
                    </a:lnTo>
                    <a:lnTo>
                      <a:pt x="60" y="306"/>
                    </a:lnTo>
                    <a:lnTo>
                      <a:pt x="60" y="308"/>
                    </a:lnTo>
                    <a:lnTo>
                      <a:pt x="60" y="311"/>
                    </a:lnTo>
                    <a:lnTo>
                      <a:pt x="60" y="313"/>
                    </a:lnTo>
                    <a:lnTo>
                      <a:pt x="58" y="313"/>
                    </a:lnTo>
                    <a:lnTo>
                      <a:pt x="55" y="315"/>
                    </a:lnTo>
                    <a:lnTo>
                      <a:pt x="53" y="318"/>
                    </a:lnTo>
                    <a:lnTo>
                      <a:pt x="48" y="323"/>
                    </a:lnTo>
                    <a:lnTo>
                      <a:pt x="46" y="325"/>
                    </a:lnTo>
                    <a:lnTo>
                      <a:pt x="43" y="325"/>
                    </a:lnTo>
                    <a:lnTo>
                      <a:pt x="41" y="327"/>
                    </a:lnTo>
                    <a:lnTo>
                      <a:pt x="41" y="330"/>
                    </a:lnTo>
                    <a:lnTo>
                      <a:pt x="41" y="332"/>
                    </a:lnTo>
                    <a:lnTo>
                      <a:pt x="43" y="335"/>
                    </a:lnTo>
                    <a:lnTo>
                      <a:pt x="46" y="335"/>
                    </a:lnTo>
                    <a:lnTo>
                      <a:pt x="46" y="337"/>
                    </a:lnTo>
                    <a:lnTo>
                      <a:pt x="46" y="339"/>
                    </a:lnTo>
                    <a:lnTo>
                      <a:pt x="46" y="342"/>
                    </a:lnTo>
                    <a:lnTo>
                      <a:pt x="46" y="344"/>
                    </a:lnTo>
                    <a:lnTo>
                      <a:pt x="43" y="344"/>
                    </a:lnTo>
                    <a:lnTo>
                      <a:pt x="41" y="344"/>
                    </a:lnTo>
                    <a:lnTo>
                      <a:pt x="39" y="346"/>
                    </a:lnTo>
                    <a:lnTo>
                      <a:pt x="36" y="349"/>
                    </a:lnTo>
                    <a:lnTo>
                      <a:pt x="34" y="351"/>
                    </a:lnTo>
                    <a:lnTo>
                      <a:pt x="34" y="354"/>
                    </a:lnTo>
                    <a:lnTo>
                      <a:pt x="34" y="356"/>
                    </a:lnTo>
                    <a:lnTo>
                      <a:pt x="36" y="356"/>
                    </a:lnTo>
                    <a:lnTo>
                      <a:pt x="36" y="358"/>
                    </a:lnTo>
                    <a:lnTo>
                      <a:pt x="34" y="358"/>
                    </a:lnTo>
                    <a:lnTo>
                      <a:pt x="34" y="361"/>
                    </a:lnTo>
                    <a:lnTo>
                      <a:pt x="34" y="363"/>
                    </a:lnTo>
                    <a:lnTo>
                      <a:pt x="34" y="366"/>
                    </a:lnTo>
                    <a:lnTo>
                      <a:pt x="34" y="368"/>
                    </a:lnTo>
                    <a:lnTo>
                      <a:pt x="36" y="368"/>
                    </a:lnTo>
                    <a:lnTo>
                      <a:pt x="41" y="368"/>
                    </a:lnTo>
                    <a:lnTo>
                      <a:pt x="43" y="368"/>
                    </a:lnTo>
                    <a:lnTo>
                      <a:pt x="46" y="368"/>
                    </a:lnTo>
                    <a:lnTo>
                      <a:pt x="48" y="368"/>
                    </a:lnTo>
                    <a:lnTo>
                      <a:pt x="51" y="368"/>
                    </a:lnTo>
                    <a:lnTo>
                      <a:pt x="55" y="370"/>
                    </a:lnTo>
                    <a:lnTo>
                      <a:pt x="60" y="373"/>
                    </a:lnTo>
                    <a:lnTo>
                      <a:pt x="65" y="373"/>
                    </a:lnTo>
                    <a:lnTo>
                      <a:pt x="67" y="375"/>
                    </a:lnTo>
                    <a:lnTo>
                      <a:pt x="70" y="375"/>
                    </a:lnTo>
                    <a:lnTo>
                      <a:pt x="70" y="380"/>
                    </a:lnTo>
                    <a:lnTo>
                      <a:pt x="70" y="380"/>
                    </a:lnTo>
                    <a:lnTo>
                      <a:pt x="67" y="382"/>
                    </a:lnTo>
                    <a:lnTo>
                      <a:pt x="65" y="382"/>
                    </a:lnTo>
                    <a:lnTo>
                      <a:pt x="62" y="382"/>
                    </a:lnTo>
                    <a:lnTo>
                      <a:pt x="58" y="385"/>
                    </a:lnTo>
                    <a:lnTo>
                      <a:pt x="55" y="385"/>
                    </a:lnTo>
                    <a:lnTo>
                      <a:pt x="55" y="387"/>
                    </a:lnTo>
                    <a:lnTo>
                      <a:pt x="53" y="387"/>
                    </a:lnTo>
                    <a:lnTo>
                      <a:pt x="51" y="387"/>
                    </a:lnTo>
                    <a:lnTo>
                      <a:pt x="48" y="390"/>
                    </a:lnTo>
                    <a:lnTo>
                      <a:pt x="46" y="392"/>
                    </a:lnTo>
                    <a:lnTo>
                      <a:pt x="46" y="394"/>
                    </a:lnTo>
                    <a:lnTo>
                      <a:pt x="43" y="397"/>
                    </a:lnTo>
                    <a:lnTo>
                      <a:pt x="41" y="399"/>
                    </a:lnTo>
                    <a:lnTo>
                      <a:pt x="34" y="406"/>
                    </a:lnTo>
                    <a:lnTo>
                      <a:pt x="31" y="411"/>
                    </a:lnTo>
                    <a:lnTo>
                      <a:pt x="27" y="416"/>
                    </a:lnTo>
                    <a:lnTo>
                      <a:pt x="24" y="421"/>
                    </a:lnTo>
                    <a:lnTo>
                      <a:pt x="22" y="425"/>
                    </a:lnTo>
                    <a:lnTo>
                      <a:pt x="20" y="430"/>
                    </a:lnTo>
                    <a:lnTo>
                      <a:pt x="20" y="433"/>
                    </a:lnTo>
                    <a:lnTo>
                      <a:pt x="22" y="433"/>
                    </a:lnTo>
                    <a:lnTo>
                      <a:pt x="24" y="435"/>
                    </a:lnTo>
                    <a:lnTo>
                      <a:pt x="27" y="435"/>
                    </a:lnTo>
                    <a:lnTo>
                      <a:pt x="29" y="435"/>
                    </a:lnTo>
                    <a:lnTo>
                      <a:pt x="31" y="435"/>
                    </a:lnTo>
                    <a:lnTo>
                      <a:pt x="36" y="430"/>
                    </a:lnTo>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GB" sz="800" dirty="0">
                  <a:solidFill>
                    <a:srgbClr val="000000"/>
                  </a:solidFill>
                </a:endParaRPr>
              </a:p>
            </p:txBody>
          </p:sp>
        </p:grpSp>
        <p:grpSp>
          <p:nvGrpSpPr>
            <p:cNvPr id="37" name="Group 36"/>
            <p:cNvGrpSpPr/>
            <p:nvPr/>
          </p:nvGrpSpPr>
          <p:grpSpPr>
            <a:xfrm>
              <a:off x="2070529" y="990335"/>
              <a:ext cx="4485426" cy="5052813"/>
              <a:chOff x="2070529" y="990335"/>
              <a:chExt cx="4485426" cy="5052813"/>
            </a:xfrm>
          </p:grpSpPr>
          <p:sp>
            <p:nvSpPr>
              <p:cNvPr id="53" name="Freeform 74"/>
              <p:cNvSpPr>
                <a:spLocks noEditPoints="1"/>
              </p:cNvSpPr>
              <p:nvPr/>
            </p:nvSpPr>
            <p:spPr bwMode="gray">
              <a:xfrm>
                <a:off x="2070529" y="3191862"/>
                <a:ext cx="972742" cy="756775"/>
              </a:xfrm>
              <a:custGeom>
                <a:avLst/>
                <a:gdLst>
                  <a:gd name="T0" fmla="*/ 732 w 756"/>
                  <a:gd name="T1" fmla="*/ 270 h 594"/>
                  <a:gd name="T2" fmla="*/ 714 w 756"/>
                  <a:gd name="T3" fmla="*/ 294 h 594"/>
                  <a:gd name="T4" fmla="*/ 708 w 756"/>
                  <a:gd name="T5" fmla="*/ 324 h 594"/>
                  <a:gd name="T6" fmla="*/ 702 w 756"/>
                  <a:gd name="T7" fmla="*/ 366 h 594"/>
                  <a:gd name="T8" fmla="*/ 666 w 756"/>
                  <a:gd name="T9" fmla="*/ 408 h 594"/>
                  <a:gd name="T10" fmla="*/ 732 w 756"/>
                  <a:gd name="T11" fmla="*/ 408 h 594"/>
                  <a:gd name="T12" fmla="*/ 696 w 756"/>
                  <a:gd name="T13" fmla="*/ 432 h 594"/>
                  <a:gd name="T14" fmla="*/ 648 w 756"/>
                  <a:gd name="T15" fmla="*/ 462 h 594"/>
                  <a:gd name="T16" fmla="*/ 690 w 756"/>
                  <a:gd name="T17" fmla="*/ 510 h 594"/>
                  <a:gd name="T18" fmla="*/ 642 w 756"/>
                  <a:gd name="T19" fmla="*/ 528 h 594"/>
                  <a:gd name="T20" fmla="*/ 624 w 756"/>
                  <a:gd name="T21" fmla="*/ 558 h 594"/>
                  <a:gd name="T22" fmla="*/ 606 w 756"/>
                  <a:gd name="T23" fmla="*/ 594 h 594"/>
                  <a:gd name="T24" fmla="*/ 576 w 756"/>
                  <a:gd name="T25" fmla="*/ 570 h 594"/>
                  <a:gd name="T26" fmla="*/ 552 w 756"/>
                  <a:gd name="T27" fmla="*/ 588 h 594"/>
                  <a:gd name="T28" fmla="*/ 564 w 756"/>
                  <a:gd name="T29" fmla="*/ 534 h 594"/>
                  <a:gd name="T30" fmla="*/ 540 w 756"/>
                  <a:gd name="T31" fmla="*/ 474 h 594"/>
                  <a:gd name="T32" fmla="*/ 534 w 756"/>
                  <a:gd name="T33" fmla="*/ 432 h 594"/>
                  <a:gd name="T34" fmla="*/ 552 w 756"/>
                  <a:gd name="T35" fmla="*/ 396 h 594"/>
                  <a:gd name="T36" fmla="*/ 546 w 756"/>
                  <a:gd name="T37" fmla="*/ 360 h 594"/>
                  <a:gd name="T38" fmla="*/ 522 w 756"/>
                  <a:gd name="T39" fmla="*/ 330 h 594"/>
                  <a:gd name="T40" fmla="*/ 528 w 756"/>
                  <a:gd name="T41" fmla="*/ 318 h 594"/>
                  <a:gd name="T42" fmla="*/ 486 w 756"/>
                  <a:gd name="T43" fmla="*/ 348 h 594"/>
                  <a:gd name="T44" fmla="*/ 492 w 756"/>
                  <a:gd name="T45" fmla="*/ 396 h 594"/>
                  <a:gd name="T46" fmla="*/ 456 w 756"/>
                  <a:gd name="T47" fmla="*/ 462 h 594"/>
                  <a:gd name="T48" fmla="*/ 408 w 756"/>
                  <a:gd name="T49" fmla="*/ 492 h 594"/>
                  <a:gd name="T50" fmla="*/ 360 w 756"/>
                  <a:gd name="T51" fmla="*/ 510 h 594"/>
                  <a:gd name="T52" fmla="*/ 282 w 756"/>
                  <a:gd name="T53" fmla="*/ 510 h 594"/>
                  <a:gd name="T54" fmla="*/ 222 w 756"/>
                  <a:gd name="T55" fmla="*/ 456 h 594"/>
                  <a:gd name="T56" fmla="*/ 162 w 756"/>
                  <a:gd name="T57" fmla="*/ 390 h 594"/>
                  <a:gd name="T58" fmla="*/ 96 w 756"/>
                  <a:gd name="T59" fmla="*/ 330 h 594"/>
                  <a:gd name="T60" fmla="*/ 120 w 756"/>
                  <a:gd name="T61" fmla="*/ 300 h 594"/>
                  <a:gd name="T62" fmla="*/ 162 w 756"/>
                  <a:gd name="T63" fmla="*/ 300 h 594"/>
                  <a:gd name="T64" fmla="*/ 192 w 756"/>
                  <a:gd name="T65" fmla="*/ 300 h 594"/>
                  <a:gd name="T66" fmla="*/ 252 w 756"/>
                  <a:gd name="T67" fmla="*/ 258 h 594"/>
                  <a:gd name="T68" fmla="*/ 270 w 756"/>
                  <a:gd name="T69" fmla="*/ 222 h 594"/>
                  <a:gd name="T70" fmla="*/ 228 w 756"/>
                  <a:gd name="T71" fmla="*/ 240 h 594"/>
                  <a:gd name="T72" fmla="*/ 168 w 756"/>
                  <a:gd name="T73" fmla="*/ 258 h 594"/>
                  <a:gd name="T74" fmla="*/ 96 w 756"/>
                  <a:gd name="T75" fmla="*/ 228 h 594"/>
                  <a:gd name="T76" fmla="*/ 54 w 756"/>
                  <a:gd name="T77" fmla="*/ 192 h 594"/>
                  <a:gd name="T78" fmla="*/ 48 w 756"/>
                  <a:gd name="T79" fmla="*/ 180 h 594"/>
                  <a:gd name="T80" fmla="*/ 30 w 756"/>
                  <a:gd name="T81" fmla="*/ 156 h 594"/>
                  <a:gd name="T82" fmla="*/ 60 w 756"/>
                  <a:gd name="T83" fmla="*/ 114 h 594"/>
                  <a:gd name="T84" fmla="*/ 30 w 756"/>
                  <a:gd name="T85" fmla="*/ 132 h 594"/>
                  <a:gd name="T86" fmla="*/ 6 w 756"/>
                  <a:gd name="T87" fmla="*/ 138 h 594"/>
                  <a:gd name="T88" fmla="*/ 6 w 756"/>
                  <a:gd name="T89" fmla="*/ 108 h 594"/>
                  <a:gd name="T90" fmla="*/ 66 w 756"/>
                  <a:gd name="T91" fmla="*/ 72 h 594"/>
                  <a:gd name="T92" fmla="*/ 102 w 756"/>
                  <a:gd name="T93" fmla="*/ 66 h 594"/>
                  <a:gd name="T94" fmla="*/ 204 w 756"/>
                  <a:gd name="T95" fmla="*/ 72 h 594"/>
                  <a:gd name="T96" fmla="*/ 288 w 756"/>
                  <a:gd name="T97" fmla="*/ 36 h 594"/>
                  <a:gd name="T98" fmla="*/ 348 w 756"/>
                  <a:gd name="T99" fmla="*/ 42 h 594"/>
                  <a:gd name="T100" fmla="*/ 366 w 756"/>
                  <a:gd name="T101" fmla="*/ 12 h 594"/>
                  <a:gd name="T102" fmla="*/ 450 w 756"/>
                  <a:gd name="T103" fmla="*/ 6 h 594"/>
                  <a:gd name="T104" fmla="*/ 498 w 756"/>
                  <a:gd name="T105" fmla="*/ 24 h 594"/>
                  <a:gd name="T106" fmla="*/ 552 w 756"/>
                  <a:gd name="T107" fmla="*/ 48 h 594"/>
                  <a:gd name="T108" fmla="*/ 600 w 756"/>
                  <a:gd name="T109" fmla="*/ 48 h 594"/>
                  <a:gd name="T110" fmla="*/ 618 w 756"/>
                  <a:gd name="T111" fmla="*/ 84 h 594"/>
                  <a:gd name="T112" fmla="*/ 636 w 756"/>
                  <a:gd name="T113" fmla="*/ 144 h 594"/>
                  <a:gd name="T114" fmla="*/ 690 w 756"/>
                  <a:gd name="T115" fmla="*/ 174 h 594"/>
                  <a:gd name="T116" fmla="*/ 732 w 756"/>
                  <a:gd name="T117" fmla="*/ 210 h 594"/>
                  <a:gd name="T118" fmla="*/ 54 w 756"/>
                  <a:gd name="T119" fmla="*/ 120 h 594"/>
                  <a:gd name="T120" fmla="*/ 540 w 756"/>
                  <a:gd name="T121" fmla="*/ 396 h 594"/>
                  <a:gd name="T122" fmla="*/ 43 w 756"/>
                  <a:gd name="T123" fmla="*/ 180 h 594"/>
                  <a:gd name="T124" fmla="*/ 564 w 756"/>
                  <a:gd name="T125" fmla="*/ 516 h 5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56" h="594">
                    <a:moveTo>
                      <a:pt x="732" y="216"/>
                    </a:moveTo>
                    <a:lnTo>
                      <a:pt x="732" y="222"/>
                    </a:lnTo>
                    <a:lnTo>
                      <a:pt x="738" y="222"/>
                    </a:lnTo>
                    <a:lnTo>
                      <a:pt x="738" y="228"/>
                    </a:lnTo>
                    <a:lnTo>
                      <a:pt x="738" y="234"/>
                    </a:lnTo>
                    <a:lnTo>
                      <a:pt x="744" y="240"/>
                    </a:lnTo>
                    <a:lnTo>
                      <a:pt x="744" y="234"/>
                    </a:lnTo>
                    <a:lnTo>
                      <a:pt x="750" y="234"/>
                    </a:lnTo>
                    <a:lnTo>
                      <a:pt x="750" y="240"/>
                    </a:lnTo>
                    <a:lnTo>
                      <a:pt x="750" y="246"/>
                    </a:lnTo>
                    <a:lnTo>
                      <a:pt x="756" y="246"/>
                    </a:lnTo>
                    <a:lnTo>
                      <a:pt x="750" y="246"/>
                    </a:lnTo>
                    <a:lnTo>
                      <a:pt x="750" y="252"/>
                    </a:lnTo>
                    <a:lnTo>
                      <a:pt x="750" y="258"/>
                    </a:lnTo>
                    <a:lnTo>
                      <a:pt x="744" y="258"/>
                    </a:lnTo>
                    <a:lnTo>
                      <a:pt x="744" y="264"/>
                    </a:lnTo>
                    <a:lnTo>
                      <a:pt x="744" y="270"/>
                    </a:lnTo>
                    <a:lnTo>
                      <a:pt x="738" y="270"/>
                    </a:lnTo>
                    <a:lnTo>
                      <a:pt x="732" y="270"/>
                    </a:lnTo>
                    <a:lnTo>
                      <a:pt x="726" y="270"/>
                    </a:lnTo>
                    <a:lnTo>
                      <a:pt x="726" y="276"/>
                    </a:lnTo>
                    <a:lnTo>
                      <a:pt x="720" y="276"/>
                    </a:lnTo>
                    <a:lnTo>
                      <a:pt x="720" y="282"/>
                    </a:lnTo>
                    <a:lnTo>
                      <a:pt x="714" y="282"/>
                    </a:lnTo>
                    <a:lnTo>
                      <a:pt x="714" y="288"/>
                    </a:lnTo>
                    <a:lnTo>
                      <a:pt x="708" y="288"/>
                    </a:lnTo>
                    <a:lnTo>
                      <a:pt x="708" y="282"/>
                    </a:lnTo>
                    <a:lnTo>
                      <a:pt x="702" y="282"/>
                    </a:lnTo>
                    <a:lnTo>
                      <a:pt x="702" y="288"/>
                    </a:lnTo>
                    <a:lnTo>
                      <a:pt x="702" y="294"/>
                    </a:lnTo>
                    <a:lnTo>
                      <a:pt x="702" y="288"/>
                    </a:lnTo>
                    <a:lnTo>
                      <a:pt x="708" y="288"/>
                    </a:lnTo>
                    <a:lnTo>
                      <a:pt x="708" y="294"/>
                    </a:lnTo>
                    <a:lnTo>
                      <a:pt x="702" y="294"/>
                    </a:lnTo>
                    <a:lnTo>
                      <a:pt x="708" y="294"/>
                    </a:lnTo>
                    <a:lnTo>
                      <a:pt x="708" y="300"/>
                    </a:lnTo>
                    <a:lnTo>
                      <a:pt x="714" y="300"/>
                    </a:lnTo>
                    <a:lnTo>
                      <a:pt x="714" y="294"/>
                    </a:lnTo>
                    <a:lnTo>
                      <a:pt x="714" y="300"/>
                    </a:lnTo>
                    <a:lnTo>
                      <a:pt x="720" y="300"/>
                    </a:lnTo>
                    <a:lnTo>
                      <a:pt x="720" y="294"/>
                    </a:lnTo>
                    <a:lnTo>
                      <a:pt x="720" y="300"/>
                    </a:lnTo>
                    <a:lnTo>
                      <a:pt x="726" y="300"/>
                    </a:lnTo>
                    <a:lnTo>
                      <a:pt x="732" y="300"/>
                    </a:lnTo>
                    <a:lnTo>
                      <a:pt x="732" y="306"/>
                    </a:lnTo>
                    <a:lnTo>
                      <a:pt x="726" y="306"/>
                    </a:lnTo>
                    <a:lnTo>
                      <a:pt x="720" y="306"/>
                    </a:lnTo>
                    <a:lnTo>
                      <a:pt x="726" y="306"/>
                    </a:lnTo>
                    <a:lnTo>
                      <a:pt x="720" y="306"/>
                    </a:lnTo>
                    <a:lnTo>
                      <a:pt x="720" y="312"/>
                    </a:lnTo>
                    <a:lnTo>
                      <a:pt x="714" y="312"/>
                    </a:lnTo>
                    <a:lnTo>
                      <a:pt x="714" y="306"/>
                    </a:lnTo>
                    <a:lnTo>
                      <a:pt x="708" y="306"/>
                    </a:lnTo>
                    <a:lnTo>
                      <a:pt x="702" y="306"/>
                    </a:lnTo>
                    <a:lnTo>
                      <a:pt x="702" y="312"/>
                    </a:lnTo>
                    <a:lnTo>
                      <a:pt x="702" y="318"/>
                    </a:lnTo>
                    <a:lnTo>
                      <a:pt x="708" y="324"/>
                    </a:lnTo>
                    <a:lnTo>
                      <a:pt x="702" y="324"/>
                    </a:lnTo>
                    <a:lnTo>
                      <a:pt x="708" y="324"/>
                    </a:lnTo>
                    <a:lnTo>
                      <a:pt x="708" y="330"/>
                    </a:lnTo>
                    <a:lnTo>
                      <a:pt x="708" y="336"/>
                    </a:lnTo>
                    <a:lnTo>
                      <a:pt x="714" y="336"/>
                    </a:lnTo>
                    <a:lnTo>
                      <a:pt x="708" y="336"/>
                    </a:lnTo>
                    <a:lnTo>
                      <a:pt x="714" y="336"/>
                    </a:lnTo>
                    <a:lnTo>
                      <a:pt x="714" y="342"/>
                    </a:lnTo>
                    <a:lnTo>
                      <a:pt x="708" y="342"/>
                    </a:lnTo>
                    <a:lnTo>
                      <a:pt x="714" y="342"/>
                    </a:lnTo>
                    <a:lnTo>
                      <a:pt x="720" y="342"/>
                    </a:lnTo>
                    <a:lnTo>
                      <a:pt x="714" y="342"/>
                    </a:lnTo>
                    <a:lnTo>
                      <a:pt x="714" y="348"/>
                    </a:lnTo>
                    <a:lnTo>
                      <a:pt x="708" y="348"/>
                    </a:lnTo>
                    <a:lnTo>
                      <a:pt x="708" y="354"/>
                    </a:lnTo>
                    <a:lnTo>
                      <a:pt x="714" y="354"/>
                    </a:lnTo>
                    <a:lnTo>
                      <a:pt x="714" y="360"/>
                    </a:lnTo>
                    <a:lnTo>
                      <a:pt x="708" y="360"/>
                    </a:lnTo>
                    <a:lnTo>
                      <a:pt x="702" y="366"/>
                    </a:lnTo>
                    <a:lnTo>
                      <a:pt x="696" y="366"/>
                    </a:lnTo>
                    <a:lnTo>
                      <a:pt x="690" y="366"/>
                    </a:lnTo>
                    <a:lnTo>
                      <a:pt x="690" y="372"/>
                    </a:lnTo>
                    <a:lnTo>
                      <a:pt x="684" y="372"/>
                    </a:lnTo>
                    <a:lnTo>
                      <a:pt x="678" y="372"/>
                    </a:lnTo>
                    <a:lnTo>
                      <a:pt x="672" y="372"/>
                    </a:lnTo>
                    <a:lnTo>
                      <a:pt x="672" y="378"/>
                    </a:lnTo>
                    <a:lnTo>
                      <a:pt x="678" y="378"/>
                    </a:lnTo>
                    <a:lnTo>
                      <a:pt x="678" y="384"/>
                    </a:lnTo>
                    <a:lnTo>
                      <a:pt x="678" y="378"/>
                    </a:lnTo>
                    <a:lnTo>
                      <a:pt x="678" y="384"/>
                    </a:lnTo>
                    <a:lnTo>
                      <a:pt x="678" y="390"/>
                    </a:lnTo>
                    <a:lnTo>
                      <a:pt x="684" y="390"/>
                    </a:lnTo>
                    <a:lnTo>
                      <a:pt x="684" y="396"/>
                    </a:lnTo>
                    <a:lnTo>
                      <a:pt x="678" y="396"/>
                    </a:lnTo>
                    <a:lnTo>
                      <a:pt x="678" y="402"/>
                    </a:lnTo>
                    <a:lnTo>
                      <a:pt x="672" y="402"/>
                    </a:lnTo>
                    <a:lnTo>
                      <a:pt x="666" y="402"/>
                    </a:lnTo>
                    <a:lnTo>
                      <a:pt x="666" y="408"/>
                    </a:lnTo>
                    <a:lnTo>
                      <a:pt x="672" y="408"/>
                    </a:lnTo>
                    <a:lnTo>
                      <a:pt x="672" y="414"/>
                    </a:lnTo>
                    <a:lnTo>
                      <a:pt x="672" y="420"/>
                    </a:lnTo>
                    <a:lnTo>
                      <a:pt x="678" y="420"/>
                    </a:lnTo>
                    <a:lnTo>
                      <a:pt x="678" y="414"/>
                    </a:lnTo>
                    <a:lnTo>
                      <a:pt x="684" y="414"/>
                    </a:lnTo>
                    <a:lnTo>
                      <a:pt x="690" y="414"/>
                    </a:lnTo>
                    <a:lnTo>
                      <a:pt x="696" y="414"/>
                    </a:lnTo>
                    <a:lnTo>
                      <a:pt x="702" y="414"/>
                    </a:lnTo>
                    <a:lnTo>
                      <a:pt x="708" y="414"/>
                    </a:lnTo>
                    <a:lnTo>
                      <a:pt x="708" y="408"/>
                    </a:lnTo>
                    <a:lnTo>
                      <a:pt x="708" y="414"/>
                    </a:lnTo>
                    <a:lnTo>
                      <a:pt x="714" y="414"/>
                    </a:lnTo>
                    <a:lnTo>
                      <a:pt x="714" y="408"/>
                    </a:lnTo>
                    <a:lnTo>
                      <a:pt x="720" y="408"/>
                    </a:lnTo>
                    <a:lnTo>
                      <a:pt x="720" y="414"/>
                    </a:lnTo>
                    <a:lnTo>
                      <a:pt x="726" y="414"/>
                    </a:lnTo>
                    <a:lnTo>
                      <a:pt x="726" y="408"/>
                    </a:lnTo>
                    <a:lnTo>
                      <a:pt x="732" y="408"/>
                    </a:lnTo>
                    <a:lnTo>
                      <a:pt x="732" y="414"/>
                    </a:lnTo>
                    <a:lnTo>
                      <a:pt x="738" y="414"/>
                    </a:lnTo>
                    <a:lnTo>
                      <a:pt x="732" y="414"/>
                    </a:lnTo>
                    <a:lnTo>
                      <a:pt x="732" y="420"/>
                    </a:lnTo>
                    <a:lnTo>
                      <a:pt x="726" y="420"/>
                    </a:lnTo>
                    <a:lnTo>
                      <a:pt x="720" y="420"/>
                    </a:lnTo>
                    <a:lnTo>
                      <a:pt x="720" y="426"/>
                    </a:lnTo>
                    <a:lnTo>
                      <a:pt x="720" y="420"/>
                    </a:lnTo>
                    <a:lnTo>
                      <a:pt x="714" y="420"/>
                    </a:lnTo>
                    <a:lnTo>
                      <a:pt x="714" y="426"/>
                    </a:lnTo>
                    <a:lnTo>
                      <a:pt x="714" y="420"/>
                    </a:lnTo>
                    <a:lnTo>
                      <a:pt x="708" y="426"/>
                    </a:lnTo>
                    <a:lnTo>
                      <a:pt x="702" y="426"/>
                    </a:lnTo>
                    <a:lnTo>
                      <a:pt x="708" y="426"/>
                    </a:lnTo>
                    <a:lnTo>
                      <a:pt x="702" y="426"/>
                    </a:lnTo>
                    <a:lnTo>
                      <a:pt x="702" y="420"/>
                    </a:lnTo>
                    <a:lnTo>
                      <a:pt x="702" y="426"/>
                    </a:lnTo>
                    <a:lnTo>
                      <a:pt x="702" y="432"/>
                    </a:lnTo>
                    <a:lnTo>
                      <a:pt x="696" y="432"/>
                    </a:lnTo>
                    <a:lnTo>
                      <a:pt x="696" y="426"/>
                    </a:lnTo>
                    <a:lnTo>
                      <a:pt x="696" y="432"/>
                    </a:lnTo>
                    <a:lnTo>
                      <a:pt x="690" y="432"/>
                    </a:lnTo>
                    <a:lnTo>
                      <a:pt x="690" y="438"/>
                    </a:lnTo>
                    <a:lnTo>
                      <a:pt x="690" y="444"/>
                    </a:lnTo>
                    <a:lnTo>
                      <a:pt x="684" y="444"/>
                    </a:lnTo>
                    <a:lnTo>
                      <a:pt x="690" y="444"/>
                    </a:lnTo>
                    <a:lnTo>
                      <a:pt x="684" y="444"/>
                    </a:lnTo>
                    <a:lnTo>
                      <a:pt x="684" y="450"/>
                    </a:lnTo>
                    <a:lnTo>
                      <a:pt x="678" y="450"/>
                    </a:lnTo>
                    <a:lnTo>
                      <a:pt x="672" y="450"/>
                    </a:lnTo>
                    <a:lnTo>
                      <a:pt x="672" y="456"/>
                    </a:lnTo>
                    <a:lnTo>
                      <a:pt x="666" y="456"/>
                    </a:lnTo>
                    <a:lnTo>
                      <a:pt x="666" y="462"/>
                    </a:lnTo>
                    <a:lnTo>
                      <a:pt x="660" y="462"/>
                    </a:lnTo>
                    <a:lnTo>
                      <a:pt x="654" y="462"/>
                    </a:lnTo>
                    <a:lnTo>
                      <a:pt x="654" y="468"/>
                    </a:lnTo>
                    <a:lnTo>
                      <a:pt x="654" y="462"/>
                    </a:lnTo>
                    <a:lnTo>
                      <a:pt x="648" y="462"/>
                    </a:lnTo>
                    <a:lnTo>
                      <a:pt x="648" y="456"/>
                    </a:lnTo>
                    <a:lnTo>
                      <a:pt x="642" y="456"/>
                    </a:lnTo>
                    <a:lnTo>
                      <a:pt x="642" y="462"/>
                    </a:lnTo>
                    <a:lnTo>
                      <a:pt x="648" y="462"/>
                    </a:lnTo>
                    <a:lnTo>
                      <a:pt x="648" y="468"/>
                    </a:lnTo>
                    <a:lnTo>
                      <a:pt x="654" y="468"/>
                    </a:lnTo>
                    <a:lnTo>
                      <a:pt x="660" y="468"/>
                    </a:lnTo>
                    <a:lnTo>
                      <a:pt x="666" y="468"/>
                    </a:lnTo>
                    <a:lnTo>
                      <a:pt x="666" y="474"/>
                    </a:lnTo>
                    <a:lnTo>
                      <a:pt x="672" y="474"/>
                    </a:lnTo>
                    <a:lnTo>
                      <a:pt x="672" y="480"/>
                    </a:lnTo>
                    <a:lnTo>
                      <a:pt x="678" y="480"/>
                    </a:lnTo>
                    <a:lnTo>
                      <a:pt x="678" y="486"/>
                    </a:lnTo>
                    <a:lnTo>
                      <a:pt x="684" y="486"/>
                    </a:lnTo>
                    <a:lnTo>
                      <a:pt x="684" y="492"/>
                    </a:lnTo>
                    <a:lnTo>
                      <a:pt x="684" y="498"/>
                    </a:lnTo>
                    <a:lnTo>
                      <a:pt x="684" y="504"/>
                    </a:lnTo>
                    <a:lnTo>
                      <a:pt x="690" y="504"/>
                    </a:lnTo>
                    <a:lnTo>
                      <a:pt x="690" y="510"/>
                    </a:lnTo>
                    <a:lnTo>
                      <a:pt x="690" y="516"/>
                    </a:lnTo>
                    <a:lnTo>
                      <a:pt x="684" y="516"/>
                    </a:lnTo>
                    <a:lnTo>
                      <a:pt x="678" y="516"/>
                    </a:lnTo>
                    <a:lnTo>
                      <a:pt x="678" y="522"/>
                    </a:lnTo>
                    <a:lnTo>
                      <a:pt x="672" y="522"/>
                    </a:lnTo>
                    <a:lnTo>
                      <a:pt x="678" y="522"/>
                    </a:lnTo>
                    <a:lnTo>
                      <a:pt x="678" y="528"/>
                    </a:lnTo>
                    <a:lnTo>
                      <a:pt x="678" y="534"/>
                    </a:lnTo>
                    <a:lnTo>
                      <a:pt x="672" y="534"/>
                    </a:lnTo>
                    <a:lnTo>
                      <a:pt x="666" y="534"/>
                    </a:lnTo>
                    <a:lnTo>
                      <a:pt x="666" y="540"/>
                    </a:lnTo>
                    <a:lnTo>
                      <a:pt x="660" y="540"/>
                    </a:lnTo>
                    <a:lnTo>
                      <a:pt x="660" y="534"/>
                    </a:lnTo>
                    <a:lnTo>
                      <a:pt x="660" y="540"/>
                    </a:lnTo>
                    <a:lnTo>
                      <a:pt x="654" y="540"/>
                    </a:lnTo>
                    <a:lnTo>
                      <a:pt x="654" y="534"/>
                    </a:lnTo>
                    <a:lnTo>
                      <a:pt x="648" y="534"/>
                    </a:lnTo>
                    <a:lnTo>
                      <a:pt x="648" y="528"/>
                    </a:lnTo>
                    <a:lnTo>
                      <a:pt x="642" y="528"/>
                    </a:lnTo>
                    <a:lnTo>
                      <a:pt x="642" y="522"/>
                    </a:lnTo>
                    <a:lnTo>
                      <a:pt x="636" y="528"/>
                    </a:lnTo>
                    <a:lnTo>
                      <a:pt x="636" y="522"/>
                    </a:lnTo>
                    <a:lnTo>
                      <a:pt x="636" y="528"/>
                    </a:lnTo>
                    <a:lnTo>
                      <a:pt x="636" y="522"/>
                    </a:lnTo>
                    <a:lnTo>
                      <a:pt x="636" y="516"/>
                    </a:lnTo>
                    <a:lnTo>
                      <a:pt x="630" y="516"/>
                    </a:lnTo>
                    <a:lnTo>
                      <a:pt x="630" y="522"/>
                    </a:lnTo>
                    <a:lnTo>
                      <a:pt x="630" y="528"/>
                    </a:lnTo>
                    <a:lnTo>
                      <a:pt x="624" y="528"/>
                    </a:lnTo>
                    <a:lnTo>
                      <a:pt x="630" y="528"/>
                    </a:lnTo>
                    <a:lnTo>
                      <a:pt x="630" y="534"/>
                    </a:lnTo>
                    <a:lnTo>
                      <a:pt x="636" y="534"/>
                    </a:lnTo>
                    <a:lnTo>
                      <a:pt x="636" y="540"/>
                    </a:lnTo>
                    <a:lnTo>
                      <a:pt x="636" y="546"/>
                    </a:lnTo>
                    <a:lnTo>
                      <a:pt x="630" y="546"/>
                    </a:lnTo>
                    <a:lnTo>
                      <a:pt x="630" y="552"/>
                    </a:lnTo>
                    <a:lnTo>
                      <a:pt x="630" y="558"/>
                    </a:lnTo>
                    <a:lnTo>
                      <a:pt x="624" y="558"/>
                    </a:lnTo>
                    <a:lnTo>
                      <a:pt x="624" y="564"/>
                    </a:lnTo>
                    <a:lnTo>
                      <a:pt x="624" y="570"/>
                    </a:lnTo>
                    <a:lnTo>
                      <a:pt x="630" y="570"/>
                    </a:lnTo>
                    <a:lnTo>
                      <a:pt x="630" y="576"/>
                    </a:lnTo>
                    <a:lnTo>
                      <a:pt x="624" y="576"/>
                    </a:lnTo>
                    <a:lnTo>
                      <a:pt x="624" y="582"/>
                    </a:lnTo>
                    <a:lnTo>
                      <a:pt x="630" y="582"/>
                    </a:lnTo>
                    <a:lnTo>
                      <a:pt x="630" y="588"/>
                    </a:lnTo>
                    <a:lnTo>
                      <a:pt x="624" y="588"/>
                    </a:lnTo>
                    <a:lnTo>
                      <a:pt x="624" y="582"/>
                    </a:lnTo>
                    <a:lnTo>
                      <a:pt x="624" y="588"/>
                    </a:lnTo>
                    <a:lnTo>
                      <a:pt x="624" y="582"/>
                    </a:lnTo>
                    <a:lnTo>
                      <a:pt x="618" y="582"/>
                    </a:lnTo>
                    <a:lnTo>
                      <a:pt x="618" y="588"/>
                    </a:lnTo>
                    <a:lnTo>
                      <a:pt x="618" y="582"/>
                    </a:lnTo>
                    <a:lnTo>
                      <a:pt x="612" y="582"/>
                    </a:lnTo>
                    <a:lnTo>
                      <a:pt x="612" y="588"/>
                    </a:lnTo>
                    <a:lnTo>
                      <a:pt x="612" y="594"/>
                    </a:lnTo>
                    <a:lnTo>
                      <a:pt x="606" y="594"/>
                    </a:lnTo>
                    <a:lnTo>
                      <a:pt x="600" y="594"/>
                    </a:lnTo>
                    <a:lnTo>
                      <a:pt x="600" y="588"/>
                    </a:lnTo>
                    <a:lnTo>
                      <a:pt x="600" y="582"/>
                    </a:lnTo>
                    <a:lnTo>
                      <a:pt x="594" y="582"/>
                    </a:lnTo>
                    <a:lnTo>
                      <a:pt x="594" y="588"/>
                    </a:lnTo>
                    <a:lnTo>
                      <a:pt x="588" y="588"/>
                    </a:lnTo>
                    <a:lnTo>
                      <a:pt x="582" y="588"/>
                    </a:lnTo>
                    <a:lnTo>
                      <a:pt x="582" y="582"/>
                    </a:lnTo>
                    <a:lnTo>
                      <a:pt x="588" y="582"/>
                    </a:lnTo>
                    <a:lnTo>
                      <a:pt x="588" y="576"/>
                    </a:lnTo>
                    <a:lnTo>
                      <a:pt x="594" y="576"/>
                    </a:lnTo>
                    <a:lnTo>
                      <a:pt x="594" y="570"/>
                    </a:lnTo>
                    <a:lnTo>
                      <a:pt x="588" y="570"/>
                    </a:lnTo>
                    <a:lnTo>
                      <a:pt x="588" y="564"/>
                    </a:lnTo>
                    <a:lnTo>
                      <a:pt x="588" y="570"/>
                    </a:lnTo>
                    <a:lnTo>
                      <a:pt x="582" y="570"/>
                    </a:lnTo>
                    <a:lnTo>
                      <a:pt x="582" y="576"/>
                    </a:lnTo>
                    <a:lnTo>
                      <a:pt x="582" y="570"/>
                    </a:lnTo>
                    <a:lnTo>
                      <a:pt x="576" y="570"/>
                    </a:lnTo>
                    <a:lnTo>
                      <a:pt x="576" y="576"/>
                    </a:lnTo>
                    <a:lnTo>
                      <a:pt x="576" y="570"/>
                    </a:lnTo>
                    <a:lnTo>
                      <a:pt x="576" y="576"/>
                    </a:lnTo>
                    <a:lnTo>
                      <a:pt x="570" y="576"/>
                    </a:lnTo>
                    <a:lnTo>
                      <a:pt x="570" y="570"/>
                    </a:lnTo>
                    <a:lnTo>
                      <a:pt x="570" y="576"/>
                    </a:lnTo>
                    <a:lnTo>
                      <a:pt x="564" y="576"/>
                    </a:lnTo>
                    <a:lnTo>
                      <a:pt x="570" y="576"/>
                    </a:lnTo>
                    <a:lnTo>
                      <a:pt x="570" y="582"/>
                    </a:lnTo>
                    <a:lnTo>
                      <a:pt x="564" y="582"/>
                    </a:lnTo>
                    <a:lnTo>
                      <a:pt x="558" y="582"/>
                    </a:lnTo>
                    <a:lnTo>
                      <a:pt x="558" y="588"/>
                    </a:lnTo>
                    <a:lnTo>
                      <a:pt x="552" y="588"/>
                    </a:lnTo>
                    <a:lnTo>
                      <a:pt x="558" y="588"/>
                    </a:lnTo>
                    <a:lnTo>
                      <a:pt x="552" y="588"/>
                    </a:lnTo>
                    <a:lnTo>
                      <a:pt x="558" y="588"/>
                    </a:lnTo>
                    <a:lnTo>
                      <a:pt x="558" y="594"/>
                    </a:lnTo>
                    <a:lnTo>
                      <a:pt x="552" y="594"/>
                    </a:lnTo>
                    <a:lnTo>
                      <a:pt x="552" y="588"/>
                    </a:lnTo>
                    <a:lnTo>
                      <a:pt x="552" y="594"/>
                    </a:lnTo>
                    <a:lnTo>
                      <a:pt x="546" y="594"/>
                    </a:lnTo>
                    <a:lnTo>
                      <a:pt x="546" y="588"/>
                    </a:lnTo>
                    <a:lnTo>
                      <a:pt x="546" y="582"/>
                    </a:lnTo>
                    <a:lnTo>
                      <a:pt x="546" y="576"/>
                    </a:lnTo>
                    <a:lnTo>
                      <a:pt x="546" y="570"/>
                    </a:lnTo>
                    <a:lnTo>
                      <a:pt x="552" y="570"/>
                    </a:lnTo>
                    <a:lnTo>
                      <a:pt x="552" y="564"/>
                    </a:lnTo>
                    <a:lnTo>
                      <a:pt x="558" y="564"/>
                    </a:lnTo>
                    <a:lnTo>
                      <a:pt x="564" y="564"/>
                    </a:lnTo>
                    <a:lnTo>
                      <a:pt x="564" y="558"/>
                    </a:lnTo>
                    <a:lnTo>
                      <a:pt x="558" y="558"/>
                    </a:lnTo>
                    <a:lnTo>
                      <a:pt x="558" y="552"/>
                    </a:lnTo>
                    <a:lnTo>
                      <a:pt x="564" y="552"/>
                    </a:lnTo>
                    <a:lnTo>
                      <a:pt x="558" y="552"/>
                    </a:lnTo>
                    <a:lnTo>
                      <a:pt x="558" y="546"/>
                    </a:lnTo>
                    <a:lnTo>
                      <a:pt x="564" y="546"/>
                    </a:lnTo>
                    <a:lnTo>
                      <a:pt x="564" y="540"/>
                    </a:lnTo>
                    <a:lnTo>
                      <a:pt x="564" y="534"/>
                    </a:lnTo>
                    <a:lnTo>
                      <a:pt x="564" y="528"/>
                    </a:lnTo>
                    <a:lnTo>
                      <a:pt x="558" y="522"/>
                    </a:lnTo>
                    <a:lnTo>
                      <a:pt x="558" y="516"/>
                    </a:lnTo>
                    <a:lnTo>
                      <a:pt x="564" y="516"/>
                    </a:lnTo>
                    <a:lnTo>
                      <a:pt x="558" y="516"/>
                    </a:lnTo>
                    <a:lnTo>
                      <a:pt x="558" y="510"/>
                    </a:lnTo>
                    <a:lnTo>
                      <a:pt x="558" y="504"/>
                    </a:lnTo>
                    <a:lnTo>
                      <a:pt x="552" y="504"/>
                    </a:lnTo>
                    <a:lnTo>
                      <a:pt x="552" y="498"/>
                    </a:lnTo>
                    <a:lnTo>
                      <a:pt x="552" y="492"/>
                    </a:lnTo>
                    <a:lnTo>
                      <a:pt x="546" y="492"/>
                    </a:lnTo>
                    <a:lnTo>
                      <a:pt x="546" y="486"/>
                    </a:lnTo>
                    <a:lnTo>
                      <a:pt x="546" y="480"/>
                    </a:lnTo>
                    <a:lnTo>
                      <a:pt x="546" y="474"/>
                    </a:lnTo>
                    <a:lnTo>
                      <a:pt x="552" y="474"/>
                    </a:lnTo>
                    <a:lnTo>
                      <a:pt x="552" y="480"/>
                    </a:lnTo>
                    <a:lnTo>
                      <a:pt x="552" y="474"/>
                    </a:lnTo>
                    <a:lnTo>
                      <a:pt x="546" y="474"/>
                    </a:lnTo>
                    <a:lnTo>
                      <a:pt x="540" y="474"/>
                    </a:lnTo>
                    <a:lnTo>
                      <a:pt x="540" y="468"/>
                    </a:lnTo>
                    <a:lnTo>
                      <a:pt x="534" y="468"/>
                    </a:lnTo>
                    <a:lnTo>
                      <a:pt x="534" y="474"/>
                    </a:lnTo>
                    <a:lnTo>
                      <a:pt x="534" y="468"/>
                    </a:lnTo>
                    <a:lnTo>
                      <a:pt x="534" y="462"/>
                    </a:lnTo>
                    <a:lnTo>
                      <a:pt x="534" y="456"/>
                    </a:lnTo>
                    <a:lnTo>
                      <a:pt x="534" y="450"/>
                    </a:lnTo>
                    <a:lnTo>
                      <a:pt x="528" y="456"/>
                    </a:lnTo>
                    <a:lnTo>
                      <a:pt x="528" y="450"/>
                    </a:lnTo>
                    <a:lnTo>
                      <a:pt x="534" y="450"/>
                    </a:lnTo>
                    <a:lnTo>
                      <a:pt x="534" y="444"/>
                    </a:lnTo>
                    <a:lnTo>
                      <a:pt x="528" y="444"/>
                    </a:lnTo>
                    <a:lnTo>
                      <a:pt x="534" y="444"/>
                    </a:lnTo>
                    <a:lnTo>
                      <a:pt x="534" y="438"/>
                    </a:lnTo>
                    <a:lnTo>
                      <a:pt x="528" y="438"/>
                    </a:lnTo>
                    <a:lnTo>
                      <a:pt x="534" y="438"/>
                    </a:lnTo>
                    <a:lnTo>
                      <a:pt x="534" y="432"/>
                    </a:lnTo>
                    <a:lnTo>
                      <a:pt x="534" y="438"/>
                    </a:lnTo>
                    <a:lnTo>
                      <a:pt x="534" y="432"/>
                    </a:lnTo>
                    <a:lnTo>
                      <a:pt x="540" y="432"/>
                    </a:lnTo>
                    <a:lnTo>
                      <a:pt x="540" y="426"/>
                    </a:lnTo>
                    <a:lnTo>
                      <a:pt x="540" y="420"/>
                    </a:lnTo>
                    <a:lnTo>
                      <a:pt x="540" y="426"/>
                    </a:lnTo>
                    <a:lnTo>
                      <a:pt x="534" y="426"/>
                    </a:lnTo>
                    <a:lnTo>
                      <a:pt x="534" y="420"/>
                    </a:lnTo>
                    <a:lnTo>
                      <a:pt x="540" y="420"/>
                    </a:lnTo>
                    <a:lnTo>
                      <a:pt x="540" y="414"/>
                    </a:lnTo>
                    <a:lnTo>
                      <a:pt x="546" y="414"/>
                    </a:lnTo>
                    <a:lnTo>
                      <a:pt x="540" y="414"/>
                    </a:lnTo>
                    <a:lnTo>
                      <a:pt x="534" y="414"/>
                    </a:lnTo>
                    <a:lnTo>
                      <a:pt x="528" y="414"/>
                    </a:lnTo>
                    <a:lnTo>
                      <a:pt x="528" y="408"/>
                    </a:lnTo>
                    <a:lnTo>
                      <a:pt x="534" y="408"/>
                    </a:lnTo>
                    <a:lnTo>
                      <a:pt x="534" y="402"/>
                    </a:lnTo>
                    <a:lnTo>
                      <a:pt x="540" y="402"/>
                    </a:lnTo>
                    <a:lnTo>
                      <a:pt x="546" y="402"/>
                    </a:lnTo>
                    <a:lnTo>
                      <a:pt x="552" y="402"/>
                    </a:lnTo>
                    <a:lnTo>
                      <a:pt x="552" y="396"/>
                    </a:lnTo>
                    <a:lnTo>
                      <a:pt x="558" y="396"/>
                    </a:lnTo>
                    <a:lnTo>
                      <a:pt x="552" y="396"/>
                    </a:lnTo>
                    <a:lnTo>
                      <a:pt x="546" y="396"/>
                    </a:lnTo>
                    <a:lnTo>
                      <a:pt x="540" y="396"/>
                    </a:lnTo>
                    <a:lnTo>
                      <a:pt x="534" y="396"/>
                    </a:lnTo>
                    <a:lnTo>
                      <a:pt x="528" y="396"/>
                    </a:lnTo>
                    <a:lnTo>
                      <a:pt x="522" y="396"/>
                    </a:lnTo>
                    <a:lnTo>
                      <a:pt x="522" y="390"/>
                    </a:lnTo>
                    <a:lnTo>
                      <a:pt x="522" y="384"/>
                    </a:lnTo>
                    <a:lnTo>
                      <a:pt x="522" y="378"/>
                    </a:lnTo>
                    <a:lnTo>
                      <a:pt x="528" y="378"/>
                    </a:lnTo>
                    <a:lnTo>
                      <a:pt x="528" y="372"/>
                    </a:lnTo>
                    <a:lnTo>
                      <a:pt x="534" y="372"/>
                    </a:lnTo>
                    <a:lnTo>
                      <a:pt x="534" y="366"/>
                    </a:lnTo>
                    <a:lnTo>
                      <a:pt x="534" y="360"/>
                    </a:lnTo>
                    <a:lnTo>
                      <a:pt x="540" y="360"/>
                    </a:lnTo>
                    <a:lnTo>
                      <a:pt x="540" y="366"/>
                    </a:lnTo>
                    <a:lnTo>
                      <a:pt x="540" y="360"/>
                    </a:lnTo>
                    <a:lnTo>
                      <a:pt x="546" y="360"/>
                    </a:lnTo>
                    <a:lnTo>
                      <a:pt x="540" y="360"/>
                    </a:lnTo>
                    <a:lnTo>
                      <a:pt x="534" y="360"/>
                    </a:lnTo>
                    <a:lnTo>
                      <a:pt x="528" y="360"/>
                    </a:lnTo>
                    <a:lnTo>
                      <a:pt x="528" y="366"/>
                    </a:lnTo>
                    <a:lnTo>
                      <a:pt x="528" y="372"/>
                    </a:lnTo>
                    <a:lnTo>
                      <a:pt x="522" y="372"/>
                    </a:lnTo>
                    <a:lnTo>
                      <a:pt x="516" y="372"/>
                    </a:lnTo>
                    <a:lnTo>
                      <a:pt x="516" y="366"/>
                    </a:lnTo>
                    <a:lnTo>
                      <a:pt x="522" y="366"/>
                    </a:lnTo>
                    <a:lnTo>
                      <a:pt x="516" y="366"/>
                    </a:lnTo>
                    <a:lnTo>
                      <a:pt x="516" y="360"/>
                    </a:lnTo>
                    <a:lnTo>
                      <a:pt x="516" y="354"/>
                    </a:lnTo>
                    <a:lnTo>
                      <a:pt x="522" y="354"/>
                    </a:lnTo>
                    <a:lnTo>
                      <a:pt x="516" y="354"/>
                    </a:lnTo>
                    <a:lnTo>
                      <a:pt x="522" y="354"/>
                    </a:lnTo>
                    <a:lnTo>
                      <a:pt x="522" y="348"/>
                    </a:lnTo>
                    <a:lnTo>
                      <a:pt x="522" y="342"/>
                    </a:lnTo>
                    <a:lnTo>
                      <a:pt x="522" y="336"/>
                    </a:lnTo>
                    <a:lnTo>
                      <a:pt x="522" y="330"/>
                    </a:lnTo>
                    <a:lnTo>
                      <a:pt x="528" y="330"/>
                    </a:lnTo>
                    <a:lnTo>
                      <a:pt x="528" y="324"/>
                    </a:lnTo>
                    <a:lnTo>
                      <a:pt x="534" y="324"/>
                    </a:lnTo>
                    <a:lnTo>
                      <a:pt x="534" y="330"/>
                    </a:lnTo>
                    <a:lnTo>
                      <a:pt x="540" y="330"/>
                    </a:lnTo>
                    <a:lnTo>
                      <a:pt x="546" y="330"/>
                    </a:lnTo>
                    <a:lnTo>
                      <a:pt x="552" y="330"/>
                    </a:lnTo>
                    <a:lnTo>
                      <a:pt x="552" y="324"/>
                    </a:lnTo>
                    <a:lnTo>
                      <a:pt x="558" y="324"/>
                    </a:lnTo>
                    <a:lnTo>
                      <a:pt x="564" y="324"/>
                    </a:lnTo>
                    <a:lnTo>
                      <a:pt x="558" y="324"/>
                    </a:lnTo>
                    <a:lnTo>
                      <a:pt x="558" y="318"/>
                    </a:lnTo>
                    <a:lnTo>
                      <a:pt x="552" y="318"/>
                    </a:lnTo>
                    <a:lnTo>
                      <a:pt x="552" y="324"/>
                    </a:lnTo>
                    <a:lnTo>
                      <a:pt x="546" y="324"/>
                    </a:lnTo>
                    <a:lnTo>
                      <a:pt x="540" y="324"/>
                    </a:lnTo>
                    <a:lnTo>
                      <a:pt x="540" y="318"/>
                    </a:lnTo>
                    <a:lnTo>
                      <a:pt x="534" y="318"/>
                    </a:lnTo>
                    <a:lnTo>
                      <a:pt x="528" y="318"/>
                    </a:lnTo>
                    <a:lnTo>
                      <a:pt x="522" y="318"/>
                    </a:lnTo>
                    <a:lnTo>
                      <a:pt x="528" y="318"/>
                    </a:lnTo>
                    <a:lnTo>
                      <a:pt x="522" y="318"/>
                    </a:lnTo>
                    <a:lnTo>
                      <a:pt x="516" y="318"/>
                    </a:lnTo>
                    <a:lnTo>
                      <a:pt x="516" y="324"/>
                    </a:lnTo>
                    <a:lnTo>
                      <a:pt x="516" y="318"/>
                    </a:lnTo>
                    <a:lnTo>
                      <a:pt x="510" y="318"/>
                    </a:lnTo>
                    <a:lnTo>
                      <a:pt x="504" y="312"/>
                    </a:lnTo>
                    <a:lnTo>
                      <a:pt x="504" y="318"/>
                    </a:lnTo>
                    <a:lnTo>
                      <a:pt x="498" y="318"/>
                    </a:lnTo>
                    <a:lnTo>
                      <a:pt x="504" y="318"/>
                    </a:lnTo>
                    <a:lnTo>
                      <a:pt x="498" y="318"/>
                    </a:lnTo>
                    <a:lnTo>
                      <a:pt x="498" y="324"/>
                    </a:lnTo>
                    <a:lnTo>
                      <a:pt x="492" y="324"/>
                    </a:lnTo>
                    <a:lnTo>
                      <a:pt x="492" y="330"/>
                    </a:lnTo>
                    <a:lnTo>
                      <a:pt x="492" y="336"/>
                    </a:lnTo>
                    <a:lnTo>
                      <a:pt x="492" y="342"/>
                    </a:lnTo>
                    <a:lnTo>
                      <a:pt x="492" y="348"/>
                    </a:lnTo>
                    <a:lnTo>
                      <a:pt x="486" y="348"/>
                    </a:lnTo>
                    <a:lnTo>
                      <a:pt x="486" y="354"/>
                    </a:lnTo>
                    <a:lnTo>
                      <a:pt x="480" y="354"/>
                    </a:lnTo>
                    <a:lnTo>
                      <a:pt x="486" y="354"/>
                    </a:lnTo>
                    <a:lnTo>
                      <a:pt x="486" y="360"/>
                    </a:lnTo>
                    <a:lnTo>
                      <a:pt x="480" y="360"/>
                    </a:lnTo>
                    <a:lnTo>
                      <a:pt x="486" y="360"/>
                    </a:lnTo>
                    <a:lnTo>
                      <a:pt x="486" y="366"/>
                    </a:lnTo>
                    <a:lnTo>
                      <a:pt x="486" y="372"/>
                    </a:lnTo>
                    <a:lnTo>
                      <a:pt x="486" y="378"/>
                    </a:lnTo>
                    <a:lnTo>
                      <a:pt x="486" y="384"/>
                    </a:lnTo>
                    <a:lnTo>
                      <a:pt x="492" y="384"/>
                    </a:lnTo>
                    <a:lnTo>
                      <a:pt x="492" y="390"/>
                    </a:lnTo>
                    <a:lnTo>
                      <a:pt x="486" y="390"/>
                    </a:lnTo>
                    <a:lnTo>
                      <a:pt x="486" y="384"/>
                    </a:lnTo>
                    <a:lnTo>
                      <a:pt x="486" y="378"/>
                    </a:lnTo>
                    <a:lnTo>
                      <a:pt x="486" y="384"/>
                    </a:lnTo>
                    <a:lnTo>
                      <a:pt x="486" y="390"/>
                    </a:lnTo>
                    <a:lnTo>
                      <a:pt x="492" y="390"/>
                    </a:lnTo>
                    <a:lnTo>
                      <a:pt x="492" y="396"/>
                    </a:lnTo>
                    <a:lnTo>
                      <a:pt x="492" y="402"/>
                    </a:lnTo>
                    <a:lnTo>
                      <a:pt x="492" y="408"/>
                    </a:lnTo>
                    <a:lnTo>
                      <a:pt x="486" y="414"/>
                    </a:lnTo>
                    <a:lnTo>
                      <a:pt x="492" y="414"/>
                    </a:lnTo>
                    <a:lnTo>
                      <a:pt x="486" y="414"/>
                    </a:lnTo>
                    <a:lnTo>
                      <a:pt x="486" y="420"/>
                    </a:lnTo>
                    <a:lnTo>
                      <a:pt x="486" y="426"/>
                    </a:lnTo>
                    <a:lnTo>
                      <a:pt x="480" y="426"/>
                    </a:lnTo>
                    <a:lnTo>
                      <a:pt x="480" y="432"/>
                    </a:lnTo>
                    <a:lnTo>
                      <a:pt x="474" y="438"/>
                    </a:lnTo>
                    <a:lnTo>
                      <a:pt x="474" y="444"/>
                    </a:lnTo>
                    <a:lnTo>
                      <a:pt x="468" y="444"/>
                    </a:lnTo>
                    <a:lnTo>
                      <a:pt x="468" y="450"/>
                    </a:lnTo>
                    <a:lnTo>
                      <a:pt x="468" y="456"/>
                    </a:lnTo>
                    <a:lnTo>
                      <a:pt x="468" y="462"/>
                    </a:lnTo>
                    <a:lnTo>
                      <a:pt x="462" y="462"/>
                    </a:lnTo>
                    <a:lnTo>
                      <a:pt x="456" y="462"/>
                    </a:lnTo>
                    <a:lnTo>
                      <a:pt x="456" y="468"/>
                    </a:lnTo>
                    <a:lnTo>
                      <a:pt x="456" y="462"/>
                    </a:lnTo>
                    <a:lnTo>
                      <a:pt x="456" y="468"/>
                    </a:lnTo>
                    <a:lnTo>
                      <a:pt x="450" y="468"/>
                    </a:lnTo>
                    <a:lnTo>
                      <a:pt x="444" y="468"/>
                    </a:lnTo>
                    <a:lnTo>
                      <a:pt x="444" y="474"/>
                    </a:lnTo>
                    <a:lnTo>
                      <a:pt x="438" y="474"/>
                    </a:lnTo>
                    <a:lnTo>
                      <a:pt x="432" y="474"/>
                    </a:lnTo>
                    <a:lnTo>
                      <a:pt x="432" y="480"/>
                    </a:lnTo>
                    <a:lnTo>
                      <a:pt x="432" y="474"/>
                    </a:lnTo>
                    <a:lnTo>
                      <a:pt x="426" y="474"/>
                    </a:lnTo>
                    <a:lnTo>
                      <a:pt x="432" y="474"/>
                    </a:lnTo>
                    <a:lnTo>
                      <a:pt x="432" y="480"/>
                    </a:lnTo>
                    <a:lnTo>
                      <a:pt x="426" y="480"/>
                    </a:lnTo>
                    <a:lnTo>
                      <a:pt x="420" y="480"/>
                    </a:lnTo>
                    <a:lnTo>
                      <a:pt x="420" y="486"/>
                    </a:lnTo>
                    <a:lnTo>
                      <a:pt x="420" y="480"/>
                    </a:lnTo>
                    <a:lnTo>
                      <a:pt x="414" y="480"/>
                    </a:lnTo>
                    <a:lnTo>
                      <a:pt x="414" y="486"/>
                    </a:lnTo>
                    <a:lnTo>
                      <a:pt x="408" y="486"/>
                    </a:lnTo>
                    <a:lnTo>
                      <a:pt x="408" y="492"/>
                    </a:lnTo>
                    <a:lnTo>
                      <a:pt x="408" y="486"/>
                    </a:lnTo>
                    <a:lnTo>
                      <a:pt x="402" y="486"/>
                    </a:lnTo>
                    <a:lnTo>
                      <a:pt x="402" y="492"/>
                    </a:lnTo>
                    <a:lnTo>
                      <a:pt x="402" y="486"/>
                    </a:lnTo>
                    <a:lnTo>
                      <a:pt x="408" y="486"/>
                    </a:lnTo>
                    <a:lnTo>
                      <a:pt x="402" y="486"/>
                    </a:lnTo>
                    <a:lnTo>
                      <a:pt x="402" y="492"/>
                    </a:lnTo>
                    <a:lnTo>
                      <a:pt x="396" y="492"/>
                    </a:lnTo>
                    <a:lnTo>
                      <a:pt x="396" y="498"/>
                    </a:lnTo>
                    <a:lnTo>
                      <a:pt x="390" y="498"/>
                    </a:lnTo>
                    <a:lnTo>
                      <a:pt x="384" y="498"/>
                    </a:lnTo>
                    <a:lnTo>
                      <a:pt x="384" y="504"/>
                    </a:lnTo>
                    <a:lnTo>
                      <a:pt x="384" y="498"/>
                    </a:lnTo>
                    <a:lnTo>
                      <a:pt x="384" y="504"/>
                    </a:lnTo>
                    <a:lnTo>
                      <a:pt x="378" y="504"/>
                    </a:lnTo>
                    <a:lnTo>
                      <a:pt x="372" y="504"/>
                    </a:lnTo>
                    <a:lnTo>
                      <a:pt x="366" y="504"/>
                    </a:lnTo>
                    <a:lnTo>
                      <a:pt x="366" y="510"/>
                    </a:lnTo>
                    <a:lnTo>
                      <a:pt x="360" y="510"/>
                    </a:lnTo>
                    <a:lnTo>
                      <a:pt x="354" y="510"/>
                    </a:lnTo>
                    <a:lnTo>
                      <a:pt x="354" y="516"/>
                    </a:lnTo>
                    <a:lnTo>
                      <a:pt x="348" y="516"/>
                    </a:lnTo>
                    <a:lnTo>
                      <a:pt x="342" y="516"/>
                    </a:lnTo>
                    <a:lnTo>
                      <a:pt x="336" y="516"/>
                    </a:lnTo>
                    <a:lnTo>
                      <a:pt x="330" y="516"/>
                    </a:lnTo>
                    <a:lnTo>
                      <a:pt x="324" y="516"/>
                    </a:lnTo>
                    <a:lnTo>
                      <a:pt x="324" y="522"/>
                    </a:lnTo>
                    <a:lnTo>
                      <a:pt x="318" y="522"/>
                    </a:lnTo>
                    <a:lnTo>
                      <a:pt x="312" y="522"/>
                    </a:lnTo>
                    <a:lnTo>
                      <a:pt x="312" y="516"/>
                    </a:lnTo>
                    <a:lnTo>
                      <a:pt x="306" y="516"/>
                    </a:lnTo>
                    <a:lnTo>
                      <a:pt x="300" y="516"/>
                    </a:lnTo>
                    <a:lnTo>
                      <a:pt x="300" y="510"/>
                    </a:lnTo>
                    <a:lnTo>
                      <a:pt x="300" y="516"/>
                    </a:lnTo>
                    <a:lnTo>
                      <a:pt x="294" y="516"/>
                    </a:lnTo>
                    <a:lnTo>
                      <a:pt x="294" y="510"/>
                    </a:lnTo>
                    <a:lnTo>
                      <a:pt x="288" y="510"/>
                    </a:lnTo>
                    <a:lnTo>
                      <a:pt x="282" y="510"/>
                    </a:lnTo>
                    <a:lnTo>
                      <a:pt x="282" y="504"/>
                    </a:lnTo>
                    <a:lnTo>
                      <a:pt x="276" y="504"/>
                    </a:lnTo>
                    <a:lnTo>
                      <a:pt x="270" y="504"/>
                    </a:lnTo>
                    <a:lnTo>
                      <a:pt x="270" y="498"/>
                    </a:lnTo>
                    <a:lnTo>
                      <a:pt x="264" y="498"/>
                    </a:lnTo>
                    <a:lnTo>
                      <a:pt x="264" y="492"/>
                    </a:lnTo>
                    <a:lnTo>
                      <a:pt x="258" y="492"/>
                    </a:lnTo>
                    <a:lnTo>
                      <a:pt x="252" y="492"/>
                    </a:lnTo>
                    <a:lnTo>
                      <a:pt x="252" y="486"/>
                    </a:lnTo>
                    <a:lnTo>
                      <a:pt x="246" y="486"/>
                    </a:lnTo>
                    <a:lnTo>
                      <a:pt x="246" y="480"/>
                    </a:lnTo>
                    <a:lnTo>
                      <a:pt x="240" y="480"/>
                    </a:lnTo>
                    <a:lnTo>
                      <a:pt x="240" y="474"/>
                    </a:lnTo>
                    <a:lnTo>
                      <a:pt x="234" y="474"/>
                    </a:lnTo>
                    <a:lnTo>
                      <a:pt x="234" y="468"/>
                    </a:lnTo>
                    <a:lnTo>
                      <a:pt x="228" y="468"/>
                    </a:lnTo>
                    <a:lnTo>
                      <a:pt x="228" y="462"/>
                    </a:lnTo>
                    <a:lnTo>
                      <a:pt x="222" y="462"/>
                    </a:lnTo>
                    <a:lnTo>
                      <a:pt x="222" y="456"/>
                    </a:lnTo>
                    <a:lnTo>
                      <a:pt x="216" y="456"/>
                    </a:lnTo>
                    <a:lnTo>
                      <a:pt x="216" y="450"/>
                    </a:lnTo>
                    <a:lnTo>
                      <a:pt x="210" y="450"/>
                    </a:lnTo>
                    <a:lnTo>
                      <a:pt x="210" y="444"/>
                    </a:lnTo>
                    <a:lnTo>
                      <a:pt x="204" y="444"/>
                    </a:lnTo>
                    <a:lnTo>
                      <a:pt x="204" y="438"/>
                    </a:lnTo>
                    <a:lnTo>
                      <a:pt x="198" y="432"/>
                    </a:lnTo>
                    <a:lnTo>
                      <a:pt x="192" y="426"/>
                    </a:lnTo>
                    <a:lnTo>
                      <a:pt x="192" y="420"/>
                    </a:lnTo>
                    <a:lnTo>
                      <a:pt x="186" y="420"/>
                    </a:lnTo>
                    <a:lnTo>
                      <a:pt x="186" y="414"/>
                    </a:lnTo>
                    <a:lnTo>
                      <a:pt x="180" y="414"/>
                    </a:lnTo>
                    <a:lnTo>
                      <a:pt x="180" y="408"/>
                    </a:lnTo>
                    <a:lnTo>
                      <a:pt x="174" y="408"/>
                    </a:lnTo>
                    <a:lnTo>
                      <a:pt x="174" y="402"/>
                    </a:lnTo>
                    <a:lnTo>
                      <a:pt x="168" y="402"/>
                    </a:lnTo>
                    <a:lnTo>
                      <a:pt x="168" y="396"/>
                    </a:lnTo>
                    <a:lnTo>
                      <a:pt x="162" y="396"/>
                    </a:lnTo>
                    <a:lnTo>
                      <a:pt x="162" y="390"/>
                    </a:lnTo>
                    <a:lnTo>
                      <a:pt x="156" y="390"/>
                    </a:lnTo>
                    <a:lnTo>
                      <a:pt x="156" y="384"/>
                    </a:lnTo>
                    <a:lnTo>
                      <a:pt x="150" y="384"/>
                    </a:lnTo>
                    <a:lnTo>
                      <a:pt x="150" y="378"/>
                    </a:lnTo>
                    <a:lnTo>
                      <a:pt x="144" y="378"/>
                    </a:lnTo>
                    <a:lnTo>
                      <a:pt x="138" y="372"/>
                    </a:lnTo>
                    <a:lnTo>
                      <a:pt x="132" y="372"/>
                    </a:lnTo>
                    <a:lnTo>
                      <a:pt x="132" y="366"/>
                    </a:lnTo>
                    <a:lnTo>
                      <a:pt x="126" y="366"/>
                    </a:lnTo>
                    <a:lnTo>
                      <a:pt x="126" y="360"/>
                    </a:lnTo>
                    <a:lnTo>
                      <a:pt x="120" y="354"/>
                    </a:lnTo>
                    <a:lnTo>
                      <a:pt x="120" y="348"/>
                    </a:lnTo>
                    <a:lnTo>
                      <a:pt x="114" y="348"/>
                    </a:lnTo>
                    <a:lnTo>
                      <a:pt x="114" y="342"/>
                    </a:lnTo>
                    <a:lnTo>
                      <a:pt x="108" y="342"/>
                    </a:lnTo>
                    <a:lnTo>
                      <a:pt x="108" y="336"/>
                    </a:lnTo>
                    <a:lnTo>
                      <a:pt x="102" y="336"/>
                    </a:lnTo>
                    <a:lnTo>
                      <a:pt x="102" y="330"/>
                    </a:lnTo>
                    <a:lnTo>
                      <a:pt x="96" y="330"/>
                    </a:lnTo>
                    <a:lnTo>
                      <a:pt x="96" y="324"/>
                    </a:lnTo>
                    <a:lnTo>
                      <a:pt x="96" y="318"/>
                    </a:lnTo>
                    <a:lnTo>
                      <a:pt x="90" y="318"/>
                    </a:lnTo>
                    <a:lnTo>
                      <a:pt x="90" y="312"/>
                    </a:lnTo>
                    <a:lnTo>
                      <a:pt x="96" y="312"/>
                    </a:lnTo>
                    <a:lnTo>
                      <a:pt x="96" y="306"/>
                    </a:lnTo>
                    <a:lnTo>
                      <a:pt x="96" y="300"/>
                    </a:lnTo>
                    <a:lnTo>
                      <a:pt x="102" y="300"/>
                    </a:lnTo>
                    <a:lnTo>
                      <a:pt x="102" y="294"/>
                    </a:lnTo>
                    <a:lnTo>
                      <a:pt x="108" y="294"/>
                    </a:lnTo>
                    <a:lnTo>
                      <a:pt x="108" y="300"/>
                    </a:lnTo>
                    <a:lnTo>
                      <a:pt x="102" y="300"/>
                    </a:lnTo>
                    <a:lnTo>
                      <a:pt x="108" y="300"/>
                    </a:lnTo>
                    <a:lnTo>
                      <a:pt x="108" y="306"/>
                    </a:lnTo>
                    <a:lnTo>
                      <a:pt x="108" y="300"/>
                    </a:lnTo>
                    <a:lnTo>
                      <a:pt x="114" y="300"/>
                    </a:lnTo>
                    <a:lnTo>
                      <a:pt x="120" y="300"/>
                    </a:lnTo>
                    <a:lnTo>
                      <a:pt x="126" y="300"/>
                    </a:lnTo>
                    <a:lnTo>
                      <a:pt x="120" y="300"/>
                    </a:lnTo>
                    <a:lnTo>
                      <a:pt x="120" y="306"/>
                    </a:lnTo>
                    <a:lnTo>
                      <a:pt x="126" y="306"/>
                    </a:lnTo>
                    <a:lnTo>
                      <a:pt x="120" y="306"/>
                    </a:lnTo>
                    <a:lnTo>
                      <a:pt x="120" y="312"/>
                    </a:lnTo>
                    <a:lnTo>
                      <a:pt x="120" y="318"/>
                    </a:lnTo>
                    <a:lnTo>
                      <a:pt x="126" y="318"/>
                    </a:lnTo>
                    <a:lnTo>
                      <a:pt x="126" y="324"/>
                    </a:lnTo>
                    <a:lnTo>
                      <a:pt x="126" y="318"/>
                    </a:lnTo>
                    <a:lnTo>
                      <a:pt x="132" y="318"/>
                    </a:lnTo>
                    <a:lnTo>
                      <a:pt x="138" y="318"/>
                    </a:lnTo>
                    <a:lnTo>
                      <a:pt x="138" y="312"/>
                    </a:lnTo>
                    <a:lnTo>
                      <a:pt x="144" y="312"/>
                    </a:lnTo>
                    <a:lnTo>
                      <a:pt x="150" y="312"/>
                    </a:lnTo>
                    <a:lnTo>
                      <a:pt x="156" y="312"/>
                    </a:lnTo>
                    <a:lnTo>
                      <a:pt x="156" y="306"/>
                    </a:lnTo>
                    <a:lnTo>
                      <a:pt x="162" y="306"/>
                    </a:lnTo>
                    <a:lnTo>
                      <a:pt x="162" y="300"/>
                    </a:lnTo>
                    <a:lnTo>
                      <a:pt x="156" y="300"/>
                    </a:lnTo>
                    <a:lnTo>
                      <a:pt x="162" y="300"/>
                    </a:lnTo>
                    <a:lnTo>
                      <a:pt x="168" y="300"/>
                    </a:lnTo>
                    <a:lnTo>
                      <a:pt x="168" y="306"/>
                    </a:lnTo>
                    <a:lnTo>
                      <a:pt x="162" y="306"/>
                    </a:lnTo>
                    <a:lnTo>
                      <a:pt x="168" y="306"/>
                    </a:lnTo>
                    <a:lnTo>
                      <a:pt x="162" y="306"/>
                    </a:lnTo>
                    <a:lnTo>
                      <a:pt x="168" y="306"/>
                    </a:lnTo>
                    <a:lnTo>
                      <a:pt x="168" y="312"/>
                    </a:lnTo>
                    <a:lnTo>
                      <a:pt x="168" y="306"/>
                    </a:lnTo>
                    <a:lnTo>
                      <a:pt x="168" y="312"/>
                    </a:lnTo>
                    <a:lnTo>
                      <a:pt x="174" y="312"/>
                    </a:lnTo>
                    <a:lnTo>
                      <a:pt x="174" y="306"/>
                    </a:lnTo>
                    <a:lnTo>
                      <a:pt x="180" y="306"/>
                    </a:lnTo>
                    <a:lnTo>
                      <a:pt x="180" y="300"/>
                    </a:lnTo>
                    <a:lnTo>
                      <a:pt x="186" y="300"/>
                    </a:lnTo>
                    <a:lnTo>
                      <a:pt x="180" y="300"/>
                    </a:lnTo>
                    <a:lnTo>
                      <a:pt x="180" y="294"/>
                    </a:lnTo>
                    <a:lnTo>
                      <a:pt x="186" y="294"/>
                    </a:lnTo>
                    <a:lnTo>
                      <a:pt x="186" y="300"/>
                    </a:lnTo>
                    <a:lnTo>
                      <a:pt x="192" y="300"/>
                    </a:lnTo>
                    <a:lnTo>
                      <a:pt x="198" y="300"/>
                    </a:lnTo>
                    <a:lnTo>
                      <a:pt x="198" y="294"/>
                    </a:lnTo>
                    <a:lnTo>
                      <a:pt x="204" y="294"/>
                    </a:lnTo>
                    <a:lnTo>
                      <a:pt x="210" y="294"/>
                    </a:lnTo>
                    <a:lnTo>
                      <a:pt x="210" y="288"/>
                    </a:lnTo>
                    <a:lnTo>
                      <a:pt x="216" y="288"/>
                    </a:lnTo>
                    <a:lnTo>
                      <a:pt x="210" y="288"/>
                    </a:lnTo>
                    <a:lnTo>
                      <a:pt x="216" y="288"/>
                    </a:lnTo>
                    <a:lnTo>
                      <a:pt x="216" y="282"/>
                    </a:lnTo>
                    <a:lnTo>
                      <a:pt x="222" y="282"/>
                    </a:lnTo>
                    <a:lnTo>
                      <a:pt x="228" y="282"/>
                    </a:lnTo>
                    <a:lnTo>
                      <a:pt x="234" y="282"/>
                    </a:lnTo>
                    <a:lnTo>
                      <a:pt x="240" y="282"/>
                    </a:lnTo>
                    <a:lnTo>
                      <a:pt x="240" y="276"/>
                    </a:lnTo>
                    <a:lnTo>
                      <a:pt x="246" y="276"/>
                    </a:lnTo>
                    <a:lnTo>
                      <a:pt x="246" y="270"/>
                    </a:lnTo>
                    <a:lnTo>
                      <a:pt x="246" y="264"/>
                    </a:lnTo>
                    <a:lnTo>
                      <a:pt x="246" y="258"/>
                    </a:lnTo>
                    <a:lnTo>
                      <a:pt x="252" y="258"/>
                    </a:lnTo>
                    <a:lnTo>
                      <a:pt x="252" y="252"/>
                    </a:lnTo>
                    <a:lnTo>
                      <a:pt x="258" y="252"/>
                    </a:lnTo>
                    <a:lnTo>
                      <a:pt x="258" y="246"/>
                    </a:lnTo>
                    <a:lnTo>
                      <a:pt x="258" y="240"/>
                    </a:lnTo>
                    <a:lnTo>
                      <a:pt x="264" y="240"/>
                    </a:lnTo>
                    <a:lnTo>
                      <a:pt x="264" y="234"/>
                    </a:lnTo>
                    <a:lnTo>
                      <a:pt x="270" y="234"/>
                    </a:lnTo>
                    <a:lnTo>
                      <a:pt x="270" y="228"/>
                    </a:lnTo>
                    <a:lnTo>
                      <a:pt x="276" y="228"/>
                    </a:lnTo>
                    <a:lnTo>
                      <a:pt x="270" y="228"/>
                    </a:lnTo>
                    <a:lnTo>
                      <a:pt x="276" y="228"/>
                    </a:lnTo>
                    <a:lnTo>
                      <a:pt x="270" y="228"/>
                    </a:lnTo>
                    <a:lnTo>
                      <a:pt x="276" y="228"/>
                    </a:lnTo>
                    <a:lnTo>
                      <a:pt x="270" y="228"/>
                    </a:lnTo>
                    <a:lnTo>
                      <a:pt x="276" y="228"/>
                    </a:lnTo>
                    <a:lnTo>
                      <a:pt x="276" y="222"/>
                    </a:lnTo>
                    <a:lnTo>
                      <a:pt x="276" y="216"/>
                    </a:lnTo>
                    <a:lnTo>
                      <a:pt x="276" y="222"/>
                    </a:lnTo>
                    <a:lnTo>
                      <a:pt x="270" y="222"/>
                    </a:lnTo>
                    <a:lnTo>
                      <a:pt x="270" y="228"/>
                    </a:lnTo>
                    <a:lnTo>
                      <a:pt x="270" y="222"/>
                    </a:lnTo>
                    <a:lnTo>
                      <a:pt x="264" y="222"/>
                    </a:lnTo>
                    <a:lnTo>
                      <a:pt x="264" y="228"/>
                    </a:lnTo>
                    <a:lnTo>
                      <a:pt x="264" y="234"/>
                    </a:lnTo>
                    <a:lnTo>
                      <a:pt x="258" y="234"/>
                    </a:lnTo>
                    <a:lnTo>
                      <a:pt x="252" y="234"/>
                    </a:lnTo>
                    <a:lnTo>
                      <a:pt x="252" y="228"/>
                    </a:lnTo>
                    <a:lnTo>
                      <a:pt x="246" y="228"/>
                    </a:lnTo>
                    <a:lnTo>
                      <a:pt x="246" y="222"/>
                    </a:lnTo>
                    <a:lnTo>
                      <a:pt x="246" y="228"/>
                    </a:lnTo>
                    <a:lnTo>
                      <a:pt x="240" y="228"/>
                    </a:lnTo>
                    <a:lnTo>
                      <a:pt x="246" y="228"/>
                    </a:lnTo>
                    <a:lnTo>
                      <a:pt x="246" y="234"/>
                    </a:lnTo>
                    <a:lnTo>
                      <a:pt x="240" y="234"/>
                    </a:lnTo>
                    <a:lnTo>
                      <a:pt x="234" y="234"/>
                    </a:lnTo>
                    <a:lnTo>
                      <a:pt x="234" y="228"/>
                    </a:lnTo>
                    <a:lnTo>
                      <a:pt x="234" y="234"/>
                    </a:lnTo>
                    <a:lnTo>
                      <a:pt x="228" y="240"/>
                    </a:lnTo>
                    <a:lnTo>
                      <a:pt x="228" y="234"/>
                    </a:lnTo>
                    <a:lnTo>
                      <a:pt x="228" y="240"/>
                    </a:lnTo>
                    <a:lnTo>
                      <a:pt x="222" y="240"/>
                    </a:lnTo>
                    <a:lnTo>
                      <a:pt x="216" y="240"/>
                    </a:lnTo>
                    <a:lnTo>
                      <a:pt x="210" y="240"/>
                    </a:lnTo>
                    <a:lnTo>
                      <a:pt x="204" y="240"/>
                    </a:lnTo>
                    <a:lnTo>
                      <a:pt x="198" y="240"/>
                    </a:lnTo>
                    <a:lnTo>
                      <a:pt x="198" y="246"/>
                    </a:lnTo>
                    <a:lnTo>
                      <a:pt x="192" y="246"/>
                    </a:lnTo>
                    <a:lnTo>
                      <a:pt x="192" y="252"/>
                    </a:lnTo>
                    <a:lnTo>
                      <a:pt x="186" y="252"/>
                    </a:lnTo>
                    <a:lnTo>
                      <a:pt x="186" y="258"/>
                    </a:lnTo>
                    <a:lnTo>
                      <a:pt x="180" y="258"/>
                    </a:lnTo>
                    <a:lnTo>
                      <a:pt x="180" y="252"/>
                    </a:lnTo>
                    <a:lnTo>
                      <a:pt x="180" y="258"/>
                    </a:lnTo>
                    <a:lnTo>
                      <a:pt x="174" y="258"/>
                    </a:lnTo>
                    <a:lnTo>
                      <a:pt x="174" y="252"/>
                    </a:lnTo>
                    <a:lnTo>
                      <a:pt x="174" y="258"/>
                    </a:lnTo>
                    <a:lnTo>
                      <a:pt x="168" y="258"/>
                    </a:lnTo>
                    <a:lnTo>
                      <a:pt x="168" y="252"/>
                    </a:lnTo>
                    <a:lnTo>
                      <a:pt x="162" y="252"/>
                    </a:lnTo>
                    <a:lnTo>
                      <a:pt x="168" y="252"/>
                    </a:lnTo>
                    <a:lnTo>
                      <a:pt x="162" y="252"/>
                    </a:lnTo>
                    <a:lnTo>
                      <a:pt x="156" y="252"/>
                    </a:lnTo>
                    <a:lnTo>
                      <a:pt x="150" y="252"/>
                    </a:lnTo>
                    <a:lnTo>
                      <a:pt x="144" y="252"/>
                    </a:lnTo>
                    <a:lnTo>
                      <a:pt x="144" y="246"/>
                    </a:lnTo>
                    <a:lnTo>
                      <a:pt x="138" y="246"/>
                    </a:lnTo>
                    <a:lnTo>
                      <a:pt x="132" y="246"/>
                    </a:lnTo>
                    <a:lnTo>
                      <a:pt x="126" y="246"/>
                    </a:lnTo>
                    <a:lnTo>
                      <a:pt x="120" y="246"/>
                    </a:lnTo>
                    <a:lnTo>
                      <a:pt x="120" y="240"/>
                    </a:lnTo>
                    <a:lnTo>
                      <a:pt x="114" y="240"/>
                    </a:lnTo>
                    <a:lnTo>
                      <a:pt x="108" y="240"/>
                    </a:lnTo>
                    <a:lnTo>
                      <a:pt x="108" y="234"/>
                    </a:lnTo>
                    <a:lnTo>
                      <a:pt x="102" y="234"/>
                    </a:lnTo>
                    <a:lnTo>
                      <a:pt x="96" y="234"/>
                    </a:lnTo>
                    <a:lnTo>
                      <a:pt x="96" y="228"/>
                    </a:lnTo>
                    <a:lnTo>
                      <a:pt x="90" y="228"/>
                    </a:lnTo>
                    <a:lnTo>
                      <a:pt x="90" y="222"/>
                    </a:lnTo>
                    <a:lnTo>
                      <a:pt x="84" y="222"/>
                    </a:lnTo>
                    <a:lnTo>
                      <a:pt x="78" y="222"/>
                    </a:lnTo>
                    <a:lnTo>
                      <a:pt x="78" y="216"/>
                    </a:lnTo>
                    <a:lnTo>
                      <a:pt x="72" y="216"/>
                    </a:lnTo>
                    <a:lnTo>
                      <a:pt x="66" y="216"/>
                    </a:lnTo>
                    <a:lnTo>
                      <a:pt x="66" y="210"/>
                    </a:lnTo>
                    <a:lnTo>
                      <a:pt x="60" y="210"/>
                    </a:lnTo>
                    <a:lnTo>
                      <a:pt x="60" y="204"/>
                    </a:lnTo>
                    <a:lnTo>
                      <a:pt x="54" y="204"/>
                    </a:lnTo>
                    <a:lnTo>
                      <a:pt x="60" y="204"/>
                    </a:lnTo>
                    <a:lnTo>
                      <a:pt x="60" y="210"/>
                    </a:lnTo>
                    <a:lnTo>
                      <a:pt x="60" y="204"/>
                    </a:lnTo>
                    <a:lnTo>
                      <a:pt x="54" y="204"/>
                    </a:lnTo>
                    <a:lnTo>
                      <a:pt x="54" y="198"/>
                    </a:lnTo>
                    <a:lnTo>
                      <a:pt x="48" y="198"/>
                    </a:lnTo>
                    <a:lnTo>
                      <a:pt x="48" y="192"/>
                    </a:lnTo>
                    <a:lnTo>
                      <a:pt x="54" y="192"/>
                    </a:lnTo>
                    <a:lnTo>
                      <a:pt x="54" y="198"/>
                    </a:lnTo>
                    <a:lnTo>
                      <a:pt x="54" y="192"/>
                    </a:lnTo>
                    <a:lnTo>
                      <a:pt x="60" y="192"/>
                    </a:lnTo>
                    <a:lnTo>
                      <a:pt x="54" y="192"/>
                    </a:lnTo>
                    <a:lnTo>
                      <a:pt x="54" y="186"/>
                    </a:lnTo>
                    <a:lnTo>
                      <a:pt x="60" y="186"/>
                    </a:lnTo>
                    <a:lnTo>
                      <a:pt x="54" y="186"/>
                    </a:lnTo>
                    <a:lnTo>
                      <a:pt x="54" y="192"/>
                    </a:lnTo>
                    <a:lnTo>
                      <a:pt x="48" y="192"/>
                    </a:lnTo>
                    <a:lnTo>
                      <a:pt x="42" y="192"/>
                    </a:lnTo>
                    <a:lnTo>
                      <a:pt x="42" y="186"/>
                    </a:lnTo>
                    <a:lnTo>
                      <a:pt x="48" y="186"/>
                    </a:lnTo>
                    <a:lnTo>
                      <a:pt x="42" y="186"/>
                    </a:lnTo>
                    <a:lnTo>
                      <a:pt x="48" y="186"/>
                    </a:lnTo>
                    <a:lnTo>
                      <a:pt x="54" y="186"/>
                    </a:lnTo>
                    <a:lnTo>
                      <a:pt x="54" y="180"/>
                    </a:lnTo>
                    <a:lnTo>
                      <a:pt x="48" y="180"/>
                    </a:lnTo>
                    <a:lnTo>
                      <a:pt x="48" y="174"/>
                    </a:lnTo>
                    <a:lnTo>
                      <a:pt x="48" y="180"/>
                    </a:lnTo>
                    <a:lnTo>
                      <a:pt x="48" y="174"/>
                    </a:lnTo>
                    <a:lnTo>
                      <a:pt x="42" y="174"/>
                    </a:lnTo>
                    <a:lnTo>
                      <a:pt x="42" y="180"/>
                    </a:lnTo>
                    <a:lnTo>
                      <a:pt x="42" y="174"/>
                    </a:lnTo>
                    <a:lnTo>
                      <a:pt x="42" y="168"/>
                    </a:lnTo>
                    <a:lnTo>
                      <a:pt x="36" y="168"/>
                    </a:lnTo>
                    <a:lnTo>
                      <a:pt x="42" y="168"/>
                    </a:lnTo>
                    <a:lnTo>
                      <a:pt x="36" y="168"/>
                    </a:lnTo>
                    <a:lnTo>
                      <a:pt x="36" y="174"/>
                    </a:lnTo>
                    <a:lnTo>
                      <a:pt x="36" y="168"/>
                    </a:lnTo>
                    <a:lnTo>
                      <a:pt x="30" y="168"/>
                    </a:lnTo>
                    <a:lnTo>
                      <a:pt x="30" y="174"/>
                    </a:lnTo>
                    <a:lnTo>
                      <a:pt x="30" y="168"/>
                    </a:lnTo>
                    <a:lnTo>
                      <a:pt x="30" y="162"/>
                    </a:lnTo>
                    <a:lnTo>
                      <a:pt x="30" y="168"/>
                    </a:lnTo>
                    <a:lnTo>
                      <a:pt x="30" y="162"/>
                    </a:lnTo>
                    <a:lnTo>
                      <a:pt x="36" y="162"/>
                    </a:lnTo>
                    <a:lnTo>
                      <a:pt x="36" y="156"/>
                    </a:lnTo>
                    <a:lnTo>
                      <a:pt x="30" y="156"/>
                    </a:lnTo>
                    <a:lnTo>
                      <a:pt x="30" y="162"/>
                    </a:lnTo>
                    <a:lnTo>
                      <a:pt x="30" y="156"/>
                    </a:lnTo>
                    <a:lnTo>
                      <a:pt x="30" y="150"/>
                    </a:lnTo>
                    <a:lnTo>
                      <a:pt x="36" y="150"/>
                    </a:lnTo>
                    <a:lnTo>
                      <a:pt x="30" y="150"/>
                    </a:lnTo>
                    <a:lnTo>
                      <a:pt x="36" y="150"/>
                    </a:lnTo>
                    <a:lnTo>
                      <a:pt x="36" y="144"/>
                    </a:lnTo>
                    <a:lnTo>
                      <a:pt x="36" y="138"/>
                    </a:lnTo>
                    <a:lnTo>
                      <a:pt x="42" y="138"/>
                    </a:lnTo>
                    <a:lnTo>
                      <a:pt x="42" y="132"/>
                    </a:lnTo>
                    <a:lnTo>
                      <a:pt x="48" y="132"/>
                    </a:lnTo>
                    <a:lnTo>
                      <a:pt x="54" y="126"/>
                    </a:lnTo>
                    <a:lnTo>
                      <a:pt x="54" y="120"/>
                    </a:lnTo>
                    <a:lnTo>
                      <a:pt x="60" y="120"/>
                    </a:lnTo>
                    <a:lnTo>
                      <a:pt x="66" y="120"/>
                    </a:lnTo>
                    <a:lnTo>
                      <a:pt x="66" y="114"/>
                    </a:lnTo>
                    <a:lnTo>
                      <a:pt x="66" y="120"/>
                    </a:lnTo>
                    <a:lnTo>
                      <a:pt x="60" y="120"/>
                    </a:lnTo>
                    <a:lnTo>
                      <a:pt x="60" y="114"/>
                    </a:lnTo>
                    <a:lnTo>
                      <a:pt x="66" y="114"/>
                    </a:lnTo>
                    <a:lnTo>
                      <a:pt x="72" y="114"/>
                    </a:lnTo>
                    <a:lnTo>
                      <a:pt x="72" y="108"/>
                    </a:lnTo>
                    <a:lnTo>
                      <a:pt x="72" y="114"/>
                    </a:lnTo>
                    <a:lnTo>
                      <a:pt x="72" y="108"/>
                    </a:lnTo>
                    <a:lnTo>
                      <a:pt x="72" y="114"/>
                    </a:lnTo>
                    <a:lnTo>
                      <a:pt x="66" y="114"/>
                    </a:lnTo>
                    <a:lnTo>
                      <a:pt x="60" y="114"/>
                    </a:lnTo>
                    <a:lnTo>
                      <a:pt x="54" y="114"/>
                    </a:lnTo>
                    <a:lnTo>
                      <a:pt x="48" y="114"/>
                    </a:lnTo>
                    <a:lnTo>
                      <a:pt x="48" y="120"/>
                    </a:lnTo>
                    <a:lnTo>
                      <a:pt x="48" y="126"/>
                    </a:lnTo>
                    <a:lnTo>
                      <a:pt x="42" y="126"/>
                    </a:lnTo>
                    <a:lnTo>
                      <a:pt x="42" y="132"/>
                    </a:lnTo>
                    <a:lnTo>
                      <a:pt x="36" y="132"/>
                    </a:lnTo>
                    <a:lnTo>
                      <a:pt x="30" y="132"/>
                    </a:lnTo>
                    <a:lnTo>
                      <a:pt x="36" y="132"/>
                    </a:lnTo>
                    <a:lnTo>
                      <a:pt x="30" y="126"/>
                    </a:lnTo>
                    <a:lnTo>
                      <a:pt x="30" y="132"/>
                    </a:lnTo>
                    <a:lnTo>
                      <a:pt x="30" y="126"/>
                    </a:lnTo>
                    <a:lnTo>
                      <a:pt x="36" y="126"/>
                    </a:lnTo>
                    <a:lnTo>
                      <a:pt x="36" y="120"/>
                    </a:lnTo>
                    <a:lnTo>
                      <a:pt x="30" y="120"/>
                    </a:lnTo>
                    <a:lnTo>
                      <a:pt x="30" y="126"/>
                    </a:lnTo>
                    <a:lnTo>
                      <a:pt x="30" y="132"/>
                    </a:lnTo>
                    <a:lnTo>
                      <a:pt x="30" y="138"/>
                    </a:lnTo>
                    <a:lnTo>
                      <a:pt x="24" y="138"/>
                    </a:lnTo>
                    <a:lnTo>
                      <a:pt x="24" y="144"/>
                    </a:lnTo>
                    <a:lnTo>
                      <a:pt x="24" y="138"/>
                    </a:lnTo>
                    <a:lnTo>
                      <a:pt x="24" y="144"/>
                    </a:lnTo>
                    <a:lnTo>
                      <a:pt x="24" y="150"/>
                    </a:lnTo>
                    <a:lnTo>
                      <a:pt x="18" y="150"/>
                    </a:lnTo>
                    <a:lnTo>
                      <a:pt x="12" y="150"/>
                    </a:lnTo>
                    <a:lnTo>
                      <a:pt x="6" y="150"/>
                    </a:lnTo>
                    <a:lnTo>
                      <a:pt x="0" y="150"/>
                    </a:lnTo>
                    <a:lnTo>
                      <a:pt x="0" y="144"/>
                    </a:lnTo>
                    <a:lnTo>
                      <a:pt x="6" y="144"/>
                    </a:lnTo>
                    <a:lnTo>
                      <a:pt x="6" y="138"/>
                    </a:lnTo>
                    <a:lnTo>
                      <a:pt x="6" y="144"/>
                    </a:lnTo>
                    <a:lnTo>
                      <a:pt x="6" y="138"/>
                    </a:lnTo>
                    <a:lnTo>
                      <a:pt x="6" y="144"/>
                    </a:lnTo>
                    <a:lnTo>
                      <a:pt x="6" y="138"/>
                    </a:lnTo>
                    <a:lnTo>
                      <a:pt x="12" y="138"/>
                    </a:lnTo>
                    <a:lnTo>
                      <a:pt x="18" y="138"/>
                    </a:lnTo>
                    <a:lnTo>
                      <a:pt x="18" y="132"/>
                    </a:lnTo>
                    <a:lnTo>
                      <a:pt x="12" y="132"/>
                    </a:lnTo>
                    <a:lnTo>
                      <a:pt x="18" y="132"/>
                    </a:lnTo>
                    <a:lnTo>
                      <a:pt x="12" y="132"/>
                    </a:lnTo>
                    <a:lnTo>
                      <a:pt x="12" y="138"/>
                    </a:lnTo>
                    <a:lnTo>
                      <a:pt x="6" y="138"/>
                    </a:lnTo>
                    <a:lnTo>
                      <a:pt x="6" y="132"/>
                    </a:lnTo>
                    <a:lnTo>
                      <a:pt x="0" y="132"/>
                    </a:lnTo>
                    <a:lnTo>
                      <a:pt x="0" y="126"/>
                    </a:lnTo>
                    <a:lnTo>
                      <a:pt x="6" y="126"/>
                    </a:lnTo>
                    <a:lnTo>
                      <a:pt x="6" y="120"/>
                    </a:lnTo>
                    <a:lnTo>
                      <a:pt x="6" y="114"/>
                    </a:lnTo>
                    <a:lnTo>
                      <a:pt x="6" y="108"/>
                    </a:lnTo>
                    <a:lnTo>
                      <a:pt x="12" y="108"/>
                    </a:lnTo>
                    <a:lnTo>
                      <a:pt x="12" y="102"/>
                    </a:lnTo>
                    <a:lnTo>
                      <a:pt x="18" y="102"/>
                    </a:lnTo>
                    <a:lnTo>
                      <a:pt x="18" y="108"/>
                    </a:lnTo>
                    <a:lnTo>
                      <a:pt x="18" y="102"/>
                    </a:lnTo>
                    <a:lnTo>
                      <a:pt x="18" y="96"/>
                    </a:lnTo>
                    <a:lnTo>
                      <a:pt x="24" y="96"/>
                    </a:lnTo>
                    <a:lnTo>
                      <a:pt x="24" y="102"/>
                    </a:lnTo>
                    <a:lnTo>
                      <a:pt x="30" y="102"/>
                    </a:lnTo>
                    <a:lnTo>
                      <a:pt x="36" y="96"/>
                    </a:lnTo>
                    <a:lnTo>
                      <a:pt x="42" y="96"/>
                    </a:lnTo>
                    <a:lnTo>
                      <a:pt x="48" y="96"/>
                    </a:lnTo>
                    <a:lnTo>
                      <a:pt x="54" y="96"/>
                    </a:lnTo>
                    <a:lnTo>
                      <a:pt x="60" y="96"/>
                    </a:lnTo>
                    <a:lnTo>
                      <a:pt x="66" y="96"/>
                    </a:lnTo>
                    <a:lnTo>
                      <a:pt x="66" y="90"/>
                    </a:lnTo>
                    <a:lnTo>
                      <a:pt x="66" y="84"/>
                    </a:lnTo>
                    <a:lnTo>
                      <a:pt x="66" y="78"/>
                    </a:lnTo>
                    <a:lnTo>
                      <a:pt x="66" y="72"/>
                    </a:lnTo>
                    <a:lnTo>
                      <a:pt x="72" y="72"/>
                    </a:lnTo>
                    <a:lnTo>
                      <a:pt x="66" y="72"/>
                    </a:lnTo>
                    <a:lnTo>
                      <a:pt x="72" y="72"/>
                    </a:lnTo>
                    <a:lnTo>
                      <a:pt x="72" y="66"/>
                    </a:lnTo>
                    <a:lnTo>
                      <a:pt x="72" y="60"/>
                    </a:lnTo>
                    <a:lnTo>
                      <a:pt x="66" y="60"/>
                    </a:lnTo>
                    <a:lnTo>
                      <a:pt x="72" y="60"/>
                    </a:lnTo>
                    <a:lnTo>
                      <a:pt x="72" y="54"/>
                    </a:lnTo>
                    <a:lnTo>
                      <a:pt x="78" y="54"/>
                    </a:lnTo>
                    <a:lnTo>
                      <a:pt x="78" y="60"/>
                    </a:lnTo>
                    <a:lnTo>
                      <a:pt x="78" y="66"/>
                    </a:lnTo>
                    <a:lnTo>
                      <a:pt x="84" y="66"/>
                    </a:lnTo>
                    <a:lnTo>
                      <a:pt x="84" y="60"/>
                    </a:lnTo>
                    <a:lnTo>
                      <a:pt x="90" y="60"/>
                    </a:lnTo>
                    <a:lnTo>
                      <a:pt x="90" y="54"/>
                    </a:lnTo>
                    <a:lnTo>
                      <a:pt x="90" y="60"/>
                    </a:lnTo>
                    <a:lnTo>
                      <a:pt x="96" y="60"/>
                    </a:lnTo>
                    <a:lnTo>
                      <a:pt x="96" y="66"/>
                    </a:lnTo>
                    <a:lnTo>
                      <a:pt x="102" y="66"/>
                    </a:lnTo>
                    <a:lnTo>
                      <a:pt x="102" y="60"/>
                    </a:lnTo>
                    <a:lnTo>
                      <a:pt x="108" y="60"/>
                    </a:lnTo>
                    <a:lnTo>
                      <a:pt x="114" y="60"/>
                    </a:lnTo>
                    <a:lnTo>
                      <a:pt x="120" y="66"/>
                    </a:lnTo>
                    <a:lnTo>
                      <a:pt x="126" y="60"/>
                    </a:lnTo>
                    <a:lnTo>
                      <a:pt x="132" y="60"/>
                    </a:lnTo>
                    <a:lnTo>
                      <a:pt x="138" y="60"/>
                    </a:lnTo>
                    <a:lnTo>
                      <a:pt x="144" y="60"/>
                    </a:lnTo>
                    <a:lnTo>
                      <a:pt x="150" y="60"/>
                    </a:lnTo>
                    <a:lnTo>
                      <a:pt x="156" y="60"/>
                    </a:lnTo>
                    <a:lnTo>
                      <a:pt x="162" y="60"/>
                    </a:lnTo>
                    <a:lnTo>
                      <a:pt x="168" y="60"/>
                    </a:lnTo>
                    <a:lnTo>
                      <a:pt x="174" y="60"/>
                    </a:lnTo>
                    <a:lnTo>
                      <a:pt x="180" y="66"/>
                    </a:lnTo>
                    <a:lnTo>
                      <a:pt x="180" y="72"/>
                    </a:lnTo>
                    <a:lnTo>
                      <a:pt x="186" y="72"/>
                    </a:lnTo>
                    <a:lnTo>
                      <a:pt x="192" y="72"/>
                    </a:lnTo>
                    <a:lnTo>
                      <a:pt x="198" y="72"/>
                    </a:lnTo>
                    <a:lnTo>
                      <a:pt x="204" y="72"/>
                    </a:lnTo>
                    <a:lnTo>
                      <a:pt x="210" y="72"/>
                    </a:lnTo>
                    <a:lnTo>
                      <a:pt x="216" y="72"/>
                    </a:lnTo>
                    <a:lnTo>
                      <a:pt x="222" y="72"/>
                    </a:lnTo>
                    <a:lnTo>
                      <a:pt x="228" y="72"/>
                    </a:lnTo>
                    <a:lnTo>
                      <a:pt x="228" y="66"/>
                    </a:lnTo>
                    <a:lnTo>
                      <a:pt x="228" y="60"/>
                    </a:lnTo>
                    <a:lnTo>
                      <a:pt x="234" y="54"/>
                    </a:lnTo>
                    <a:lnTo>
                      <a:pt x="240" y="54"/>
                    </a:lnTo>
                    <a:lnTo>
                      <a:pt x="246" y="54"/>
                    </a:lnTo>
                    <a:lnTo>
                      <a:pt x="252" y="54"/>
                    </a:lnTo>
                    <a:lnTo>
                      <a:pt x="252" y="48"/>
                    </a:lnTo>
                    <a:lnTo>
                      <a:pt x="258" y="48"/>
                    </a:lnTo>
                    <a:lnTo>
                      <a:pt x="264" y="48"/>
                    </a:lnTo>
                    <a:lnTo>
                      <a:pt x="264" y="42"/>
                    </a:lnTo>
                    <a:lnTo>
                      <a:pt x="270" y="42"/>
                    </a:lnTo>
                    <a:lnTo>
                      <a:pt x="276" y="42"/>
                    </a:lnTo>
                    <a:lnTo>
                      <a:pt x="282" y="42"/>
                    </a:lnTo>
                    <a:lnTo>
                      <a:pt x="282" y="36"/>
                    </a:lnTo>
                    <a:lnTo>
                      <a:pt x="288" y="36"/>
                    </a:lnTo>
                    <a:lnTo>
                      <a:pt x="288" y="42"/>
                    </a:lnTo>
                    <a:lnTo>
                      <a:pt x="288" y="48"/>
                    </a:lnTo>
                    <a:lnTo>
                      <a:pt x="288" y="54"/>
                    </a:lnTo>
                    <a:lnTo>
                      <a:pt x="288" y="60"/>
                    </a:lnTo>
                    <a:lnTo>
                      <a:pt x="288" y="66"/>
                    </a:lnTo>
                    <a:lnTo>
                      <a:pt x="294" y="66"/>
                    </a:lnTo>
                    <a:lnTo>
                      <a:pt x="300" y="66"/>
                    </a:lnTo>
                    <a:lnTo>
                      <a:pt x="306" y="66"/>
                    </a:lnTo>
                    <a:lnTo>
                      <a:pt x="312" y="66"/>
                    </a:lnTo>
                    <a:lnTo>
                      <a:pt x="318" y="66"/>
                    </a:lnTo>
                    <a:lnTo>
                      <a:pt x="318" y="60"/>
                    </a:lnTo>
                    <a:lnTo>
                      <a:pt x="324" y="60"/>
                    </a:lnTo>
                    <a:lnTo>
                      <a:pt x="324" y="54"/>
                    </a:lnTo>
                    <a:lnTo>
                      <a:pt x="330" y="54"/>
                    </a:lnTo>
                    <a:lnTo>
                      <a:pt x="330" y="48"/>
                    </a:lnTo>
                    <a:lnTo>
                      <a:pt x="336" y="48"/>
                    </a:lnTo>
                    <a:lnTo>
                      <a:pt x="342" y="48"/>
                    </a:lnTo>
                    <a:lnTo>
                      <a:pt x="348" y="48"/>
                    </a:lnTo>
                    <a:lnTo>
                      <a:pt x="348" y="42"/>
                    </a:lnTo>
                    <a:lnTo>
                      <a:pt x="354" y="42"/>
                    </a:lnTo>
                    <a:lnTo>
                      <a:pt x="354" y="36"/>
                    </a:lnTo>
                    <a:lnTo>
                      <a:pt x="348" y="36"/>
                    </a:lnTo>
                    <a:lnTo>
                      <a:pt x="342" y="36"/>
                    </a:lnTo>
                    <a:lnTo>
                      <a:pt x="336" y="36"/>
                    </a:lnTo>
                    <a:lnTo>
                      <a:pt x="336" y="30"/>
                    </a:lnTo>
                    <a:lnTo>
                      <a:pt x="336" y="24"/>
                    </a:lnTo>
                    <a:lnTo>
                      <a:pt x="336" y="18"/>
                    </a:lnTo>
                    <a:lnTo>
                      <a:pt x="336" y="24"/>
                    </a:lnTo>
                    <a:lnTo>
                      <a:pt x="336" y="18"/>
                    </a:lnTo>
                    <a:lnTo>
                      <a:pt x="336" y="12"/>
                    </a:lnTo>
                    <a:lnTo>
                      <a:pt x="342" y="12"/>
                    </a:lnTo>
                    <a:lnTo>
                      <a:pt x="348" y="6"/>
                    </a:lnTo>
                    <a:lnTo>
                      <a:pt x="354" y="6"/>
                    </a:lnTo>
                    <a:lnTo>
                      <a:pt x="360" y="6"/>
                    </a:lnTo>
                    <a:lnTo>
                      <a:pt x="354" y="6"/>
                    </a:lnTo>
                    <a:lnTo>
                      <a:pt x="354" y="12"/>
                    </a:lnTo>
                    <a:lnTo>
                      <a:pt x="360" y="12"/>
                    </a:lnTo>
                    <a:lnTo>
                      <a:pt x="366" y="12"/>
                    </a:lnTo>
                    <a:lnTo>
                      <a:pt x="372" y="12"/>
                    </a:lnTo>
                    <a:lnTo>
                      <a:pt x="372" y="6"/>
                    </a:lnTo>
                    <a:lnTo>
                      <a:pt x="378" y="6"/>
                    </a:lnTo>
                    <a:lnTo>
                      <a:pt x="378" y="12"/>
                    </a:lnTo>
                    <a:lnTo>
                      <a:pt x="384" y="12"/>
                    </a:lnTo>
                    <a:lnTo>
                      <a:pt x="384" y="6"/>
                    </a:lnTo>
                    <a:lnTo>
                      <a:pt x="390" y="6"/>
                    </a:lnTo>
                    <a:lnTo>
                      <a:pt x="396" y="6"/>
                    </a:lnTo>
                    <a:lnTo>
                      <a:pt x="402" y="6"/>
                    </a:lnTo>
                    <a:lnTo>
                      <a:pt x="408" y="6"/>
                    </a:lnTo>
                    <a:lnTo>
                      <a:pt x="414" y="6"/>
                    </a:lnTo>
                    <a:lnTo>
                      <a:pt x="414" y="12"/>
                    </a:lnTo>
                    <a:lnTo>
                      <a:pt x="420" y="12"/>
                    </a:lnTo>
                    <a:lnTo>
                      <a:pt x="426" y="12"/>
                    </a:lnTo>
                    <a:lnTo>
                      <a:pt x="426" y="6"/>
                    </a:lnTo>
                    <a:lnTo>
                      <a:pt x="432" y="6"/>
                    </a:lnTo>
                    <a:lnTo>
                      <a:pt x="438" y="6"/>
                    </a:lnTo>
                    <a:lnTo>
                      <a:pt x="444" y="6"/>
                    </a:lnTo>
                    <a:lnTo>
                      <a:pt x="450" y="6"/>
                    </a:lnTo>
                    <a:lnTo>
                      <a:pt x="456" y="6"/>
                    </a:lnTo>
                    <a:lnTo>
                      <a:pt x="462" y="6"/>
                    </a:lnTo>
                    <a:lnTo>
                      <a:pt x="462" y="0"/>
                    </a:lnTo>
                    <a:lnTo>
                      <a:pt x="468" y="0"/>
                    </a:lnTo>
                    <a:lnTo>
                      <a:pt x="468" y="6"/>
                    </a:lnTo>
                    <a:lnTo>
                      <a:pt x="468" y="12"/>
                    </a:lnTo>
                    <a:lnTo>
                      <a:pt x="474" y="12"/>
                    </a:lnTo>
                    <a:lnTo>
                      <a:pt x="480" y="12"/>
                    </a:lnTo>
                    <a:lnTo>
                      <a:pt x="486" y="12"/>
                    </a:lnTo>
                    <a:lnTo>
                      <a:pt x="492" y="12"/>
                    </a:lnTo>
                    <a:lnTo>
                      <a:pt x="498" y="12"/>
                    </a:lnTo>
                    <a:lnTo>
                      <a:pt x="498" y="18"/>
                    </a:lnTo>
                    <a:lnTo>
                      <a:pt x="492" y="18"/>
                    </a:lnTo>
                    <a:lnTo>
                      <a:pt x="486" y="18"/>
                    </a:lnTo>
                    <a:lnTo>
                      <a:pt x="486" y="24"/>
                    </a:lnTo>
                    <a:lnTo>
                      <a:pt x="492" y="24"/>
                    </a:lnTo>
                    <a:lnTo>
                      <a:pt x="498" y="24"/>
                    </a:lnTo>
                    <a:lnTo>
                      <a:pt x="498" y="18"/>
                    </a:lnTo>
                    <a:lnTo>
                      <a:pt x="498" y="24"/>
                    </a:lnTo>
                    <a:lnTo>
                      <a:pt x="504" y="24"/>
                    </a:lnTo>
                    <a:lnTo>
                      <a:pt x="504" y="30"/>
                    </a:lnTo>
                    <a:lnTo>
                      <a:pt x="510" y="24"/>
                    </a:lnTo>
                    <a:lnTo>
                      <a:pt x="510" y="30"/>
                    </a:lnTo>
                    <a:lnTo>
                      <a:pt x="510" y="24"/>
                    </a:lnTo>
                    <a:lnTo>
                      <a:pt x="510" y="30"/>
                    </a:lnTo>
                    <a:lnTo>
                      <a:pt x="510" y="36"/>
                    </a:lnTo>
                    <a:lnTo>
                      <a:pt x="510" y="42"/>
                    </a:lnTo>
                    <a:lnTo>
                      <a:pt x="516" y="42"/>
                    </a:lnTo>
                    <a:lnTo>
                      <a:pt x="516" y="36"/>
                    </a:lnTo>
                    <a:lnTo>
                      <a:pt x="516" y="30"/>
                    </a:lnTo>
                    <a:lnTo>
                      <a:pt x="522" y="30"/>
                    </a:lnTo>
                    <a:lnTo>
                      <a:pt x="528" y="30"/>
                    </a:lnTo>
                    <a:lnTo>
                      <a:pt x="528" y="36"/>
                    </a:lnTo>
                    <a:lnTo>
                      <a:pt x="534" y="36"/>
                    </a:lnTo>
                    <a:lnTo>
                      <a:pt x="540" y="36"/>
                    </a:lnTo>
                    <a:lnTo>
                      <a:pt x="540" y="42"/>
                    </a:lnTo>
                    <a:lnTo>
                      <a:pt x="546" y="48"/>
                    </a:lnTo>
                    <a:lnTo>
                      <a:pt x="552" y="48"/>
                    </a:lnTo>
                    <a:lnTo>
                      <a:pt x="558" y="48"/>
                    </a:lnTo>
                    <a:lnTo>
                      <a:pt x="564" y="48"/>
                    </a:lnTo>
                    <a:lnTo>
                      <a:pt x="570" y="48"/>
                    </a:lnTo>
                    <a:lnTo>
                      <a:pt x="576" y="48"/>
                    </a:lnTo>
                    <a:lnTo>
                      <a:pt x="576" y="42"/>
                    </a:lnTo>
                    <a:lnTo>
                      <a:pt x="570" y="42"/>
                    </a:lnTo>
                    <a:lnTo>
                      <a:pt x="576" y="36"/>
                    </a:lnTo>
                    <a:lnTo>
                      <a:pt x="576" y="30"/>
                    </a:lnTo>
                    <a:lnTo>
                      <a:pt x="576" y="36"/>
                    </a:lnTo>
                    <a:lnTo>
                      <a:pt x="582" y="36"/>
                    </a:lnTo>
                    <a:lnTo>
                      <a:pt x="582" y="30"/>
                    </a:lnTo>
                    <a:lnTo>
                      <a:pt x="588" y="30"/>
                    </a:lnTo>
                    <a:lnTo>
                      <a:pt x="588" y="36"/>
                    </a:lnTo>
                    <a:lnTo>
                      <a:pt x="588" y="42"/>
                    </a:lnTo>
                    <a:lnTo>
                      <a:pt x="588" y="48"/>
                    </a:lnTo>
                    <a:lnTo>
                      <a:pt x="594" y="48"/>
                    </a:lnTo>
                    <a:lnTo>
                      <a:pt x="600" y="48"/>
                    </a:lnTo>
                    <a:lnTo>
                      <a:pt x="600" y="54"/>
                    </a:lnTo>
                    <a:lnTo>
                      <a:pt x="600" y="48"/>
                    </a:lnTo>
                    <a:lnTo>
                      <a:pt x="600" y="54"/>
                    </a:lnTo>
                    <a:lnTo>
                      <a:pt x="594" y="54"/>
                    </a:lnTo>
                    <a:lnTo>
                      <a:pt x="594" y="60"/>
                    </a:lnTo>
                    <a:lnTo>
                      <a:pt x="588" y="60"/>
                    </a:lnTo>
                    <a:lnTo>
                      <a:pt x="588" y="66"/>
                    </a:lnTo>
                    <a:lnTo>
                      <a:pt x="582" y="66"/>
                    </a:lnTo>
                    <a:lnTo>
                      <a:pt x="582" y="72"/>
                    </a:lnTo>
                    <a:lnTo>
                      <a:pt x="588" y="72"/>
                    </a:lnTo>
                    <a:lnTo>
                      <a:pt x="588" y="78"/>
                    </a:lnTo>
                    <a:lnTo>
                      <a:pt x="594" y="78"/>
                    </a:lnTo>
                    <a:lnTo>
                      <a:pt x="594" y="84"/>
                    </a:lnTo>
                    <a:lnTo>
                      <a:pt x="600" y="84"/>
                    </a:lnTo>
                    <a:lnTo>
                      <a:pt x="600" y="90"/>
                    </a:lnTo>
                    <a:lnTo>
                      <a:pt x="606" y="90"/>
                    </a:lnTo>
                    <a:lnTo>
                      <a:pt x="606" y="96"/>
                    </a:lnTo>
                    <a:lnTo>
                      <a:pt x="612" y="96"/>
                    </a:lnTo>
                    <a:lnTo>
                      <a:pt x="612" y="90"/>
                    </a:lnTo>
                    <a:lnTo>
                      <a:pt x="612" y="84"/>
                    </a:lnTo>
                    <a:lnTo>
                      <a:pt x="618" y="84"/>
                    </a:lnTo>
                    <a:lnTo>
                      <a:pt x="618" y="78"/>
                    </a:lnTo>
                    <a:lnTo>
                      <a:pt x="618" y="84"/>
                    </a:lnTo>
                    <a:lnTo>
                      <a:pt x="624" y="84"/>
                    </a:lnTo>
                    <a:lnTo>
                      <a:pt x="624" y="90"/>
                    </a:lnTo>
                    <a:lnTo>
                      <a:pt x="624" y="96"/>
                    </a:lnTo>
                    <a:lnTo>
                      <a:pt x="624" y="102"/>
                    </a:lnTo>
                    <a:lnTo>
                      <a:pt x="630" y="102"/>
                    </a:lnTo>
                    <a:lnTo>
                      <a:pt x="624" y="102"/>
                    </a:lnTo>
                    <a:lnTo>
                      <a:pt x="624" y="108"/>
                    </a:lnTo>
                    <a:lnTo>
                      <a:pt x="618" y="108"/>
                    </a:lnTo>
                    <a:lnTo>
                      <a:pt x="618" y="114"/>
                    </a:lnTo>
                    <a:lnTo>
                      <a:pt x="618" y="120"/>
                    </a:lnTo>
                    <a:lnTo>
                      <a:pt x="618" y="126"/>
                    </a:lnTo>
                    <a:lnTo>
                      <a:pt x="624" y="126"/>
                    </a:lnTo>
                    <a:lnTo>
                      <a:pt x="630" y="126"/>
                    </a:lnTo>
                    <a:lnTo>
                      <a:pt x="630" y="132"/>
                    </a:lnTo>
                    <a:lnTo>
                      <a:pt x="636" y="132"/>
                    </a:lnTo>
                    <a:lnTo>
                      <a:pt x="636" y="138"/>
                    </a:lnTo>
                    <a:lnTo>
                      <a:pt x="636" y="144"/>
                    </a:lnTo>
                    <a:lnTo>
                      <a:pt x="642" y="144"/>
                    </a:lnTo>
                    <a:lnTo>
                      <a:pt x="642" y="138"/>
                    </a:lnTo>
                    <a:lnTo>
                      <a:pt x="648" y="138"/>
                    </a:lnTo>
                    <a:lnTo>
                      <a:pt x="654" y="144"/>
                    </a:lnTo>
                    <a:lnTo>
                      <a:pt x="654" y="150"/>
                    </a:lnTo>
                    <a:lnTo>
                      <a:pt x="654" y="156"/>
                    </a:lnTo>
                    <a:lnTo>
                      <a:pt x="654" y="162"/>
                    </a:lnTo>
                    <a:lnTo>
                      <a:pt x="654" y="168"/>
                    </a:lnTo>
                    <a:lnTo>
                      <a:pt x="660" y="168"/>
                    </a:lnTo>
                    <a:lnTo>
                      <a:pt x="660" y="174"/>
                    </a:lnTo>
                    <a:lnTo>
                      <a:pt x="666" y="174"/>
                    </a:lnTo>
                    <a:lnTo>
                      <a:pt x="666" y="168"/>
                    </a:lnTo>
                    <a:lnTo>
                      <a:pt x="672" y="168"/>
                    </a:lnTo>
                    <a:lnTo>
                      <a:pt x="678" y="168"/>
                    </a:lnTo>
                    <a:lnTo>
                      <a:pt x="678" y="174"/>
                    </a:lnTo>
                    <a:lnTo>
                      <a:pt x="684" y="174"/>
                    </a:lnTo>
                    <a:lnTo>
                      <a:pt x="684" y="180"/>
                    </a:lnTo>
                    <a:lnTo>
                      <a:pt x="690" y="180"/>
                    </a:lnTo>
                    <a:lnTo>
                      <a:pt x="690" y="174"/>
                    </a:lnTo>
                    <a:lnTo>
                      <a:pt x="696" y="174"/>
                    </a:lnTo>
                    <a:lnTo>
                      <a:pt x="696" y="180"/>
                    </a:lnTo>
                    <a:lnTo>
                      <a:pt x="702" y="180"/>
                    </a:lnTo>
                    <a:lnTo>
                      <a:pt x="702" y="186"/>
                    </a:lnTo>
                    <a:lnTo>
                      <a:pt x="696" y="186"/>
                    </a:lnTo>
                    <a:lnTo>
                      <a:pt x="702" y="186"/>
                    </a:lnTo>
                    <a:lnTo>
                      <a:pt x="708" y="186"/>
                    </a:lnTo>
                    <a:lnTo>
                      <a:pt x="708" y="192"/>
                    </a:lnTo>
                    <a:lnTo>
                      <a:pt x="714" y="192"/>
                    </a:lnTo>
                    <a:lnTo>
                      <a:pt x="714" y="198"/>
                    </a:lnTo>
                    <a:lnTo>
                      <a:pt x="708" y="198"/>
                    </a:lnTo>
                    <a:lnTo>
                      <a:pt x="708" y="204"/>
                    </a:lnTo>
                    <a:lnTo>
                      <a:pt x="714" y="204"/>
                    </a:lnTo>
                    <a:lnTo>
                      <a:pt x="720" y="204"/>
                    </a:lnTo>
                    <a:lnTo>
                      <a:pt x="720" y="198"/>
                    </a:lnTo>
                    <a:lnTo>
                      <a:pt x="726" y="198"/>
                    </a:lnTo>
                    <a:lnTo>
                      <a:pt x="726" y="204"/>
                    </a:lnTo>
                    <a:lnTo>
                      <a:pt x="726" y="210"/>
                    </a:lnTo>
                    <a:lnTo>
                      <a:pt x="732" y="210"/>
                    </a:lnTo>
                    <a:lnTo>
                      <a:pt x="732" y="216"/>
                    </a:lnTo>
                    <a:close/>
                    <a:moveTo>
                      <a:pt x="216" y="276"/>
                    </a:moveTo>
                    <a:lnTo>
                      <a:pt x="222" y="276"/>
                    </a:lnTo>
                    <a:lnTo>
                      <a:pt x="222" y="282"/>
                    </a:lnTo>
                    <a:lnTo>
                      <a:pt x="216" y="282"/>
                    </a:lnTo>
                    <a:lnTo>
                      <a:pt x="216" y="276"/>
                    </a:lnTo>
                    <a:close/>
                    <a:moveTo>
                      <a:pt x="168" y="294"/>
                    </a:moveTo>
                    <a:lnTo>
                      <a:pt x="180" y="294"/>
                    </a:lnTo>
                    <a:lnTo>
                      <a:pt x="180" y="300"/>
                    </a:lnTo>
                    <a:lnTo>
                      <a:pt x="168" y="300"/>
                    </a:lnTo>
                    <a:lnTo>
                      <a:pt x="168" y="294"/>
                    </a:lnTo>
                    <a:close/>
                    <a:moveTo>
                      <a:pt x="204" y="282"/>
                    </a:moveTo>
                    <a:lnTo>
                      <a:pt x="210" y="282"/>
                    </a:lnTo>
                    <a:lnTo>
                      <a:pt x="210" y="288"/>
                    </a:lnTo>
                    <a:lnTo>
                      <a:pt x="204" y="288"/>
                    </a:lnTo>
                    <a:lnTo>
                      <a:pt x="204" y="282"/>
                    </a:lnTo>
                    <a:close/>
                    <a:moveTo>
                      <a:pt x="48" y="114"/>
                    </a:moveTo>
                    <a:lnTo>
                      <a:pt x="54" y="114"/>
                    </a:lnTo>
                    <a:lnTo>
                      <a:pt x="54" y="120"/>
                    </a:lnTo>
                    <a:lnTo>
                      <a:pt x="48" y="120"/>
                    </a:lnTo>
                    <a:lnTo>
                      <a:pt x="48" y="114"/>
                    </a:lnTo>
                    <a:close/>
                    <a:moveTo>
                      <a:pt x="108" y="294"/>
                    </a:moveTo>
                    <a:lnTo>
                      <a:pt x="120" y="294"/>
                    </a:lnTo>
                    <a:lnTo>
                      <a:pt x="120" y="300"/>
                    </a:lnTo>
                    <a:lnTo>
                      <a:pt x="108" y="300"/>
                    </a:lnTo>
                    <a:lnTo>
                      <a:pt x="108" y="294"/>
                    </a:lnTo>
                    <a:close/>
                    <a:moveTo>
                      <a:pt x="138" y="288"/>
                    </a:moveTo>
                    <a:lnTo>
                      <a:pt x="144" y="288"/>
                    </a:lnTo>
                    <a:lnTo>
                      <a:pt x="138" y="288"/>
                    </a:lnTo>
                    <a:close/>
                    <a:moveTo>
                      <a:pt x="30" y="144"/>
                    </a:moveTo>
                    <a:lnTo>
                      <a:pt x="36" y="144"/>
                    </a:lnTo>
                    <a:lnTo>
                      <a:pt x="36" y="150"/>
                    </a:lnTo>
                    <a:lnTo>
                      <a:pt x="30" y="150"/>
                    </a:lnTo>
                    <a:lnTo>
                      <a:pt x="30" y="144"/>
                    </a:lnTo>
                    <a:close/>
                    <a:moveTo>
                      <a:pt x="132" y="294"/>
                    </a:moveTo>
                    <a:lnTo>
                      <a:pt x="138" y="294"/>
                    </a:lnTo>
                    <a:lnTo>
                      <a:pt x="132" y="294"/>
                    </a:lnTo>
                    <a:close/>
                    <a:moveTo>
                      <a:pt x="540" y="396"/>
                    </a:moveTo>
                    <a:lnTo>
                      <a:pt x="546" y="396"/>
                    </a:lnTo>
                    <a:lnTo>
                      <a:pt x="546" y="402"/>
                    </a:lnTo>
                    <a:lnTo>
                      <a:pt x="540" y="402"/>
                    </a:lnTo>
                    <a:lnTo>
                      <a:pt x="540" y="396"/>
                    </a:lnTo>
                    <a:close/>
                    <a:moveTo>
                      <a:pt x="210" y="282"/>
                    </a:moveTo>
                    <a:lnTo>
                      <a:pt x="216" y="282"/>
                    </a:lnTo>
                    <a:lnTo>
                      <a:pt x="216" y="288"/>
                    </a:lnTo>
                    <a:lnTo>
                      <a:pt x="210" y="288"/>
                    </a:lnTo>
                    <a:lnTo>
                      <a:pt x="210" y="282"/>
                    </a:lnTo>
                    <a:close/>
                    <a:moveTo>
                      <a:pt x="48" y="120"/>
                    </a:moveTo>
                    <a:lnTo>
                      <a:pt x="48" y="126"/>
                    </a:lnTo>
                    <a:lnTo>
                      <a:pt x="49" y="126"/>
                    </a:lnTo>
                    <a:lnTo>
                      <a:pt x="48" y="120"/>
                    </a:lnTo>
                    <a:close/>
                    <a:moveTo>
                      <a:pt x="174" y="258"/>
                    </a:moveTo>
                    <a:lnTo>
                      <a:pt x="180" y="258"/>
                    </a:lnTo>
                    <a:lnTo>
                      <a:pt x="174" y="258"/>
                    </a:lnTo>
                    <a:close/>
                    <a:moveTo>
                      <a:pt x="42" y="174"/>
                    </a:moveTo>
                    <a:lnTo>
                      <a:pt x="42" y="180"/>
                    </a:lnTo>
                    <a:lnTo>
                      <a:pt x="43" y="180"/>
                    </a:lnTo>
                    <a:lnTo>
                      <a:pt x="42" y="174"/>
                    </a:lnTo>
                    <a:close/>
                    <a:moveTo>
                      <a:pt x="534" y="432"/>
                    </a:moveTo>
                    <a:lnTo>
                      <a:pt x="534" y="438"/>
                    </a:lnTo>
                    <a:lnTo>
                      <a:pt x="535" y="438"/>
                    </a:lnTo>
                    <a:lnTo>
                      <a:pt x="534" y="432"/>
                    </a:lnTo>
                    <a:close/>
                    <a:moveTo>
                      <a:pt x="558" y="510"/>
                    </a:moveTo>
                    <a:lnTo>
                      <a:pt x="558" y="516"/>
                    </a:lnTo>
                    <a:lnTo>
                      <a:pt x="559" y="516"/>
                    </a:lnTo>
                    <a:lnTo>
                      <a:pt x="558" y="510"/>
                    </a:lnTo>
                    <a:close/>
                    <a:moveTo>
                      <a:pt x="150" y="306"/>
                    </a:moveTo>
                    <a:lnTo>
                      <a:pt x="156" y="306"/>
                    </a:lnTo>
                    <a:lnTo>
                      <a:pt x="156" y="312"/>
                    </a:lnTo>
                    <a:lnTo>
                      <a:pt x="150" y="312"/>
                    </a:lnTo>
                    <a:lnTo>
                      <a:pt x="150" y="306"/>
                    </a:lnTo>
                    <a:close/>
                    <a:moveTo>
                      <a:pt x="210" y="276"/>
                    </a:moveTo>
                    <a:lnTo>
                      <a:pt x="216" y="276"/>
                    </a:lnTo>
                    <a:lnTo>
                      <a:pt x="210" y="276"/>
                    </a:lnTo>
                    <a:close/>
                    <a:moveTo>
                      <a:pt x="558" y="516"/>
                    </a:moveTo>
                    <a:lnTo>
                      <a:pt x="564" y="516"/>
                    </a:lnTo>
                    <a:lnTo>
                      <a:pt x="558" y="516"/>
                    </a:lnTo>
                    <a:close/>
                    <a:moveTo>
                      <a:pt x="216" y="282"/>
                    </a:moveTo>
                    <a:lnTo>
                      <a:pt x="222" y="282"/>
                    </a:lnTo>
                    <a:lnTo>
                      <a:pt x="216" y="282"/>
                    </a:lnTo>
                    <a:close/>
                    <a:moveTo>
                      <a:pt x="48" y="192"/>
                    </a:moveTo>
                    <a:lnTo>
                      <a:pt x="54" y="192"/>
                    </a:lnTo>
                    <a:lnTo>
                      <a:pt x="48" y="192"/>
                    </a:lnTo>
                    <a:close/>
                    <a:moveTo>
                      <a:pt x="210" y="288"/>
                    </a:moveTo>
                    <a:lnTo>
                      <a:pt x="216" y="288"/>
                    </a:lnTo>
                    <a:lnTo>
                      <a:pt x="210" y="288"/>
                    </a:lnTo>
                    <a:close/>
                    <a:moveTo>
                      <a:pt x="120" y="306"/>
                    </a:moveTo>
                    <a:lnTo>
                      <a:pt x="126" y="306"/>
                    </a:lnTo>
                    <a:lnTo>
                      <a:pt x="120" y="306"/>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US" sz="800" dirty="0">
                  <a:solidFill>
                    <a:srgbClr val="000000"/>
                  </a:solidFill>
                </a:endParaRPr>
              </a:p>
            </p:txBody>
          </p:sp>
          <p:sp>
            <p:nvSpPr>
              <p:cNvPr id="54" name="Freeform 71"/>
              <p:cNvSpPr>
                <a:spLocks noEditPoints="1"/>
              </p:cNvSpPr>
              <p:nvPr/>
            </p:nvSpPr>
            <p:spPr bwMode="gray">
              <a:xfrm>
                <a:off x="2757625" y="3635227"/>
                <a:ext cx="1266109" cy="1039611"/>
              </a:xfrm>
              <a:custGeom>
                <a:avLst/>
                <a:gdLst>
                  <a:gd name="T0" fmla="*/ 108 w 984"/>
                  <a:gd name="T1" fmla="*/ 774 h 816"/>
                  <a:gd name="T2" fmla="*/ 84 w 984"/>
                  <a:gd name="T3" fmla="*/ 714 h 816"/>
                  <a:gd name="T4" fmla="*/ 84 w 984"/>
                  <a:gd name="T5" fmla="*/ 684 h 816"/>
                  <a:gd name="T6" fmla="*/ 78 w 984"/>
                  <a:gd name="T7" fmla="*/ 636 h 816"/>
                  <a:gd name="T8" fmla="*/ 66 w 984"/>
                  <a:gd name="T9" fmla="*/ 594 h 816"/>
                  <a:gd name="T10" fmla="*/ 42 w 984"/>
                  <a:gd name="T11" fmla="*/ 516 h 816"/>
                  <a:gd name="T12" fmla="*/ 42 w 984"/>
                  <a:gd name="T13" fmla="*/ 474 h 816"/>
                  <a:gd name="T14" fmla="*/ 24 w 984"/>
                  <a:gd name="T15" fmla="*/ 426 h 816"/>
                  <a:gd name="T16" fmla="*/ 42 w 984"/>
                  <a:gd name="T17" fmla="*/ 390 h 816"/>
                  <a:gd name="T18" fmla="*/ 18 w 984"/>
                  <a:gd name="T19" fmla="*/ 396 h 816"/>
                  <a:gd name="T20" fmla="*/ 18 w 984"/>
                  <a:gd name="T21" fmla="*/ 342 h 816"/>
                  <a:gd name="T22" fmla="*/ 0 w 984"/>
                  <a:gd name="T23" fmla="*/ 282 h 816"/>
                  <a:gd name="T24" fmla="*/ 24 w 984"/>
                  <a:gd name="T25" fmla="*/ 240 h 816"/>
                  <a:gd name="T26" fmla="*/ 66 w 984"/>
                  <a:gd name="T27" fmla="*/ 246 h 816"/>
                  <a:gd name="T28" fmla="*/ 96 w 984"/>
                  <a:gd name="T29" fmla="*/ 210 h 816"/>
                  <a:gd name="T30" fmla="*/ 120 w 984"/>
                  <a:gd name="T31" fmla="*/ 186 h 816"/>
                  <a:gd name="T32" fmla="*/ 150 w 984"/>
                  <a:gd name="T33" fmla="*/ 138 h 816"/>
                  <a:gd name="T34" fmla="*/ 138 w 984"/>
                  <a:gd name="T35" fmla="*/ 108 h 816"/>
                  <a:gd name="T36" fmla="*/ 180 w 984"/>
                  <a:gd name="T37" fmla="*/ 78 h 816"/>
                  <a:gd name="T38" fmla="*/ 162 w 984"/>
                  <a:gd name="T39" fmla="*/ 66 h 816"/>
                  <a:gd name="T40" fmla="*/ 138 w 984"/>
                  <a:gd name="T41" fmla="*/ 24 h 816"/>
                  <a:gd name="T42" fmla="*/ 216 w 984"/>
                  <a:gd name="T43" fmla="*/ 12 h 816"/>
                  <a:gd name="T44" fmla="*/ 288 w 984"/>
                  <a:gd name="T45" fmla="*/ 60 h 816"/>
                  <a:gd name="T46" fmla="*/ 366 w 984"/>
                  <a:gd name="T47" fmla="*/ 84 h 816"/>
                  <a:gd name="T48" fmla="*/ 438 w 984"/>
                  <a:gd name="T49" fmla="*/ 126 h 816"/>
                  <a:gd name="T50" fmla="*/ 486 w 984"/>
                  <a:gd name="T51" fmla="*/ 84 h 816"/>
                  <a:gd name="T52" fmla="*/ 522 w 984"/>
                  <a:gd name="T53" fmla="*/ 42 h 816"/>
                  <a:gd name="T54" fmla="*/ 588 w 984"/>
                  <a:gd name="T55" fmla="*/ 48 h 816"/>
                  <a:gd name="T56" fmla="*/ 618 w 984"/>
                  <a:gd name="T57" fmla="*/ 84 h 816"/>
                  <a:gd name="T58" fmla="*/ 696 w 984"/>
                  <a:gd name="T59" fmla="*/ 72 h 816"/>
                  <a:gd name="T60" fmla="*/ 774 w 984"/>
                  <a:gd name="T61" fmla="*/ 60 h 816"/>
                  <a:gd name="T62" fmla="*/ 846 w 984"/>
                  <a:gd name="T63" fmla="*/ 60 h 816"/>
                  <a:gd name="T64" fmla="*/ 918 w 984"/>
                  <a:gd name="T65" fmla="*/ 66 h 816"/>
                  <a:gd name="T66" fmla="*/ 960 w 984"/>
                  <a:gd name="T67" fmla="*/ 90 h 816"/>
                  <a:gd name="T68" fmla="*/ 948 w 984"/>
                  <a:gd name="T69" fmla="*/ 150 h 816"/>
                  <a:gd name="T70" fmla="*/ 948 w 984"/>
                  <a:gd name="T71" fmla="*/ 222 h 816"/>
                  <a:gd name="T72" fmla="*/ 930 w 984"/>
                  <a:gd name="T73" fmla="*/ 270 h 816"/>
                  <a:gd name="T74" fmla="*/ 954 w 984"/>
                  <a:gd name="T75" fmla="*/ 300 h 816"/>
                  <a:gd name="T76" fmla="*/ 966 w 984"/>
                  <a:gd name="T77" fmla="*/ 354 h 816"/>
                  <a:gd name="T78" fmla="*/ 912 w 984"/>
                  <a:gd name="T79" fmla="*/ 396 h 816"/>
                  <a:gd name="T80" fmla="*/ 876 w 984"/>
                  <a:gd name="T81" fmla="*/ 402 h 816"/>
                  <a:gd name="T82" fmla="*/ 852 w 984"/>
                  <a:gd name="T83" fmla="*/ 312 h 816"/>
                  <a:gd name="T84" fmla="*/ 792 w 984"/>
                  <a:gd name="T85" fmla="*/ 312 h 816"/>
                  <a:gd name="T86" fmla="*/ 732 w 984"/>
                  <a:gd name="T87" fmla="*/ 294 h 816"/>
                  <a:gd name="T88" fmla="*/ 684 w 984"/>
                  <a:gd name="T89" fmla="*/ 288 h 816"/>
                  <a:gd name="T90" fmla="*/ 660 w 984"/>
                  <a:gd name="T91" fmla="*/ 348 h 816"/>
                  <a:gd name="T92" fmla="*/ 612 w 984"/>
                  <a:gd name="T93" fmla="*/ 384 h 816"/>
                  <a:gd name="T94" fmla="*/ 606 w 984"/>
                  <a:gd name="T95" fmla="*/ 438 h 816"/>
                  <a:gd name="T96" fmla="*/ 582 w 984"/>
                  <a:gd name="T97" fmla="*/ 474 h 816"/>
                  <a:gd name="T98" fmla="*/ 546 w 984"/>
                  <a:gd name="T99" fmla="*/ 468 h 816"/>
                  <a:gd name="T100" fmla="*/ 510 w 984"/>
                  <a:gd name="T101" fmla="*/ 522 h 816"/>
                  <a:gd name="T102" fmla="*/ 462 w 984"/>
                  <a:gd name="T103" fmla="*/ 552 h 816"/>
                  <a:gd name="T104" fmla="*/ 432 w 984"/>
                  <a:gd name="T105" fmla="*/ 600 h 816"/>
                  <a:gd name="T106" fmla="*/ 366 w 984"/>
                  <a:gd name="T107" fmla="*/ 588 h 816"/>
                  <a:gd name="T108" fmla="*/ 354 w 984"/>
                  <a:gd name="T109" fmla="*/ 642 h 816"/>
                  <a:gd name="T110" fmla="*/ 306 w 984"/>
                  <a:gd name="T111" fmla="*/ 660 h 816"/>
                  <a:gd name="T112" fmla="*/ 246 w 984"/>
                  <a:gd name="T113" fmla="*/ 672 h 816"/>
                  <a:gd name="T114" fmla="*/ 192 w 984"/>
                  <a:gd name="T115" fmla="*/ 696 h 816"/>
                  <a:gd name="T116" fmla="*/ 204 w 984"/>
                  <a:gd name="T117" fmla="*/ 732 h 816"/>
                  <a:gd name="T118" fmla="*/ 216 w 984"/>
                  <a:gd name="T119" fmla="*/ 762 h 816"/>
                  <a:gd name="T120" fmla="*/ 192 w 984"/>
                  <a:gd name="T121" fmla="*/ 792 h 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84" h="816">
                    <a:moveTo>
                      <a:pt x="174" y="810"/>
                    </a:moveTo>
                    <a:lnTo>
                      <a:pt x="168" y="810"/>
                    </a:lnTo>
                    <a:lnTo>
                      <a:pt x="162" y="816"/>
                    </a:lnTo>
                    <a:lnTo>
                      <a:pt x="162" y="810"/>
                    </a:lnTo>
                    <a:lnTo>
                      <a:pt x="156" y="810"/>
                    </a:lnTo>
                    <a:lnTo>
                      <a:pt x="156" y="804"/>
                    </a:lnTo>
                    <a:lnTo>
                      <a:pt x="156" y="798"/>
                    </a:lnTo>
                    <a:lnTo>
                      <a:pt x="150" y="798"/>
                    </a:lnTo>
                    <a:lnTo>
                      <a:pt x="150" y="792"/>
                    </a:lnTo>
                    <a:lnTo>
                      <a:pt x="144" y="792"/>
                    </a:lnTo>
                    <a:lnTo>
                      <a:pt x="144" y="798"/>
                    </a:lnTo>
                    <a:lnTo>
                      <a:pt x="138" y="798"/>
                    </a:lnTo>
                    <a:lnTo>
                      <a:pt x="132" y="798"/>
                    </a:lnTo>
                    <a:lnTo>
                      <a:pt x="126" y="798"/>
                    </a:lnTo>
                    <a:lnTo>
                      <a:pt x="120" y="798"/>
                    </a:lnTo>
                    <a:lnTo>
                      <a:pt x="120" y="792"/>
                    </a:lnTo>
                    <a:lnTo>
                      <a:pt x="120" y="786"/>
                    </a:lnTo>
                    <a:lnTo>
                      <a:pt x="120" y="780"/>
                    </a:lnTo>
                    <a:lnTo>
                      <a:pt x="114" y="780"/>
                    </a:lnTo>
                    <a:lnTo>
                      <a:pt x="114" y="774"/>
                    </a:lnTo>
                    <a:lnTo>
                      <a:pt x="108" y="774"/>
                    </a:lnTo>
                    <a:lnTo>
                      <a:pt x="102" y="774"/>
                    </a:lnTo>
                    <a:lnTo>
                      <a:pt x="102" y="768"/>
                    </a:lnTo>
                    <a:lnTo>
                      <a:pt x="102" y="762"/>
                    </a:lnTo>
                    <a:lnTo>
                      <a:pt x="102" y="768"/>
                    </a:lnTo>
                    <a:lnTo>
                      <a:pt x="102" y="762"/>
                    </a:lnTo>
                    <a:lnTo>
                      <a:pt x="102" y="768"/>
                    </a:lnTo>
                    <a:lnTo>
                      <a:pt x="102" y="762"/>
                    </a:lnTo>
                    <a:lnTo>
                      <a:pt x="102" y="756"/>
                    </a:lnTo>
                    <a:lnTo>
                      <a:pt x="96" y="756"/>
                    </a:lnTo>
                    <a:lnTo>
                      <a:pt x="96" y="750"/>
                    </a:lnTo>
                    <a:lnTo>
                      <a:pt x="96" y="756"/>
                    </a:lnTo>
                    <a:lnTo>
                      <a:pt x="96" y="750"/>
                    </a:lnTo>
                    <a:lnTo>
                      <a:pt x="96" y="744"/>
                    </a:lnTo>
                    <a:lnTo>
                      <a:pt x="96" y="738"/>
                    </a:lnTo>
                    <a:lnTo>
                      <a:pt x="90" y="732"/>
                    </a:lnTo>
                    <a:lnTo>
                      <a:pt x="90" y="726"/>
                    </a:lnTo>
                    <a:lnTo>
                      <a:pt x="90" y="720"/>
                    </a:lnTo>
                    <a:lnTo>
                      <a:pt x="84" y="720"/>
                    </a:lnTo>
                    <a:lnTo>
                      <a:pt x="90" y="720"/>
                    </a:lnTo>
                    <a:lnTo>
                      <a:pt x="84" y="720"/>
                    </a:lnTo>
                    <a:lnTo>
                      <a:pt x="84" y="714"/>
                    </a:lnTo>
                    <a:lnTo>
                      <a:pt x="90" y="714"/>
                    </a:lnTo>
                    <a:lnTo>
                      <a:pt x="90" y="720"/>
                    </a:lnTo>
                    <a:lnTo>
                      <a:pt x="90" y="714"/>
                    </a:lnTo>
                    <a:lnTo>
                      <a:pt x="84" y="714"/>
                    </a:lnTo>
                    <a:lnTo>
                      <a:pt x="84" y="708"/>
                    </a:lnTo>
                    <a:lnTo>
                      <a:pt x="84" y="702"/>
                    </a:lnTo>
                    <a:lnTo>
                      <a:pt x="78" y="702"/>
                    </a:lnTo>
                    <a:lnTo>
                      <a:pt x="78" y="696"/>
                    </a:lnTo>
                    <a:lnTo>
                      <a:pt x="84" y="696"/>
                    </a:lnTo>
                    <a:lnTo>
                      <a:pt x="84" y="702"/>
                    </a:lnTo>
                    <a:lnTo>
                      <a:pt x="84" y="696"/>
                    </a:lnTo>
                    <a:lnTo>
                      <a:pt x="84" y="690"/>
                    </a:lnTo>
                    <a:lnTo>
                      <a:pt x="78" y="690"/>
                    </a:lnTo>
                    <a:lnTo>
                      <a:pt x="84" y="690"/>
                    </a:lnTo>
                    <a:lnTo>
                      <a:pt x="84" y="684"/>
                    </a:lnTo>
                    <a:lnTo>
                      <a:pt x="84" y="690"/>
                    </a:lnTo>
                    <a:lnTo>
                      <a:pt x="84" y="684"/>
                    </a:lnTo>
                    <a:lnTo>
                      <a:pt x="90" y="684"/>
                    </a:lnTo>
                    <a:lnTo>
                      <a:pt x="90" y="690"/>
                    </a:lnTo>
                    <a:lnTo>
                      <a:pt x="90" y="684"/>
                    </a:lnTo>
                    <a:lnTo>
                      <a:pt x="84" y="684"/>
                    </a:lnTo>
                    <a:lnTo>
                      <a:pt x="84" y="690"/>
                    </a:lnTo>
                    <a:lnTo>
                      <a:pt x="84" y="684"/>
                    </a:lnTo>
                    <a:lnTo>
                      <a:pt x="84" y="690"/>
                    </a:lnTo>
                    <a:lnTo>
                      <a:pt x="84" y="684"/>
                    </a:lnTo>
                    <a:lnTo>
                      <a:pt x="84" y="678"/>
                    </a:lnTo>
                    <a:lnTo>
                      <a:pt x="78" y="678"/>
                    </a:lnTo>
                    <a:lnTo>
                      <a:pt x="78" y="672"/>
                    </a:lnTo>
                    <a:lnTo>
                      <a:pt x="78" y="666"/>
                    </a:lnTo>
                    <a:lnTo>
                      <a:pt x="84" y="666"/>
                    </a:lnTo>
                    <a:lnTo>
                      <a:pt x="84" y="660"/>
                    </a:lnTo>
                    <a:lnTo>
                      <a:pt x="84" y="666"/>
                    </a:lnTo>
                    <a:lnTo>
                      <a:pt x="78" y="666"/>
                    </a:lnTo>
                    <a:lnTo>
                      <a:pt x="78" y="660"/>
                    </a:lnTo>
                    <a:lnTo>
                      <a:pt x="78" y="654"/>
                    </a:lnTo>
                    <a:lnTo>
                      <a:pt x="78" y="648"/>
                    </a:lnTo>
                    <a:lnTo>
                      <a:pt x="78" y="642"/>
                    </a:lnTo>
                    <a:lnTo>
                      <a:pt x="72" y="642"/>
                    </a:lnTo>
                    <a:lnTo>
                      <a:pt x="78" y="642"/>
                    </a:lnTo>
                    <a:lnTo>
                      <a:pt x="78" y="636"/>
                    </a:lnTo>
                    <a:lnTo>
                      <a:pt x="72" y="636"/>
                    </a:lnTo>
                    <a:lnTo>
                      <a:pt x="78" y="636"/>
                    </a:lnTo>
                    <a:lnTo>
                      <a:pt x="78" y="630"/>
                    </a:lnTo>
                    <a:lnTo>
                      <a:pt x="78" y="624"/>
                    </a:lnTo>
                    <a:lnTo>
                      <a:pt x="72" y="624"/>
                    </a:lnTo>
                    <a:lnTo>
                      <a:pt x="78" y="624"/>
                    </a:lnTo>
                    <a:lnTo>
                      <a:pt x="72" y="624"/>
                    </a:lnTo>
                    <a:lnTo>
                      <a:pt x="72" y="618"/>
                    </a:lnTo>
                    <a:lnTo>
                      <a:pt x="72" y="612"/>
                    </a:lnTo>
                    <a:lnTo>
                      <a:pt x="72" y="618"/>
                    </a:lnTo>
                    <a:lnTo>
                      <a:pt x="72" y="612"/>
                    </a:lnTo>
                    <a:lnTo>
                      <a:pt x="72" y="606"/>
                    </a:lnTo>
                    <a:lnTo>
                      <a:pt x="66" y="606"/>
                    </a:lnTo>
                    <a:lnTo>
                      <a:pt x="66" y="600"/>
                    </a:lnTo>
                    <a:lnTo>
                      <a:pt x="72" y="600"/>
                    </a:lnTo>
                    <a:lnTo>
                      <a:pt x="72" y="606"/>
                    </a:lnTo>
                    <a:lnTo>
                      <a:pt x="72" y="600"/>
                    </a:lnTo>
                    <a:lnTo>
                      <a:pt x="66" y="600"/>
                    </a:lnTo>
                    <a:lnTo>
                      <a:pt x="72" y="600"/>
                    </a:lnTo>
                    <a:lnTo>
                      <a:pt x="66" y="600"/>
                    </a:lnTo>
                    <a:lnTo>
                      <a:pt x="66" y="594"/>
                    </a:lnTo>
                    <a:lnTo>
                      <a:pt x="72" y="594"/>
                    </a:lnTo>
                    <a:lnTo>
                      <a:pt x="66" y="594"/>
                    </a:lnTo>
                    <a:lnTo>
                      <a:pt x="66" y="588"/>
                    </a:lnTo>
                    <a:lnTo>
                      <a:pt x="60" y="588"/>
                    </a:lnTo>
                    <a:lnTo>
                      <a:pt x="66" y="588"/>
                    </a:lnTo>
                    <a:lnTo>
                      <a:pt x="66" y="582"/>
                    </a:lnTo>
                    <a:lnTo>
                      <a:pt x="66" y="576"/>
                    </a:lnTo>
                    <a:lnTo>
                      <a:pt x="60" y="576"/>
                    </a:lnTo>
                    <a:lnTo>
                      <a:pt x="60" y="570"/>
                    </a:lnTo>
                    <a:lnTo>
                      <a:pt x="60" y="564"/>
                    </a:lnTo>
                    <a:lnTo>
                      <a:pt x="60" y="558"/>
                    </a:lnTo>
                    <a:lnTo>
                      <a:pt x="54" y="558"/>
                    </a:lnTo>
                    <a:lnTo>
                      <a:pt x="54" y="552"/>
                    </a:lnTo>
                    <a:lnTo>
                      <a:pt x="60" y="552"/>
                    </a:lnTo>
                    <a:lnTo>
                      <a:pt x="60" y="546"/>
                    </a:lnTo>
                    <a:lnTo>
                      <a:pt x="54" y="546"/>
                    </a:lnTo>
                    <a:lnTo>
                      <a:pt x="54" y="540"/>
                    </a:lnTo>
                    <a:lnTo>
                      <a:pt x="54" y="534"/>
                    </a:lnTo>
                    <a:lnTo>
                      <a:pt x="54" y="528"/>
                    </a:lnTo>
                    <a:lnTo>
                      <a:pt x="48" y="528"/>
                    </a:lnTo>
                    <a:lnTo>
                      <a:pt x="48" y="522"/>
                    </a:lnTo>
                    <a:lnTo>
                      <a:pt x="48" y="516"/>
                    </a:lnTo>
                    <a:lnTo>
                      <a:pt x="42" y="516"/>
                    </a:lnTo>
                    <a:lnTo>
                      <a:pt x="48" y="516"/>
                    </a:lnTo>
                    <a:lnTo>
                      <a:pt x="42" y="516"/>
                    </a:lnTo>
                    <a:lnTo>
                      <a:pt x="42" y="510"/>
                    </a:lnTo>
                    <a:lnTo>
                      <a:pt x="48" y="510"/>
                    </a:lnTo>
                    <a:lnTo>
                      <a:pt x="42" y="510"/>
                    </a:lnTo>
                    <a:lnTo>
                      <a:pt x="42" y="504"/>
                    </a:lnTo>
                    <a:lnTo>
                      <a:pt x="42" y="498"/>
                    </a:lnTo>
                    <a:lnTo>
                      <a:pt x="42" y="492"/>
                    </a:lnTo>
                    <a:lnTo>
                      <a:pt x="42" y="486"/>
                    </a:lnTo>
                    <a:lnTo>
                      <a:pt x="36" y="486"/>
                    </a:lnTo>
                    <a:lnTo>
                      <a:pt x="36" y="480"/>
                    </a:lnTo>
                    <a:lnTo>
                      <a:pt x="42" y="480"/>
                    </a:lnTo>
                    <a:lnTo>
                      <a:pt x="42" y="486"/>
                    </a:lnTo>
                    <a:lnTo>
                      <a:pt x="48" y="486"/>
                    </a:lnTo>
                    <a:lnTo>
                      <a:pt x="54" y="486"/>
                    </a:lnTo>
                    <a:lnTo>
                      <a:pt x="48" y="486"/>
                    </a:lnTo>
                    <a:lnTo>
                      <a:pt x="48" y="480"/>
                    </a:lnTo>
                    <a:lnTo>
                      <a:pt x="54" y="480"/>
                    </a:lnTo>
                    <a:lnTo>
                      <a:pt x="48" y="480"/>
                    </a:lnTo>
                    <a:lnTo>
                      <a:pt x="42" y="480"/>
                    </a:lnTo>
                    <a:lnTo>
                      <a:pt x="42" y="474"/>
                    </a:lnTo>
                    <a:lnTo>
                      <a:pt x="42" y="480"/>
                    </a:lnTo>
                    <a:lnTo>
                      <a:pt x="42" y="474"/>
                    </a:lnTo>
                    <a:lnTo>
                      <a:pt x="36" y="474"/>
                    </a:lnTo>
                    <a:lnTo>
                      <a:pt x="36" y="468"/>
                    </a:lnTo>
                    <a:lnTo>
                      <a:pt x="36" y="474"/>
                    </a:lnTo>
                    <a:lnTo>
                      <a:pt x="30" y="474"/>
                    </a:lnTo>
                    <a:lnTo>
                      <a:pt x="30" y="468"/>
                    </a:lnTo>
                    <a:lnTo>
                      <a:pt x="36" y="468"/>
                    </a:lnTo>
                    <a:lnTo>
                      <a:pt x="30" y="468"/>
                    </a:lnTo>
                    <a:lnTo>
                      <a:pt x="30" y="462"/>
                    </a:lnTo>
                    <a:lnTo>
                      <a:pt x="30" y="456"/>
                    </a:lnTo>
                    <a:lnTo>
                      <a:pt x="30" y="450"/>
                    </a:lnTo>
                    <a:lnTo>
                      <a:pt x="30" y="444"/>
                    </a:lnTo>
                    <a:lnTo>
                      <a:pt x="30" y="450"/>
                    </a:lnTo>
                    <a:lnTo>
                      <a:pt x="36" y="450"/>
                    </a:lnTo>
                    <a:lnTo>
                      <a:pt x="36" y="444"/>
                    </a:lnTo>
                    <a:lnTo>
                      <a:pt x="30" y="444"/>
                    </a:lnTo>
                    <a:lnTo>
                      <a:pt x="30" y="438"/>
                    </a:lnTo>
                    <a:lnTo>
                      <a:pt x="30" y="432"/>
                    </a:lnTo>
                    <a:lnTo>
                      <a:pt x="24" y="432"/>
                    </a:lnTo>
                    <a:lnTo>
                      <a:pt x="24" y="426"/>
                    </a:lnTo>
                    <a:lnTo>
                      <a:pt x="24" y="420"/>
                    </a:lnTo>
                    <a:lnTo>
                      <a:pt x="24" y="414"/>
                    </a:lnTo>
                    <a:lnTo>
                      <a:pt x="30" y="414"/>
                    </a:lnTo>
                    <a:lnTo>
                      <a:pt x="36" y="414"/>
                    </a:lnTo>
                    <a:lnTo>
                      <a:pt x="36" y="408"/>
                    </a:lnTo>
                    <a:lnTo>
                      <a:pt x="36" y="414"/>
                    </a:lnTo>
                    <a:lnTo>
                      <a:pt x="42" y="414"/>
                    </a:lnTo>
                    <a:lnTo>
                      <a:pt x="42" y="408"/>
                    </a:lnTo>
                    <a:lnTo>
                      <a:pt x="36" y="408"/>
                    </a:lnTo>
                    <a:lnTo>
                      <a:pt x="30" y="408"/>
                    </a:lnTo>
                    <a:lnTo>
                      <a:pt x="30" y="402"/>
                    </a:lnTo>
                    <a:lnTo>
                      <a:pt x="36" y="402"/>
                    </a:lnTo>
                    <a:lnTo>
                      <a:pt x="36" y="396"/>
                    </a:lnTo>
                    <a:lnTo>
                      <a:pt x="42" y="396"/>
                    </a:lnTo>
                    <a:lnTo>
                      <a:pt x="36" y="396"/>
                    </a:lnTo>
                    <a:lnTo>
                      <a:pt x="36" y="390"/>
                    </a:lnTo>
                    <a:lnTo>
                      <a:pt x="36" y="396"/>
                    </a:lnTo>
                    <a:lnTo>
                      <a:pt x="36" y="390"/>
                    </a:lnTo>
                    <a:lnTo>
                      <a:pt x="36" y="396"/>
                    </a:lnTo>
                    <a:lnTo>
                      <a:pt x="42" y="396"/>
                    </a:lnTo>
                    <a:lnTo>
                      <a:pt x="42" y="390"/>
                    </a:lnTo>
                    <a:lnTo>
                      <a:pt x="48" y="390"/>
                    </a:lnTo>
                    <a:lnTo>
                      <a:pt x="42" y="390"/>
                    </a:lnTo>
                    <a:lnTo>
                      <a:pt x="42" y="384"/>
                    </a:lnTo>
                    <a:lnTo>
                      <a:pt x="42" y="378"/>
                    </a:lnTo>
                    <a:lnTo>
                      <a:pt x="42" y="372"/>
                    </a:lnTo>
                    <a:lnTo>
                      <a:pt x="36" y="372"/>
                    </a:lnTo>
                    <a:lnTo>
                      <a:pt x="36" y="378"/>
                    </a:lnTo>
                    <a:lnTo>
                      <a:pt x="36" y="384"/>
                    </a:lnTo>
                    <a:lnTo>
                      <a:pt x="36" y="390"/>
                    </a:lnTo>
                    <a:lnTo>
                      <a:pt x="30" y="390"/>
                    </a:lnTo>
                    <a:lnTo>
                      <a:pt x="24" y="390"/>
                    </a:lnTo>
                    <a:lnTo>
                      <a:pt x="24" y="396"/>
                    </a:lnTo>
                    <a:lnTo>
                      <a:pt x="24" y="402"/>
                    </a:lnTo>
                    <a:lnTo>
                      <a:pt x="18" y="402"/>
                    </a:lnTo>
                    <a:lnTo>
                      <a:pt x="24" y="402"/>
                    </a:lnTo>
                    <a:lnTo>
                      <a:pt x="18" y="402"/>
                    </a:lnTo>
                    <a:lnTo>
                      <a:pt x="24" y="402"/>
                    </a:lnTo>
                    <a:lnTo>
                      <a:pt x="24" y="396"/>
                    </a:lnTo>
                    <a:lnTo>
                      <a:pt x="18" y="396"/>
                    </a:lnTo>
                    <a:lnTo>
                      <a:pt x="24" y="396"/>
                    </a:lnTo>
                    <a:lnTo>
                      <a:pt x="18" y="396"/>
                    </a:lnTo>
                    <a:lnTo>
                      <a:pt x="18" y="390"/>
                    </a:lnTo>
                    <a:lnTo>
                      <a:pt x="18" y="384"/>
                    </a:lnTo>
                    <a:lnTo>
                      <a:pt x="24" y="384"/>
                    </a:lnTo>
                    <a:lnTo>
                      <a:pt x="18" y="384"/>
                    </a:lnTo>
                    <a:lnTo>
                      <a:pt x="24" y="384"/>
                    </a:lnTo>
                    <a:lnTo>
                      <a:pt x="24" y="378"/>
                    </a:lnTo>
                    <a:lnTo>
                      <a:pt x="24" y="372"/>
                    </a:lnTo>
                    <a:lnTo>
                      <a:pt x="18" y="372"/>
                    </a:lnTo>
                    <a:lnTo>
                      <a:pt x="18" y="366"/>
                    </a:lnTo>
                    <a:lnTo>
                      <a:pt x="18" y="360"/>
                    </a:lnTo>
                    <a:lnTo>
                      <a:pt x="18" y="366"/>
                    </a:lnTo>
                    <a:lnTo>
                      <a:pt x="18" y="360"/>
                    </a:lnTo>
                    <a:lnTo>
                      <a:pt x="18" y="354"/>
                    </a:lnTo>
                    <a:lnTo>
                      <a:pt x="18" y="348"/>
                    </a:lnTo>
                    <a:lnTo>
                      <a:pt x="24" y="348"/>
                    </a:lnTo>
                    <a:lnTo>
                      <a:pt x="30" y="348"/>
                    </a:lnTo>
                    <a:lnTo>
                      <a:pt x="30" y="354"/>
                    </a:lnTo>
                    <a:lnTo>
                      <a:pt x="30" y="348"/>
                    </a:lnTo>
                    <a:lnTo>
                      <a:pt x="24" y="348"/>
                    </a:lnTo>
                    <a:lnTo>
                      <a:pt x="18" y="348"/>
                    </a:lnTo>
                    <a:lnTo>
                      <a:pt x="18" y="342"/>
                    </a:lnTo>
                    <a:lnTo>
                      <a:pt x="12" y="342"/>
                    </a:lnTo>
                    <a:lnTo>
                      <a:pt x="12" y="336"/>
                    </a:lnTo>
                    <a:lnTo>
                      <a:pt x="12" y="330"/>
                    </a:lnTo>
                    <a:lnTo>
                      <a:pt x="18" y="330"/>
                    </a:lnTo>
                    <a:lnTo>
                      <a:pt x="18" y="324"/>
                    </a:lnTo>
                    <a:lnTo>
                      <a:pt x="24" y="324"/>
                    </a:lnTo>
                    <a:lnTo>
                      <a:pt x="18" y="324"/>
                    </a:lnTo>
                    <a:lnTo>
                      <a:pt x="12" y="324"/>
                    </a:lnTo>
                    <a:lnTo>
                      <a:pt x="12" y="318"/>
                    </a:lnTo>
                    <a:lnTo>
                      <a:pt x="6" y="318"/>
                    </a:lnTo>
                    <a:lnTo>
                      <a:pt x="12" y="318"/>
                    </a:lnTo>
                    <a:lnTo>
                      <a:pt x="6" y="318"/>
                    </a:lnTo>
                    <a:lnTo>
                      <a:pt x="6" y="312"/>
                    </a:lnTo>
                    <a:lnTo>
                      <a:pt x="12" y="312"/>
                    </a:lnTo>
                    <a:lnTo>
                      <a:pt x="12" y="306"/>
                    </a:lnTo>
                    <a:lnTo>
                      <a:pt x="6" y="306"/>
                    </a:lnTo>
                    <a:lnTo>
                      <a:pt x="6" y="300"/>
                    </a:lnTo>
                    <a:lnTo>
                      <a:pt x="6" y="294"/>
                    </a:lnTo>
                    <a:lnTo>
                      <a:pt x="6" y="288"/>
                    </a:lnTo>
                    <a:lnTo>
                      <a:pt x="0" y="288"/>
                    </a:lnTo>
                    <a:lnTo>
                      <a:pt x="0" y="282"/>
                    </a:lnTo>
                    <a:lnTo>
                      <a:pt x="6" y="282"/>
                    </a:lnTo>
                    <a:lnTo>
                      <a:pt x="6" y="276"/>
                    </a:lnTo>
                    <a:lnTo>
                      <a:pt x="6" y="270"/>
                    </a:lnTo>
                    <a:lnTo>
                      <a:pt x="0" y="270"/>
                    </a:lnTo>
                    <a:lnTo>
                      <a:pt x="6" y="270"/>
                    </a:lnTo>
                    <a:lnTo>
                      <a:pt x="6" y="264"/>
                    </a:lnTo>
                    <a:lnTo>
                      <a:pt x="12" y="264"/>
                    </a:lnTo>
                    <a:lnTo>
                      <a:pt x="12" y="270"/>
                    </a:lnTo>
                    <a:lnTo>
                      <a:pt x="12" y="264"/>
                    </a:lnTo>
                    <a:lnTo>
                      <a:pt x="6" y="264"/>
                    </a:lnTo>
                    <a:lnTo>
                      <a:pt x="12" y="264"/>
                    </a:lnTo>
                    <a:lnTo>
                      <a:pt x="12" y="258"/>
                    </a:lnTo>
                    <a:lnTo>
                      <a:pt x="6" y="258"/>
                    </a:lnTo>
                    <a:lnTo>
                      <a:pt x="6" y="252"/>
                    </a:lnTo>
                    <a:lnTo>
                      <a:pt x="12" y="252"/>
                    </a:lnTo>
                    <a:lnTo>
                      <a:pt x="12" y="246"/>
                    </a:lnTo>
                    <a:lnTo>
                      <a:pt x="18" y="246"/>
                    </a:lnTo>
                    <a:lnTo>
                      <a:pt x="18" y="240"/>
                    </a:lnTo>
                    <a:lnTo>
                      <a:pt x="18" y="246"/>
                    </a:lnTo>
                    <a:lnTo>
                      <a:pt x="24" y="246"/>
                    </a:lnTo>
                    <a:lnTo>
                      <a:pt x="24" y="240"/>
                    </a:lnTo>
                    <a:lnTo>
                      <a:pt x="18" y="240"/>
                    </a:lnTo>
                    <a:lnTo>
                      <a:pt x="24" y="240"/>
                    </a:lnTo>
                    <a:lnTo>
                      <a:pt x="18" y="240"/>
                    </a:lnTo>
                    <a:lnTo>
                      <a:pt x="24" y="240"/>
                    </a:lnTo>
                    <a:lnTo>
                      <a:pt x="24" y="234"/>
                    </a:lnTo>
                    <a:lnTo>
                      <a:pt x="30" y="234"/>
                    </a:lnTo>
                    <a:lnTo>
                      <a:pt x="36" y="234"/>
                    </a:lnTo>
                    <a:lnTo>
                      <a:pt x="36" y="240"/>
                    </a:lnTo>
                    <a:lnTo>
                      <a:pt x="42" y="240"/>
                    </a:lnTo>
                    <a:lnTo>
                      <a:pt x="36" y="246"/>
                    </a:lnTo>
                    <a:lnTo>
                      <a:pt x="42" y="246"/>
                    </a:lnTo>
                    <a:lnTo>
                      <a:pt x="36" y="246"/>
                    </a:lnTo>
                    <a:lnTo>
                      <a:pt x="42" y="246"/>
                    </a:lnTo>
                    <a:lnTo>
                      <a:pt x="42" y="252"/>
                    </a:lnTo>
                    <a:lnTo>
                      <a:pt x="48" y="252"/>
                    </a:lnTo>
                    <a:lnTo>
                      <a:pt x="54" y="252"/>
                    </a:lnTo>
                    <a:lnTo>
                      <a:pt x="60" y="252"/>
                    </a:lnTo>
                    <a:lnTo>
                      <a:pt x="60" y="258"/>
                    </a:lnTo>
                    <a:lnTo>
                      <a:pt x="66" y="258"/>
                    </a:lnTo>
                    <a:lnTo>
                      <a:pt x="66" y="252"/>
                    </a:lnTo>
                    <a:lnTo>
                      <a:pt x="66" y="246"/>
                    </a:lnTo>
                    <a:lnTo>
                      <a:pt x="72" y="246"/>
                    </a:lnTo>
                    <a:lnTo>
                      <a:pt x="78" y="246"/>
                    </a:lnTo>
                    <a:lnTo>
                      <a:pt x="78" y="240"/>
                    </a:lnTo>
                    <a:lnTo>
                      <a:pt x="78" y="234"/>
                    </a:lnTo>
                    <a:lnTo>
                      <a:pt x="84" y="234"/>
                    </a:lnTo>
                    <a:lnTo>
                      <a:pt x="84" y="240"/>
                    </a:lnTo>
                    <a:lnTo>
                      <a:pt x="84" y="234"/>
                    </a:lnTo>
                    <a:lnTo>
                      <a:pt x="90" y="234"/>
                    </a:lnTo>
                    <a:lnTo>
                      <a:pt x="90" y="240"/>
                    </a:lnTo>
                    <a:lnTo>
                      <a:pt x="90" y="234"/>
                    </a:lnTo>
                    <a:lnTo>
                      <a:pt x="90" y="240"/>
                    </a:lnTo>
                    <a:lnTo>
                      <a:pt x="96" y="240"/>
                    </a:lnTo>
                    <a:lnTo>
                      <a:pt x="96" y="234"/>
                    </a:lnTo>
                    <a:lnTo>
                      <a:pt x="90" y="234"/>
                    </a:lnTo>
                    <a:lnTo>
                      <a:pt x="90" y="228"/>
                    </a:lnTo>
                    <a:lnTo>
                      <a:pt x="96" y="228"/>
                    </a:lnTo>
                    <a:lnTo>
                      <a:pt x="96" y="222"/>
                    </a:lnTo>
                    <a:lnTo>
                      <a:pt x="90" y="222"/>
                    </a:lnTo>
                    <a:lnTo>
                      <a:pt x="90" y="216"/>
                    </a:lnTo>
                    <a:lnTo>
                      <a:pt x="90" y="210"/>
                    </a:lnTo>
                    <a:lnTo>
                      <a:pt x="96" y="210"/>
                    </a:lnTo>
                    <a:lnTo>
                      <a:pt x="96" y="204"/>
                    </a:lnTo>
                    <a:lnTo>
                      <a:pt x="96" y="198"/>
                    </a:lnTo>
                    <a:lnTo>
                      <a:pt x="102" y="198"/>
                    </a:lnTo>
                    <a:lnTo>
                      <a:pt x="102" y="192"/>
                    </a:lnTo>
                    <a:lnTo>
                      <a:pt x="102" y="186"/>
                    </a:lnTo>
                    <a:lnTo>
                      <a:pt x="96" y="186"/>
                    </a:lnTo>
                    <a:lnTo>
                      <a:pt x="96" y="180"/>
                    </a:lnTo>
                    <a:lnTo>
                      <a:pt x="90" y="180"/>
                    </a:lnTo>
                    <a:lnTo>
                      <a:pt x="96" y="180"/>
                    </a:lnTo>
                    <a:lnTo>
                      <a:pt x="96" y="174"/>
                    </a:lnTo>
                    <a:lnTo>
                      <a:pt x="96" y="168"/>
                    </a:lnTo>
                    <a:lnTo>
                      <a:pt x="102" y="168"/>
                    </a:lnTo>
                    <a:lnTo>
                      <a:pt x="102" y="174"/>
                    </a:lnTo>
                    <a:lnTo>
                      <a:pt x="102" y="180"/>
                    </a:lnTo>
                    <a:lnTo>
                      <a:pt x="102" y="174"/>
                    </a:lnTo>
                    <a:lnTo>
                      <a:pt x="102" y="180"/>
                    </a:lnTo>
                    <a:lnTo>
                      <a:pt x="108" y="174"/>
                    </a:lnTo>
                    <a:lnTo>
                      <a:pt x="108" y="180"/>
                    </a:lnTo>
                    <a:lnTo>
                      <a:pt x="114" y="180"/>
                    </a:lnTo>
                    <a:lnTo>
                      <a:pt x="114" y="186"/>
                    </a:lnTo>
                    <a:lnTo>
                      <a:pt x="120" y="186"/>
                    </a:lnTo>
                    <a:lnTo>
                      <a:pt x="120" y="192"/>
                    </a:lnTo>
                    <a:lnTo>
                      <a:pt x="126" y="192"/>
                    </a:lnTo>
                    <a:lnTo>
                      <a:pt x="126" y="186"/>
                    </a:lnTo>
                    <a:lnTo>
                      <a:pt x="126" y="192"/>
                    </a:lnTo>
                    <a:lnTo>
                      <a:pt x="132" y="192"/>
                    </a:lnTo>
                    <a:lnTo>
                      <a:pt x="132" y="186"/>
                    </a:lnTo>
                    <a:lnTo>
                      <a:pt x="138" y="186"/>
                    </a:lnTo>
                    <a:lnTo>
                      <a:pt x="144" y="186"/>
                    </a:lnTo>
                    <a:lnTo>
                      <a:pt x="144" y="180"/>
                    </a:lnTo>
                    <a:lnTo>
                      <a:pt x="144" y="174"/>
                    </a:lnTo>
                    <a:lnTo>
                      <a:pt x="138" y="174"/>
                    </a:lnTo>
                    <a:lnTo>
                      <a:pt x="144" y="174"/>
                    </a:lnTo>
                    <a:lnTo>
                      <a:pt x="144" y="168"/>
                    </a:lnTo>
                    <a:lnTo>
                      <a:pt x="150" y="168"/>
                    </a:lnTo>
                    <a:lnTo>
                      <a:pt x="156" y="168"/>
                    </a:lnTo>
                    <a:lnTo>
                      <a:pt x="156" y="162"/>
                    </a:lnTo>
                    <a:lnTo>
                      <a:pt x="156" y="156"/>
                    </a:lnTo>
                    <a:lnTo>
                      <a:pt x="150" y="156"/>
                    </a:lnTo>
                    <a:lnTo>
                      <a:pt x="150" y="150"/>
                    </a:lnTo>
                    <a:lnTo>
                      <a:pt x="150" y="144"/>
                    </a:lnTo>
                    <a:lnTo>
                      <a:pt x="150" y="138"/>
                    </a:lnTo>
                    <a:lnTo>
                      <a:pt x="144" y="138"/>
                    </a:lnTo>
                    <a:lnTo>
                      <a:pt x="144" y="132"/>
                    </a:lnTo>
                    <a:lnTo>
                      <a:pt x="138" y="132"/>
                    </a:lnTo>
                    <a:lnTo>
                      <a:pt x="138" y="126"/>
                    </a:lnTo>
                    <a:lnTo>
                      <a:pt x="132" y="126"/>
                    </a:lnTo>
                    <a:lnTo>
                      <a:pt x="132" y="120"/>
                    </a:lnTo>
                    <a:lnTo>
                      <a:pt x="126" y="120"/>
                    </a:lnTo>
                    <a:lnTo>
                      <a:pt x="120" y="120"/>
                    </a:lnTo>
                    <a:lnTo>
                      <a:pt x="114" y="120"/>
                    </a:lnTo>
                    <a:lnTo>
                      <a:pt x="114" y="114"/>
                    </a:lnTo>
                    <a:lnTo>
                      <a:pt x="108" y="114"/>
                    </a:lnTo>
                    <a:lnTo>
                      <a:pt x="108" y="108"/>
                    </a:lnTo>
                    <a:lnTo>
                      <a:pt x="114" y="108"/>
                    </a:lnTo>
                    <a:lnTo>
                      <a:pt x="114" y="114"/>
                    </a:lnTo>
                    <a:lnTo>
                      <a:pt x="120" y="114"/>
                    </a:lnTo>
                    <a:lnTo>
                      <a:pt x="120" y="120"/>
                    </a:lnTo>
                    <a:lnTo>
                      <a:pt x="120" y="114"/>
                    </a:lnTo>
                    <a:lnTo>
                      <a:pt x="126" y="114"/>
                    </a:lnTo>
                    <a:lnTo>
                      <a:pt x="132" y="114"/>
                    </a:lnTo>
                    <a:lnTo>
                      <a:pt x="132" y="108"/>
                    </a:lnTo>
                    <a:lnTo>
                      <a:pt x="138" y="108"/>
                    </a:lnTo>
                    <a:lnTo>
                      <a:pt x="138" y="102"/>
                    </a:lnTo>
                    <a:lnTo>
                      <a:pt x="144" y="102"/>
                    </a:lnTo>
                    <a:lnTo>
                      <a:pt x="150" y="102"/>
                    </a:lnTo>
                    <a:lnTo>
                      <a:pt x="150" y="96"/>
                    </a:lnTo>
                    <a:lnTo>
                      <a:pt x="156" y="96"/>
                    </a:lnTo>
                    <a:lnTo>
                      <a:pt x="150" y="96"/>
                    </a:lnTo>
                    <a:lnTo>
                      <a:pt x="156" y="96"/>
                    </a:lnTo>
                    <a:lnTo>
                      <a:pt x="156" y="90"/>
                    </a:lnTo>
                    <a:lnTo>
                      <a:pt x="156" y="84"/>
                    </a:lnTo>
                    <a:lnTo>
                      <a:pt x="162" y="84"/>
                    </a:lnTo>
                    <a:lnTo>
                      <a:pt x="162" y="78"/>
                    </a:lnTo>
                    <a:lnTo>
                      <a:pt x="162" y="84"/>
                    </a:lnTo>
                    <a:lnTo>
                      <a:pt x="168" y="84"/>
                    </a:lnTo>
                    <a:lnTo>
                      <a:pt x="168" y="78"/>
                    </a:lnTo>
                    <a:lnTo>
                      <a:pt x="168" y="72"/>
                    </a:lnTo>
                    <a:lnTo>
                      <a:pt x="168" y="78"/>
                    </a:lnTo>
                    <a:lnTo>
                      <a:pt x="174" y="78"/>
                    </a:lnTo>
                    <a:lnTo>
                      <a:pt x="168" y="78"/>
                    </a:lnTo>
                    <a:lnTo>
                      <a:pt x="174" y="78"/>
                    </a:lnTo>
                    <a:lnTo>
                      <a:pt x="180" y="72"/>
                    </a:lnTo>
                    <a:lnTo>
                      <a:pt x="180" y="78"/>
                    </a:lnTo>
                    <a:lnTo>
                      <a:pt x="180" y="72"/>
                    </a:lnTo>
                    <a:lnTo>
                      <a:pt x="186" y="72"/>
                    </a:lnTo>
                    <a:lnTo>
                      <a:pt x="186" y="78"/>
                    </a:lnTo>
                    <a:lnTo>
                      <a:pt x="186" y="72"/>
                    </a:lnTo>
                    <a:lnTo>
                      <a:pt x="192" y="72"/>
                    </a:lnTo>
                    <a:lnTo>
                      <a:pt x="198" y="72"/>
                    </a:lnTo>
                    <a:lnTo>
                      <a:pt x="198" y="66"/>
                    </a:lnTo>
                    <a:lnTo>
                      <a:pt x="204" y="66"/>
                    </a:lnTo>
                    <a:lnTo>
                      <a:pt x="198" y="66"/>
                    </a:lnTo>
                    <a:lnTo>
                      <a:pt x="198" y="60"/>
                    </a:lnTo>
                    <a:lnTo>
                      <a:pt x="192" y="60"/>
                    </a:lnTo>
                    <a:lnTo>
                      <a:pt x="192" y="66"/>
                    </a:lnTo>
                    <a:lnTo>
                      <a:pt x="186" y="66"/>
                    </a:lnTo>
                    <a:lnTo>
                      <a:pt x="186" y="60"/>
                    </a:lnTo>
                    <a:lnTo>
                      <a:pt x="180" y="60"/>
                    </a:lnTo>
                    <a:lnTo>
                      <a:pt x="180" y="66"/>
                    </a:lnTo>
                    <a:lnTo>
                      <a:pt x="174" y="66"/>
                    </a:lnTo>
                    <a:lnTo>
                      <a:pt x="174" y="60"/>
                    </a:lnTo>
                    <a:lnTo>
                      <a:pt x="174" y="66"/>
                    </a:lnTo>
                    <a:lnTo>
                      <a:pt x="168" y="66"/>
                    </a:lnTo>
                    <a:lnTo>
                      <a:pt x="162" y="66"/>
                    </a:lnTo>
                    <a:lnTo>
                      <a:pt x="156" y="66"/>
                    </a:lnTo>
                    <a:lnTo>
                      <a:pt x="150" y="66"/>
                    </a:lnTo>
                    <a:lnTo>
                      <a:pt x="144" y="66"/>
                    </a:lnTo>
                    <a:lnTo>
                      <a:pt x="144" y="72"/>
                    </a:lnTo>
                    <a:lnTo>
                      <a:pt x="138" y="72"/>
                    </a:lnTo>
                    <a:lnTo>
                      <a:pt x="138" y="66"/>
                    </a:lnTo>
                    <a:lnTo>
                      <a:pt x="138" y="60"/>
                    </a:lnTo>
                    <a:lnTo>
                      <a:pt x="132" y="60"/>
                    </a:lnTo>
                    <a:lnTo>
                      <a:pt x="132" y="54"/>
                    </a:lnTo>
                    <a:lnTo>
                      <a:pt x="138" y="54"/>
                    </a:lnTo>
                    <a:lnTo>
                      <a:pt x="144" y="54"/>
                    </a:lnTo>
                    <a:lnTo>
                      <a:pt x="144" y="48"/>
                    </a:lnTo>
                    <a:lnTo>
                      <a:pt x="150" y="48"/>
                    </a:lnTo>
                    <a:lnTo>
                      <a:pt x="150" y="42"/>
                    </a:lnTo>
                    <a:lnTo>
                      <a:pt x="144" y="42"/>
                    </a:lnTo>
                    <a:lnTo>
                      <a:pt x="144" y="36"/>
                    </a:lnTo>
                    <a:lnTo>
                      <a:pt x="144" y="30"/>
                    </a:lnTo>
                    <a:lnTo>
                      <a:pt x="144" y="36"/>
                    </a:lnTo>
                    <a:lnTo>
                      <a:pt x="144" y="30"/>
                    </a:lnTo>
                    <a:lnTo>
                      <a:pt x="138" y="30"/>
                    </a:lnTo>
                    <a:lnTo>
                      <a:pt x="138" y="24"/>
                    </a:lnTo>
                    <a:lnTo>
                      <a:pt x="144" y="24"/>
                    </a:lnTo>
                    <a:lnTo>
                      <a:pt x="150" y="24"/>
                    </a:lnTo>
                    <a:lnTo>
                      <a:pt x="156" y="24"/>
                    </a:lnTo>
                    <a:lnTo>
                      <a:pt x="156" y="18"/>
                    </a:lnTo>
                    <a:lnTo>
                      <a:pt x="162" y="18"/>
                    </a:lnTo>
                    <a:lnTo>
                      <a:pt x="168" y="18"/>
                    </a:lnTo>
                    <a:lnTo>
                      <a:pt x="174" y="12"/>
                    </a:lnTo>
                    <a:lnTo>
                      <a:pt x="180" y="12"/>
                    </a:lnTo>
                    <a:lnTo>
                      <a:pt x="186" y="12"/>
                    </a:lnTo>
                    <a:lnTo>
                      <a:pt x="186" y="18"/>
                    </a:lnTo>
                    <a:lnTo>
                      <a:pt x="192" y="18"/>
                    </a:lnTo>
                    <a:lnTo>
                      <a:pt x="192" y="12"/>
                    </a:lnTo>
                    <a:lnTo>
                      <a:pt x="198" y="18"/>
                    </a:lnTo>
                    <a:lnTo>
                      <a:pt x="198" y="12"/>
                    </a:lnTo>
                    <a:lnTo>
                      <a:pt x="204" y="12"/>
                    </a:lnTo>
                    <a:lnTo>
                      <a:pt x="204" y="6"/>
                    </a:lnTo>
                    <a:lnTo>
                      <a:pt x="210" y="6"/>
                    </a:lnTo>
                    <a:lnTo>
                      <a:pt x="210" y="0"/>
                    </a:lnTo>
                    <a:lnTo>
                      <a:pt x="216" y="0"/>
                    </a:lnTo>
                    <a:lnTo>
                      <a:pt x="216" y="6"/>
                    </a:lnTo>
                    <a:lnTo>
                      <a:pt x="216" y="12"/>
                    </a:lnTo>
                    <a:lnTo>
                      <a:pt x="222" y="12"/>
                    </a:lnTo>
                    <a:lnTo>
                      <a:pt x="222" y="18"/>
                    </a:lnTo>
                    <a:lnTo>
                      <a:pt x="228" y="18"/>
                    </a:lnTo>
                    <a:lnTo>
                      <a:pt x="222" y="18"/>
                    </a:lnTo>
                    <a:lnTo>
                      <a:pt x="222" y="24"/>
                    </a:lnTo>
                    <a:lnTo>
                      <a:pt x="222" y="30"/>
                    </a:lnTo>
                    <a:lnTo>
                      <a:pt x="222" y="36"/>
                    </a:lnTo>
                    <a:lnTo>
                      <a:pt x="222" y="42"/>
                    </a:lnTo>
                    <a:lnTo>
                      <a:pt x="228" y="42"/>
                    </a:lnTo>
                    <a:lnTo>
                      <a:pt x="228" y="48"/>
                    </a:lnTo>
                    <a:lnTo>
                      <a:pt x="234" y="48"/>
                    </a:lnTo>
                    <a:lnTo>
                      <a:pt x="240" y="48"/>
                    </a:lnTo>
                    <a:lnTo>
                      <a:pt x="240" y="54"/>
                    </a:lnTo>
                    <a:lnTo>
                      <a:pt x="246" y="54"/>
                    </a:lnTo>
                    <a:lnTo>
                      <a:pt x="252" y="54"/>
                    </a:lnTo>
                    <a:lnTo>
                      <a:pt x="258" y="54"/>
                    </a:lnTo>
                    <a:lnTo>
                      <a:pt x="264" y="54"/>
                    </a:lnTo>
                    <a:lnTo>
                      <a:pt x="270" y="54"/>
                    </a:lnTo>
                    <a:lnTo>
                      <a:pt x="276" y="60"/>
                    </a:lnTo>
                    <a:lnTo>
                      <a:pt x="282" y="60"/>
                    </a:lnTo>
                    <a:lnTo>
                      <a:pt x="288" y="60"/>
                    </a:lnTo>
                    <a:lnTo>
                      <a:pt x="288" y="66"/>
                    </a:lnTo>
                    <a:lnTo>
                      <a:pt x="294" y="66"/>
                    </a:lnTo>
                    <a:lnTo>
                      <a:pt x="294" y="72"/>
                    </a:lnTo>
                    <a:lnTo>
                      <a:pt x="294" y="78"/>
                    </a:lnTo>
                    <a:lnTo>
                      <a:pt x="300" y="78"/>
                    </a:lnTo>
                    <a:lnTo>
                      <a:pt x="306" y="78"/>
                    </a:lnTo>
                    <a:lnTo>
                      <a:pt x="306" y="84"/>
                    </a:lnTo>
                    <a:lnTo>
                      <a:pt x="312" y="84"/>
                    </a:lnTo>
                    <a:lnTo>
                      <a:pt x="318" y="84"/>
                    </a:lnTo>
                    <a:lnTo>
                      <a:pt x="324" y="84"/>
                    </a:lnTo>
                    <a:lnTo>
                      <a:pt x="330" y="84"/>
                    </a:lnTo>
                    <a:lnTo>
                      <a:pt x="336" y="84"/>
                    </a:lnTo>
                    <a:lnTo>
                      <a:pt x="342" y="84"/>
                    </a:lnTo>
                    <a:lnTo>
                      <a:pt x="348" y="84"/>
                    </a:lnTo>
                    <a:lnTo>
                      <a:pt x="348" y="90"/>
                    </a:lnTo>
                    <a:lnTo>
                      <a:pt x="348" y="84"/>
                    </a:lnTo>
                    <a:lnTo>
                      <a:pt x="348" y="90"/>
                    </a:lnTo>
                    <a:lnTo>
                      <a:pt x="348" y="84"/>
                    </a:lnTo>
                    <a:lnTo>
                      <a:pt x="354" y="84"/>
                    </a:lnTo>
                    <a:lnTo>
                      <a:pt x="360" y="84"/>
                    </a:lnTo>
                    <a:lnTo>
                      <a:pt x="366" y="84"/>
                    </a:lnTo>
                    <a:lnTo>
                      <a:pt x="372" y="84"/>
                    </a:lnTo>
                    <a:lnTo>
                      <a:pt x="378" y="84"/>
                    </a:lnTo>
                    <a:lnTo>
                      <a:pt x="384" y="84"/>
                    </a:lnTo>
                    <a:lnTo>
                      <a:pt x="390" y="84"/>
                    </a:lnTo>
                    <a:lnTo>
                      <a:pt x="396" y="84"/>
                    </a:lnTo>
                    <a:lnTo>
                      <a:pt x="402" y="84"/>
                    </a:lnTo>
                    <a:lnTo>
                      <a:pt x="402" y="90"/>
                    </a:lnTo>
                    <a:lnTo>
                      <a:pt x="408" y="90"/>
                    </a:lnTo>
                    <a:lnTo>
                      <a:pt x="414" y="90"/>
                    </a:lnTo>
                    <a:lnTo>
                      <a:pt x="414" y="96"/>
                    </a:lnTo>
                    <a:lnTo>
                      <a:pt x="420" y="96"/>
                    </a:lnTo>
                    <a:lnTo>
                      <a:pt x="420" y="102"/>
                    </a:lnTo>
                    <a:lnTo>
                      <a:pt x="420" y="108"/>
                    </a:lnTo>
                    <a:lnTo>
                      <a:pt x="420" y="114"/>
                    </a:lnTo>
                    <a:lnTo>
                      <a:pt x="414" y="114"/>
                    </a:lnTo>
                    <a:lnTo>
                      <a:pt x="420" y="114"/>
                    </a:lnTo>
                    <a:lnTo>
                      <a:pt x="420" y="120"/>
                    </a:lnTo>
                    <a:lnTo>
                      <a:pt x="420" y="126"/>
                    </a:lnTo>
                    <a:lnTo>
                      <a:pt x="426" y="126"/>
                    </a:lnTo>
                    <a:lnTo>
                      <a:pt x="432" y="126"/>
                    </a:lnTo>
                    <a:lnTo>
                      <a:pt x="438" y="126"/>
                    </a:lnTo>
                    <a:lnTo>
                      <a:pt x="444" y="126"/>
                    </a:lnTo>
                    <a:lnTo>
                      <a:pt x="450" y="126"/>
                    </a:lnTo>
                    <a:lnTo>
                      <a:pt x="450" y="120"/>
                    </a:lnTo>
                    <a:lnTo>
                      <a:pt x="456" y="120"/>
                    </a:lnTo>
                    <a:lnTo>
                      <a:pt x="456" y="114"/>
                    </a:lnTo>
                    <a:lnTo>
                      <a:pt x="456" y="108"/>
                    </a:lnTo>
                    <a:lnTo>
                      <a:pt x="462" y="108"/>
                    </a:lnTo>
                    <a:lnTo>
                      <a:pt x="462" y="114"/>
                    </a:lnTo>
                    <a:lnTo>
                      <a:pt x="468" y="114"/>
                    </a:lnTo>
                    <a:lnTo>
                      <a:pt x="468" y="108"/>
                    </a:lnTo>
                    <a:lnTo>
                      <a:pt x="474" y="108"/>
                    </a:lnTo>
                    <a:lnTo>
                      <a:pt x="480" y="108"/>
                    </a:lnTo>
                    <a:lnTo>
                      <a:pt x="474" y="108"/>
                    </a:lnTo>
                    <a:lnTo>
                      <a:pt x="480" y="108"/>
                    </a:lnTo>
                    <a:lnTo>
                      <a:pt x="480" y="102"/>
                    </a:lnTo>
                    <a:lnTo>
                      <a:pt x="480" y="96"/>
                    </a:lnTo>
                    <a:lnTo>
                      <a:pt x="474" y="96"/>
                    </a:lnTo>
                    <a:lnTo>
                      <a:pt x="474" y="90"/>
                    </a:lnTo>
                    <a:lnTo>
                      <a:pt x="480" y="90"/>
                    </a:lnTo>
                    <a:lnTo>
                      <a:pt x="480" y="84"/>
                    </a:lnTo>
                    <a:lnTo>
                      <a:pt x="486" y="84"/>
                    </a:lnTo>
                    <a:lnTo>
                      <a:pt x="492" y="84"/>
                    </a:lnTo>
                    <a:lnTo>
                      <a:pt x="492" y="78"/>
                    </a:lnTo>
                    <a:lnTo>
                      <a:pt x="492" y="72"/>
                    </a:lnTo>
                    <a:lnTo>
                      <a:pt x="498" y="72"/>
                    </a:lnTo>
                    <a:lnTo>
                      <a:pt x="492" y="72"/>
                    </a:lnTo>
                    <a:lnTo>
                      <a:pt x="492" y="66"/>
                    </a:lnTo>
                    <a:lnTo>
                      <a:pt x="498" y="66"/>
                    </a:lnTo>
                    <a:lnTo>
                      <a:pt x="492" y="66"/>
                    </a:lnTo>
                    <a:lnTo>
                      <a:pt x="492" y="60"/>
                    </a:lnTo>
                    <a:lnTo>
                      <a:pt x="498" y="60"/>
                    </a:lnTo>
                    <a:lnTo>
                      <a:pt x="504" y="60"/>
                    </a:lnTo>
                    <a:lnTo>
                      <a:pt x="504" y="54"/>
                    </a:lnTo>
                    <a:lnTo>
                      <a:pt x="504" y="60"/>
                    </a:lnTo>
                    <a:lnTo>
                      <a:pt x="510" y="60"/>
                    </a:lnTo>
                    <a:lnTo>
                      <a:pt x="510" y="54"/>
                    </a:lnTo>
                    <a:lnTo>
                      <a:pt x="516" y="54"/>
                    </a:lnTo>
                    <a:lnTo>
                      <a:pt x="516" y="48"/>
                    </a:lnTo>
                    <a:lnTo>
                      <a:pt x="522" y="48"/>
                    </a:lnTo>
                    <a:lnTo>
                      <a:pt x="528" y="48"/>
                    </a:lnTo>
                    <a:lnTo>
                      <a:pt x="528" y="42"/>
                    </a:lnTo>
                    <a:lnTo>
                      <a:pt x="522" y="42"/>
                    </a:lnTo>
                    <a:lnTo>
                      <a:pt x="522" y="36"/>
                    </a:lnTo>
                    <a:lnTo>
                      <a:pt x="528" y="36"/>
                    </a:lnTo>
                    <a:lnTo>
                      <a:pt x="528" y="42"/>
                    </a:lnTo>
                    <a:lnTo>
                      <a:pt x="534" y="42"/>
                    </a:lnTo>
                    <a:lnTo>
                      <a:pt x="540" y="42"/>
                    </a:lnTo>
                    <a:lnTo>
                      <a:pt x="546" y="42"/>
                    </a:lnTo>
                    <a:lnTo>
                      <a:pt x="552" y="42"/>
                    </a:lnTo>
                    <a:lnTo>
                      <a:pt x="558" y="42"/>
                    </a:lnTo>
                    <a:lnTo>
                      <a:pt x="564" y="42"/>
                    </a:lnTo>
                    <a:lnTo>
                      <a:pt x="570" y="42"/>
                    </a:lnTo>
                    <a:lnTo>
                      <a:pt x="570" y="36"/>
                    </a:lnTo>
                    <a:lnTo>
                      <a:pt x="570" y="42"/>
                    </a:lnTo>
                    <a:lnTo>
                      <a:pt x="570" y="36"/>
                    </a:lnTo>
                    <a:lnTo>
                      <a:pt x="570" y="42"/>
                    </a:lnTo>
                    <a:lnTo>
                      <a:pt x="570" y="36"/>
                    </a:lnTo>
                    <a:lnTo>
                      <a:pt x="576" y="42"/>
                    </a:lnTo>
                    <a:lnTo>
                      <a:pt x="582" y="42"/>
                    </a:lnTo>
                    <a:lnTo>
                      <a:pt x="582" y="48"/>
                    </a:lnTo>
                    <a:lnTo>
                      <a:pt x="588" y="48"/>
                    </a:lnTo>
                    <a:lnTo>
                      <a:pt x="582" y="48"/>
                    </a:lnTo>
                    <a:lnTo>
                      <a:pt x="588" y="48"/>
                    </a:lnTo>
                    <a:lnTo>
                      <a:pt x="588" y="54"/>
                    </a:lnTo>
                    <a:lnTo>
                      <a:pt x="588" y="60"/>
                    </a:lnTo>
                    <a:lnTo>
                      <a:pt x="582" y="60"/>
                    </a:lnTo>
                    <a:lnTo>
                      <a:pt x="588" y="60"/>
                    </a:lnTo>
                    <a:lnTo>
                      <a:pt x="588" y="66"/>
                    </a:lnTo>
                    <a:lnTo>
                      <a:pt x="582" y="66"/>
                    </a:lnTo>
                    <a:lnTo>
                      <a:pt x="576" y="66"/>
                    </a:lnTo>
                    <a:lnTo>
                      <a:pt x="570" y="66"/>
                    </a:lnTo>
                    <a:lnTo>
                      <a:pt x="570" y="72"/>
                    </a:lnTo>
                    <a:lnTo>
                      <a:pt x="570" y="78"/>
                    </a:lnTo>
                    <a:lnTo>
                      <a:pt x="576" y="78"/>
                    </a:lnTo>
                    <a:lnTo>
                      <a:pt x="576" y="84"/>
                    </a:lnTo>
                    <a:lnTo>
                      <a:pt x="582" y="84"/>
                    </a:lnTo>
                    <a:lnTo>
                      <a:pt x="588" y="84"/>
                    </a:lnTo>
                    <a:lnTo>
                      <a:pt x="594" y="84"/>
                    </a:lnTo>
                    <a:lnTo>
                      <a:pt x="594" y="90"/>
                    </a:lnTo>
                    <a:lnTo>
                      <a:pt x="600" y="90"/>
                    </a:lnTo>
                    <a:lnTo>
                      <a:pt x="606" y="90"/>
                    </a:lnTo>
                    <a:lnTo>
                      <a:pt x="612" y="90"/>
                    </a:lnTo>
                    <a:lnTo>
                      <a:pt x="612" y="84"/>
                    </a:lnTo>
                    <a:lnTo>
                      <a:pt x="618" y="84"/>
                    </a:lnTo>
                    <a:lnTo>
                      <a:pt x="624" y="84"/>
                    </a:lnTo>
                    <a:lnTo>
                      <a:pt x="630" y="84"/>
                    </a:lnTo>
                    <a:lnTo>
                      <a:pt x="636" y="84"/>
                    </a:lnTo>
                    <a:lnTo>
                      <a:pt x="642" y="84"/>
                    </a:lnTo>
                    <a:lnTo>
                      <a:pt x="642" y="78"/>
                    </a:lnTo>
                    <a:lnTo>
                      <a:pt x="648" y="78"/>
                    </a:lnTo>
                    <a:lnTo>
                      <a:pt x="654" y="78"/>
                    </a:lnTo>
                    <a:lnTo>
                      <a:pt x="654" y="72"/>
                    </a:lnTo>
                    <a:lnTo>
                      <a:pt x="660" y="72"/>
                    </a:lnTo>
                    <a:lnTo>
                      <a:pt x="660" y="66"/>
                    </a:lnTo>
                    <a:lnTo>
                      <a:pt x="666" y="66"/>
                    </a:lnTo>
                    <a:lnTo>
                      <a:pt x="666" y="60"/>
                    </a:lnTo>
                    <a:lnTo>
                      <a:pt x="672" y="60"/>
                    </a:lnTo>
                    <a:lnTo>
                      <a:pt x="678" y="60"/>
                    </a:lnTo>
                    <a:lnTo>
                      <a:pt x="684" y="60"/>
                    </a:lnTo>
                    <a:lnTo>
                      <a:pt x="684" y="54"/>
                    </a:lnTo>
                    <a:lnTo>
                      <a:pt x="690" y="54"/>
                    </a:lnTo>
                    <a:lnTo>
                      <a:pt x="690" y="60"/>
                    </a:lnTo>
                    <a:lnTo>
                      <a:pt x="690" y="66"/>
                    </a:lnTo>
                    <a:lnTo>
                      <a:pt x="690" y="72"/>
                    </a:lnTo>
                    <a:lnTo>
                      <a:pt x="696" y="72"/>
                    </a:lnTo>
                    <a:lnTo>
                      <a:pt x="696" y="66"/>
                    </a:lnTo>
                    <a:lnTo>
                      <a:pt x="702" y="66"/>
                    </a:lnTo>
                    <a:lnTo>
                      <a:pt x="708" y="66"/>
                    </a:lnTo>
                    <a:lnTo>
                      <a:pt x="708" y="72"/>
                    </a:lnTo>
                    <a:lnTo>
                      <a:pt x="714" y="72"/>
                    </a:lnTo>
                    <a:lnTo>
                      <a:pt x="720" y="72"/>
                    </a:lnTo>
                    <a:lnTo>
                      <a:pt x="726" y="72"/>
                    </a:lnTo>
                    <a:lnTo>
                      <a:pt x="726" y="78"/>
                    </a:lnTo>
                    <a:lnTo>
                      <a:pt x="726" y="72"/>
                    </a:lnTo>
                    <a:lnTo>
                      <a:pt x="732" y="72"/>
                    </a:lnTo>
                    <a:lnTo>
                      <a:pt x="738" y="72"/>
                    </a:lnTo>
                    <a:lnTo>
                      <a:pt x="744" y="72"/>
                    </a:lnTo>
                    <a:lnTo>
                      <a:pt x="750" y="72"/>
                    </a:lnTo>
                    <a:lnTo>
                      <a:pt x="750" y="66"/>
                    </a:lnTo>
                    <a:lnTo>
                      <a:pt x="750" y="60"/>
                    </a:lnTo>
                    <a:lnTo>
                      <a:pt x="756" y="60"/>
                    </a:lnTo>
                    <a:lnTo>
                      <a:pt x="756" y="54"/>
                    </a:lnTo>
                    <a:lnTo>
                      <a:pt x="762" y="54"/>
                    </a:lnTo>
                    <a:lnTo>
                      <a:pt x="762" y="60"/>
                    </a:lnTo>
                    <a:lnTo>
                      <a:pt x="768" y="60"/>
                    </a:lnTo>
                    <a:lnTo>
                      <a:pt x="774" y="60"/>
                    </a:lnTo>
                    <a:lnTo>
                      <a:pt x="774" y="54"/>
                    </a:lnTo>
                    <a:lnTo>
                      <a:pt x="774" y="48"/>
                    </a:lnTo>
                    <a:lnTo>
                      <a:pt x="780" y="48"/>
                    </a:lnTo>
                    <a:lnTo>
                      <a:pt x="780" y="54"/>
                    </a:lnTo>
                    <a:lnTo>
                      <a:pt x="786" y="54"/>
                    </a:lnTo>
                    <a:lnTo>
                      <a:pt x="786" y="48"/>
                    </a:lnTo>
                    <a:lnTo>
                      <a:pt x="786" y="42"/>
                    </a:lnTo>
                    <a:lnTo>
                      <a:pt x="792" y="42"/>
                    </a:lnTo>
                    <a:lnTo>
                      <a:pt x="792" y="48"/>
                    </a:lnTo>
                    <a:lnTo>
                      <a:pt x="798" y="48"/>
                    </a:lnTo>
                    <a:lnTo>
                      <a:pt x="804" y="48"/>
                    </a:lnTo>
                    <a:lnTo>
                      <a:pt x="810" y="48"/>
                    </a:lnTo>
                    <a:lnTo>
                      <a:pt x="816" y="48"/>
                    </a:lnTo>
                    <a:lnTo>
                      <a:pt x="822" y="54"/>
                    </a:lnTo>
                    <a:lnTo>
                      <a:pt x="822" y="60"/>
                    </a:lnTo>
                    <a:lnTo>
                      <a:pt x="822" y="66"/>
                    </a:lnTo>
                    <a:lnTo>
                      <a:pt x="828" y="66"/>
                    </a:lnTo>
                    <a:lnTo>
                      <a:pt x="834" y="66"/>
                    </a:lnTo>
                    <a:lnTo>
                      <a:pt x="840" y="66"/>
                    </a:lnTo>
                    <a:lnTo>
                      <a:pt x="840" y="60"/>
                    </a:lnTo>
                    <a:lnTo>
                      <a:pt x="846" y="60"/>
                    </a:lnTo>
                    <a:lnTo>
                      <a:pt x="852" y="60"/>
                    </a:lnTo>
                    <a:lnTo>
                      <a:pt x="858" y="60"/>
                    </a:lnTo>
                    <a:lnTo>
                      <a:pt x="858" y="66"/>
                    </a:lnTo>
                    <a:lnTo>
                      <a:pt x="864" y="66"/>
                    </a:lnTo>
                    <a:lnTo>
                      <a:pt x="870" y="66"/>
                    </a:lnTo>
                    <a:lnTo>
                      <a:pt x="876" y="60"/>
                    </a:lnTo>
                    <a:lnTo>
                      <a:pt x="876" y="66"/>
                    </a:lnTo>
                    <a:lnTo>
                      <a:pt x="876" y="60"/>
                    </a:lnTo>
                    <a:lnTo>
                      <a:pt x="876" y="66"/>
                    </a:lnTo>
                    <a:lnTo>
                      <a:pt x="882" y="66"/>
                    </a:lnTo>
                    <a:lnTo>
                      <a:pt x="888" y="66"/>
                    </a:lnTo>
                    <a:lnTo>
                      <a:pt x="888" y="60"/>
                    </a:lnTo>
                    <a:lnTo>
                      <a:pt x="894" y="60"/>
                    </a:lnTo>
                    <a:lnTo>
                      <a:pt x="894" y="54"/>
                    </a:lnTo>
                    <a:lnTo>
                      <a:pt x="894" y="60"/>
                    </a:lnTo>
                    <a:lnTo>
                      <a:pt x="900" y="54"/>
                    </a:lnTo>
                    <a:lnTo>
                      <a:pt x="906" y="54"/>
                    </a:lnTo>
                    <a:lnTo>
                      <a:pt x="912" y="54"/>
                    </a:lnTo>
                    <a:lnTo>
                      <a:pt x="912" y="60"/>
                    </a:lnTo>
                    <a:lnTo>
                      <a:pt x="918" y="60"/>
                    </a:lnTo>
                    <a:lnTo>
                      <a:pt x="918" y="66"/>
                    </a:lnTo>
                    <a:lnTo>
                      <a:pt x="924" y="66"/>
                    </a:lnTo>
                    <a:lnTo>
                      <a:pt x="924" y="72"/>
                    </a:lnTo>
                    <a:lnTo>
                      <a:pt x="930" y="72"/>
                    </a:lnTo>
                    <a:lnTo>
                      <a:pt x="930" y="78"/>
                    </a:lnTo>
                    <a:lnTo>
                      <a:pt x="924" y="78"/>
                    </a:lnTo>
                    <a:lnTo>
                      <a:pt x="930" y="78"/>
                    </a:lnTo>
                    <a:lnTo>
                      <a:pt x="930" y="84"/>
                    </a:lnTo>
                    <a:lnTo>
                      <a:pt x="924" y="84"/>
                    </a:lnTo>
                    <a:lnTo>
                      <a:pt x="930" y="84"/>
                    </a:lnTo>
                    <a:lnTo>
                      <a:pt x="930" y="90"/>
                    </a:lnTo>
                    <a:lnTo>
                      <a:pt x="930" y="84"/>
                    </a:lnTo>
                    <a:lnTo>
                      <a:pt x="936" y="84"/>
                    </a:lnTo>
                    <a:lnTo>
                      <a:pt x="942" y="84"/>
                    </a:lnTo>
                    <a:lnTo>
                      <a:pt x="942" y="90"/>
                    </a:lnTo>
                    <a:lnTo>
                      <a:pt x="948" y="90"/>
                    </a:lnTo>
                    <a:lnTo>
                      <a:pt x="948" y="96"/>
                    </a:lnTo>
                    <a:lnTo>
                      <a:pt x="954" y="96"/>
                    </a:lnTo>
                    <a:lnTo>
                      <a:pt x="954" y="90"/>
                    </a:lnTo>
                    <a:lnTo>
                      <a:pt x="954" y="96"/>
                    </a:lnTo>
                    <a:lnTo>
                      <a:pt x="954" y="90"/>
                    </a:lnTo>
                    <a:lnTo>
                      <a:pt x="960" y="90"/>
                    </a:lnTo>
                    <a:lnTo>
                      <a:pt x="960" y="96"/>
                    </a:lnTo>
                    <a:lnTo>
                      <a:pt x="954" y="102"/>
                    </a:lnTo>
                    <a:lnTo>
                      <a:pt x="954" y="108"/>
                    </a:lnTo>
                    <a:lnTo>
                      <a:pt x="948" y="108"/>
                    </a:lnTo>
                    <a:lnTo>
                      <a:pt x="942" y="108"/>
                    </a:lnTo>
                    <a:lnTo>
                      <a:pt x="942" y="114"/>
                    </a:lnTo>
                    <a:lnTo>
                      <a:pt x="942" y="108"/>
                    </a:lnTo>
                    <a:lnTo>
                      <a:pt x="936" y="114"/>
                    </a:lnTo>
                    <a:lnTo>
                      <a:pt x="936" y="108"/>
                    </a:lnTo>
                    <a:lnTo>
                      <a:pt x="936" y="114"/>
                    </a:lnTo>
                    <a:lnTo>
                      <a:pt x="930" y="120"/>
                    </a:lnTo>
                    <a:lnTo>
                      <a:pt x="936" y="120"/>
                    </a:lnTo>
                    <a:lnTo>
                      <a:pt x="930" y="120"/>
                    </a:lnTo>
                    <a:lnTo>
                      <a:pt x="930" y="126"/>
                    </a:lnTo>
                    <a:lnTo>
                      <a:pt x="930" y="132"/>
                    </a:lnTo>
                    <a:lnTo>
                      <a:pt x="930" y="138"/>
                    </a:lnTo>
                    <a:lnTo>
                      <a:pt x="930" y="144"/>
                    </a:lnTo>
                    <a:lnTo>
                      <a:pt x="936" y="144"/>
                    </a:lnTo>
                    <a:lnTo>
                      <a:pt x="942" y="144"/>
                    </a:lnTo>
                    <a:lnTo>
                      <a:pt x="942" y="150"/>
                    </a:lnTo>
                    <a:lnTo>
                      <a:pt x="948" y="150"/>
                    </a:lnTo>
                    <a:lnTo>
                      <a:pt x="948" y="156"/>
                    </a:lnTo>
                    <a:lnTo>
                      <a:pt x="942" y="162"/>
                    </a:lnTo>
                    <a:lnTo>
                      <a:pt x="942" y="168"/>
                    </a:lnTo>
                    <a:lnTo>
                      <a:pt x="948" y="168"/>
                    </a:lnTo>
                    <a:lnTo>
                      <a:pt x="948" y="174"/>
                    </a:lnTo>
                    <a:lnTo>
                      <a:pt x="942" y="174"/>
                    </a:lnTo>
                    <a:lnTo>
                      <a:pt x="942" y="180"/>
                    </a:lnTo>
                    <a:lnTo>
                      <a:pt x="936" y="180"/>
                    </a:lnTo>
                    <a:lnTo>
                      <a:pt x="936" y="186"/>
                    </a:lnTo>
                    <a:lnTo>
                      <a:pt x="942" y="186"/>
                    </a:lnTo>
                    <a:lnTo>
                      <a:pt x="948" y="186"/>
                    </a:lnTo>
                    <a:lnTo>
                      <a:pt x="954" y="186"/>
                    </a:lnTo>
                    <a:lnTo>
                      <a:pt x="954" y="192"/>
                    </a:lnTo>
                    <a:lnTo>
                      <a:pt x="954" y="198"/>
                    </a:lnTo>
                    <a:lnTo>
                      <a:pt x="954" y="204"/>
                    </a:lnTo>
                    <a:lnTo>
                      <a:pt x="954" y="210"/>
                    </a:lnTo>
                    <a:lnTo>
                      <a:pt x="948" y="210"/>
                    </a:lnTo>
                    <a:lnTo>
                      <a:pt x="948" y="216"/>
                    </a:lnTo>
                    <a:lnTo>
                      <a:pt x="954" y="216"/>
                    </a:lnTo>
                    <a:lnTo>
                      <a:pt x="954" y="222"/>
                    </a:lnTo>
                    <a:lnTo>
                      <a:pt x="948" y="222"/>
                    </a:lnTo>
                    <a:lnTo>
                      <a:pt x="942" y="222"/>
                    </a:lnTo>
                    <a:lnTo>
                      <a:pt x="942" y="228"/>
                    </a:lnTo>
                    <a:lnTo>
                      <a:pt x="936" y="228"/>
                    </a:lnTo>
                    <a:lnTo>
                      <a:pt x="930" y="228"/>
                    </a:lnTo>
                    <a:lnTo>
                      <a:pt x="924" y="228"/>
                    </a:lnTo>
                    <a:lnTo>
                      <a:pt x="924" y="234"/>
                    </a:lnTo>
                    <a:lnTo>
                      <a:pt x="930" y="234"/>
                    </a:lnTo>
                    <a:lnTo>
                      <a:pt x="930" y="240"/>
                    </a:lnTo>
                    <a:lnTo>
                      <a:pt x="924" y="240"/>
                    </a:lnTo>
                    <a:lnTo>
                      <a:pt x="924" y="246"/>
                    </a:lnTo>
                    <a:lnTo>
                      <a:pt x="930" y="246"/>
                    </a:lnTo>
                    <a:lnTo>
                      <a:pt x="936" y="246"/>
                    </a:lnTo>
                    <a:lnTo>
                      <a:pt x="942" y="246"/>
                    </a:lnTo>
                    <a:lnTo>
                      <a:pt x="942" y="252"/>
                    </a:lnTo>
                    <a:lnTo>
                      <a:pt x="948" y="252"/>
                    </a:lnTo>
                    <a:lnTo>
                      <a:pt x="942" y="252"/>
                    </a:lnTo>
                    <a:lnTo>
                      <a:pt x="942" y="258"/>
                    </a:lnTo>
                    <a:lnTo>
                      <a:pt x="942" y="264"/>
                    </a:lnTo>
                    <a:lnTo>
                      <a:pt x="942" y="270"/>
                    </a:lnTo>
                    <a:lnTo>
                      <a:pt x="936" y="270"/>
                    </a:lnTo>
                    <a:lnTo>
                      <a:pt x="930" y="270"/>
                    </a:lnTo>
                    <a:lnTo>
                      <a:pt x="930" y="276"/>
                    </a:lnTo>
                    <a:lnTo>
                      <a:pt x="936" y="276"/>
                    </a:lnTo>
                    <a:lnTo>
                      <a:pt x="936" y="282"/>
                    </a:lnTo>
                    <a:lnTo>
                      <a:pt x="930" y="282"/>
                    </a:lnTo>
                    <a:lnTo>
                      <a:pt x="930" y="288"/>
                    </a:lnTo>
                    <a:lnTo>
                      <a:pt x="924" y="288"/>
                    </a:lnTo>
                    <a:lnTo>
                      <a:pt x="930" y="288"/>
                    </a:lnTo>
                    <a:lnTo>
                      <a:pt x="924" y="288"/>
                    </a:lnTo>
                    <a:lnTo>
                      <a:pt x="930" y="288"/>
                    </a:lnTo>
                    <a:lnTo>
                      <a:pt x="936" y="288"/>
                    </a:lnTo>
                    <a:lnTo>
                      <a:pt x="936" y="294"/>
                    </a:lnTo>
                    <a:lnTo>
                      <a:pt x="936" y="288"/>
                    </a:lnTo>
                    <a:lnTo>
                      <a:pt x="936" y="282"/>
                    </a:lnTo>
                    <a:lnTo>
                      <a:pt x="942" y="282"/>
                    </a:lnTo>
                    <a:lnTo>
                      <a:pt x="942" y="288"/>
                    </a:lnTo>
                    <a:lnTo>
                      <a:pt x="942" y="294"/>
                    </a:lnTo>
                    <a:lnTo>
                      <a:pt x="948" y="294"/>
                    </a:lnTo>
                    <a:lnTo>
                      <a:pt x="954" y="294"/>
                    </a:lnTo>
                    <a:lnTo>
                      <a:pt x="954" y="300"/>
                    </a:lnTo>
                    <a:lnTo>
                      <a:pt x="954" y="294"/>
                    </a:lnTo>
                    <a:lnTo>
                      <a:pt x="954" y="300"/>
                    </a:lnTo>
                    <a:lnTo>
                      <a:pt x="954" y="294"/>
                    </a:lnTo>
                    <a:lnTo>
                      <a:pt x="954" y="300"/>
                    </a:lnTo>
                    <a:lnTo>
                      <a:pt x="960" y="300"/>
                    </a:lnTo>
                    <a:lnTo>
                      <a:pt x="960" y="306"/>
                    </a:lnTo>
                    <a:lnTo>
                      <a:pt x="960" y="312"/>
                    </a:lnTo>
                    <a:lnTo>
                      <a:pt x="966" y="312"/>
                    </a:lnTo>
                    <a:lnTo>
                      <a:pt x="972" y="312"/>
                    </a:lnTo>
                    <a:lnTo>
                      <a:pt x="972" y="318"/>
                    </a:lnTo>
                    <a:lnTo>
                      <a:pt x="978" y="318"/>
                    </a:lnTo>
                    <a:lnTo>
                      <a:pt x="978" y="324"/>
                    </a:lnTo>
                    <a:lnTo>
                      <a:pt x="984" y="324"/>
                    </a:lnTo>
                    <a:lnTo>
                      <a:pt x="984" y="330"/>
                    </a:lnTo>
                    <a:lnTo>
                      <a:pt x="978" y="330"/>
                    </a:lnTo>
                    <a:lnTo>
                      <a:pt x="978" y="336"/>
                    </a:lnTo>
                    <a:lnTo>
                      <a:pt x="972" y="336"/>
                    </a:lnTo>
                    <a:lnTo>
                      <a:pt x="978" y="336"/>
                    </a:lnTo>
                    <a:lnTo>
                      <a:pt x="978" y="342"/>
                    </a:lnTo>
                    <a:lnTo>
                      <a:pt x="978" y="348"/>
                    </a:lnTo>
                    <a:lnTo>
                      <a:pt x="972" y="348"/>
                    </a:lnTo>
                    <a:lnTo>
                      <a:pt x="972" y="354"/>
                    </a:lnTo>
                    <a:lnTo>
                      <a:pt x="966" y="354"/>
                    </a:lnTo>
                    <a:lnTo>
                      <a:pt x="960" y="354"/>
                    </a:lnTo>
                    <a:lnTo>
                      <a:pt x="960" y="348"/>
                    </a:lnTo>
                    <a:lnTo>
                      <a:pt x="954" y="348"/>
                    </a:lnTo>
                    <a:lnTo>
                      <a:pt x="948" y="348"/>
                    </a:lnTo>
                    <a:lnTo>
                      <a:pt x="948" y="342"/>
                    </a:lnTo>
                    <a:lnTo>
                      <a:pt x="948" y="336"/>
                    </a:lnTo>
                    <a:lnTo>
                      <a:pt x="942" y="342"/>
                    </a:lnTo>
                    <a:lnTo>
                      <a:pt x="942" y="348"/>
                    </a:lnTo>
                    <a:lnTo>
                      <a:pt x="936" y="348"/>
                    </a:lnTo>
                    <a:lnTo>
                      <a:pt x="936" y="354"/>
                    </a:lnTo>
                    <a:lnTo>
                      <a:pt x="930" y="354"/>
                    </a:lnTo>
                    <a:lnTo>
                      <a:pt x="930" y="360"/>
                    </a:lnTo>
                    <a:lnTo>
                      <a:pt x="924" y="360"/>
                    </a:lnTo>
                    <a:lnTo>
                      <a:pt x="924" y="366"/>
                    </a:lnTo>
                    <a:lnTo>
                      <a:pt x="918" y="366"/>
                    </a:lnTo>
                    <a:lnTo>
                      <a:pt x="918" y="372"/>
                    </a:lnTo>
                    <a:lnTo>
                      <a:pt x="918" y="378"/>
                    </a:lnTo>
                    <a:lnTo>
                      <a:pt x="918" y="384"/>
                    </a:lnTo>
                    <a:lnTo>
                      <a:pt x="912" y="384"/>
                    </a:lnTo>
                    <a:lnTo>
                      <a:pt x="912" y="390"/>
                    </a:lnTo>
                    <a:lnTo>
                      <a:pt x="912" y="396"/>
                    </a:lnTo>
                    <a:lnTo>
                      <a:pt x="912" y="402"/>
                    </a:lnTo>
                    <a:lnTo>
                      <a:pt x="918" y="402"/>
                    </a:lnTo>
                    <a:lnTo>
                      <a:pt x="918" y="408"/>
                    </a:lnTo>
                    <a:lnTo>
                      <a:pt x="918" y="414"/>
                    </a:lnTo>
                    <a:lnTo>
                      <a:pt x="912" y="414"/>
                    </a:lnTo>
                    <a:lnTo>
                      <a:pt x="912" y="420"/>
                    </a:lnTo>
                    <a:lnTo>
                      <a:pt x="906" y="420"/>
                    </a:lnTo>
                    <a:lnTo>
                      <a:pt x="912" y="420"/>
                    </a:lnTo>
                    <a:lnTo>
                      <a:pt x="912" y="426"/>
                    </a:lnTo>
                    <a:lnTo>
                      <a:pt x="906" y="426"/>
                    </a:lnTo>
                    <a:lnTo>
                      <a:pt x="900" y="426"/>
                    </a:lnTo>
                    <a:lnTo>
                      <a:pt x="894" y="426"/>
                    </a:lnTo>
                    <a:lnTo>
                      <a:pt x="888" y="426"/>
                    </a:lnTo>
                    <a:lnTo>
                      <a:pt x="882" y="426"/>
                    </a:lnTo>
                    <a:lnTo>
                      <a:pt x="882" y="420"/>
                    </a:lnTo>
                    <a:lnTo>
                      <a:pt x="876" y="420"/>
                    </a:lnTo>
                    <a:lnTo>
                      <a:pt x="876" y="414"/>
                    </a:lnTo>
                    <a:lnTo>
                      <a:pt x="870" y="414"/>
                    </a:lnTo>
                    <a:lnTo>
                      <a:pt x="870" y="408"/>
                    </a:lnTo>
                    <a:lnTo>
                      <a:pt x="876" y="408"/>
                    </a:lnTo>
                    <a:lnTo>
                      <a:pt x="876" y="402"/>
                    </a:lnTo>
                    <a:lnTo>
                      <a:pt x="876" y="396"/>
                    </a:lnTo>
                    <a:lnTo>
                      <a:pt x="870" y="396"/>
                    </a:lnTo>
                    <a:lnTo>
                      <a:pt x="870" y="390"/>
                    </a:lnTo>
                    <a:lnTo>
                      <a:pt x="870" y="384"/>
                    </a:lnTo>
                    <a:lnTo>
                      <a:pt x="864" y="384"/>
                    </a:lnTo>
                    <a:lnTo>
                      <a:pt x="864" y="378"/>
                    </a:lnTo>
                    <a:lnTo>
                      <a:pt x="864" y="372"/>
                    </a:lnTo>
                    <a:lnTo>
                      <a:pt x="870" y="372"/>
                    </a:lnTo>
                    <a:lnTo>
                      <a:pt x="870" y="366"/>
                    </a:lnTo>
                    <a:lnTo>
                      <a:pt x="870" y="360"/>
                    </a:lnTo>
                    <a:lnTo>
                      <a:pt x="870" y="354"/>
                    </a:lnTo>
                    <a:lnTo>
                      <a:pt x="876" y="354"/>
                    </a:lnTo>
                    <a:lnTo>
                      <a:pt x="876" y="348"/>
                    </a:lnTo>
                    <a:lnTo>
                      <a:pt x="876" y="342"/>
                    </a:lnTo>
                    <a:lnTo>
                      <a:pt x="876" y="336"/>
                    </a:lnTo>
                    <a:lnTo>
                      <a:pt x="870" y="330"/>
                    </a:lnTo>
                    <a:lnTo>
                      <a:pt x="870" y="324"/>
                    </a:lnTo>
                    <a:lnTo>
                      <a:pt x="864" y="324"/>
                    </a:lnTo>
                    <a:lnTo>
                      <a:pt x="858" y="324"/>
                    </a:lnTo>
                    <a:lnTo>
                      <a:pt x="858" y="318"/>
                    </a:lnTo>
                    <a:lnTo>
                      <a:pt x="852" y="312"/>
                    </a:lnTo>
                    <a:lnTo>
                      <a:pt x="846" y="312"/>
                    </a:lnTo>
                    <a:lnTo>
                      <a:pt x="846" y="318"/>
                    </a:lnTo>
                    <a:lnTo>
                      <a:pt x="840" y="312"/>
                    </a:lnTo>
                    <a:lnTo>
                      <a:pt x="840" y="318"/>
                    </a:lnTo>
                    <a:lnTo>
                      <a:pt x="834" y="318"/>
                    </a:lnTo>
                    <a:lnTo>
                      <a:pt x="834" y="324"/>
                    </a:lnTo>
                    <a:lnTo>
                      <a:pt x="828" y="324"/>
                    </a:lnTo>
                    <a:lnTo>
                      <a:pt x="822" y="324"/>
                    </a:lnTo>
                    <a:lnTo>
                      <a:pt x="822" y="318"/>
                    </a:lnTo>
                    <a:lnTo>
                      <a:pt x="822" y="324"/>
                    </a:lnTo>
                    <a:lnTo>
                      <a:pt x="816" y="324"/>
                    </a:lnTo>
                    <a:lnTo>
                      <a:pt x="810" y="324"/>
                    </a:lnTo>
                    <a:lnTo>
                      <a:pt x="810" y="318"/>
                    </a:lnTo>
                    <a:lnTo>
                      <a:pt x="810" y="324"/>
                    </a:lnTo>
                    <a:lnTo>
                      <a:pt x="810" y="318"/>
                    </a:lnTo>
                    <a:lnTo>
                      <a:pt x="804" y="318"/>
                    </a:lnTo>
                    <a:lnTo>
                      <a:pt x="798" y="318"/>
                    </a:lnTo>
                    <a:lnTo>
                      <a:pt x="798" y="312"/>
                    </a:lnTo>
                    <a:lnTo>
                      <a:pt x="792" y="312"/>
                    </a:lnTo>
                    <a:lnTo>
                      <a:pt x="786" y="312"/>
                    </a:lnTo>
                    <a:lnTo>
                      <a:pt x="792" y="312"/>
                    </a:lnTo>
                    <a:lnTo>
                      <a:pt x="792" y="318"/>
                    </a:lnTo>
                    <a:lnTo>
                      <a:pt x="786" y="318"/>
                    </a:lnTo>
                    <a:lnTo>
                      <a:pt x="786" y="324"/>
                    </a:lnTo>
                    <a:lnTo>
                      <a:pt x="786" y="330"/>
                    </a:lnTo>
                    <a:lnTo>
                      <a:pt x="780" y="330"/>
                    </a:lnTo>
                    <a:lnTo>
                      <a:pt x="780" y="324"/>
                    </a:lnTo>
                    <a:lnTo>
                      <a:pt x="774" y="324"/>
                    </a:lnTo>
                    <a:lnTo>
                      <a:pt x="768" y="324"/>
                    </a:lnTo>
                    <a:lnTo>
                      <a:pt x="768" y="318"/>
                    </a:lnTo>
                    <a:lnTo>
                      <a:pt x="762" y="318"/>
                    </a:lnTo>
                    <a:lnTo>
                      <a:pt x="756" y="318"/>
                    </a:lnTo>
                    <a:lnTo>
                      <a:pt x="756" y="312"/>
                    </a:lnTo>
                    <a:lnTo>
                      <a:pt x="756" y="306"/>
                    </a:lnTo>
                    <a:lnTo>
                      <a:pt x="750" y="306"/>
                    </a:lnTo>
                    <a:lnTo>
                      <a:pt x="744" y="306"/>
                    </a:lnTo>
                    <a:lnTo>
                      <a:pt x="744" y="300"/>
                    </a:lnTo>
                    <a:lnTo>
                      <a:pt x="744" y="294"/>
                    </a:lnTo>
                    <a:lnTo>
                      <a:pt x="738" y="294"/>
                    </a:lnTo>
                    <a:lnTo>
                      <a:pt x="732" y="294"/>
                    </a:lnTo>
                    <a:lnTo>
                      <a:pt x="732" y="288"/>
                    </a:lnTo>
                    <a:lnTo>
                      <a:pt x="732" y="294"/>
                    </a:lnTo>
                    <a:lnTo>
                      <a:pt x="732" y="288"/>
                    </a:lnTo>
                    <a:lnTo>
                      <a:pt x="726" y="288"/>
                    </a:lnTo>
                    <a:lnTo>
                      <a:pt x="726" y="294"/>
                    </a:lnTo>
                    <a:lnTo>
                      <a:pt x="726" y="288"/>
                    </a:lnTo>
                    <a:lnTo>
                      <a:pt x="720" y="288"/>
                    </a:lnTo>
                    <a:lnTo>
                      <a:pt x="714" y="288"/>
                    </a:lnTo>
                    <a:lnTo>
                      <a:pt x="708" y="288"/>
                    </a:lnTo>
                    <a:lnTo>
                      <a:pt x="708" y="282"/>
                    </a:lnTo>
                    <a:lnTo>
                      <a:pt x="702" y="282"/>
                    </a:lnTo>
                    <a:lnTo>
                      <a:pt x="702" y="288"/>
                    </a:lnTo>
                    <a:lnTo>
                      <a:pt x="696" y="288"/>
                    </a:lnTo>
                    <a:lnTo>
                      <a:pt x="690" y="288"/>
                    </a:lnTo>
                    <a:lnTo>
                      <a:pt x="690" y="282"/>
                    </a:lnTo>
                    <a:lnTo>
                      <a:pt x="684" y="282"/>
                    </a:lnTo>
                    <a:lnTo>
                      <a:pt x="684" y="276"/>
                    </a:lnTo>
                    <a:lnTo>
                      <a:pt x="678" y="276"/>
                    </a:lnTo>
                    <a:lnTo>
                      <a:pt x="678" y="270"/>
                    </a:lnTo>
                    <a:lnTo>
                      <a:pt x="678" y="276"/>
                    </a:lnTo>
                    <a:lnTo>
                      <a:pt x="678" y="282"/>
                    </a:lnTo>
                    <a:lnTo>
                      <a:pt x="678" y="288"/>
                    </a:lnTo>
                    <a:lnTo>
                      <a:pt x="684" y="288"/>
                    </a:lnTo>
                    <a:lnTo>
                      <a:pt x="684" y="294"/>
                    </a:lnTo>
                    <a:lnTo>
                      <a:pt x="678" y="294"/>
                    </a:lnTo>
                    <a:lnTo>
                      <a:pt x="678" y="300"/>
                    </a:lnTo>
                    <a:lnTo>
                      <a:pt x="672" y="300"/>
                    </a:lnTo>
                    <a:lnTo>
                      <a:pt x="672" y="306"/>
                    </a:lnTo>
                    <a:lnTo>
                      <a:pt x="678" y="306"/>
                    </a:lnTo>
                    <a:lnTo>
                      <a:pt x="678" y="312"/>
                    </a:lnTo>
                    <a:lnTo>
                      <a:pt x="678" y="318"/>
                    </a:lnTo>
                    <a:lnTo>
                      <a:pt x="672" y="318"/>
                    </a:lnTo>
                    <a:lnTo>
                      <a:pt x="678" y="318"/>
                    </a:lnTo>
                    <a:lnTo>
                      <a:pt x="678" y="324"/>
                    </a:lnTo>
                    <a:lnTo>
                      <a:pt x="672" y="324"/>
                    </a:lnTo>
                    <a:lnTo>
                      <a:pt x="678" y="324"/>
                    </a:lnTo>
                    <a:lnTo>
                      <a:pt x="678" y="330"/>
                    </a:lnTo>
                    <a:lnTo>
                      <a:pt x="672" y="330"/>
                    </a:lnTo>
                    <a:lnTo>
                      <a:pt x="672" y="336"/>
                    </a:lnTo>
                    <a:lnTo>
                      <a:pt x="666" y="336"/>
                    </a:lnTo>
                    <a:lnTo>
                      <a:pt x="660" y="336"/>
                    </a:lnTo>
                    <a:lnTo>
                      <a:pt x="654" y="342"/>
                    </a:lnTo>
                    <a:lnTo>
                      <a:pt x="660" y="342"/>
                    </a:lnTo>
                    <a:lnTo>
                      <a:pt x="660" y="348"/>
                    </a:lnTo>
                    <a:lnTo>
                      <a:pt x="660" y="354"/>
                    </a:lnTo>
                    <a:lnTo>
                      <a:pt x="660" y="360"/>
                    </a:lnTo>
                    <a:lnTo>
                      <a:pt x="654" y="360"/>
                    </a:lnTo>
                    <a:lnTo>
                      <a:pt x="648" y="360"/>
                    </a:lnTo>
                    <a:lnTo>
                      <a:pt x="648" y="354"/>
                    </a:lnTo>
                    <a:lnTo>
                      <a:pt x="642" y="354"/>
                    </a:lnTo>
                    <a:lnTo>
                      <a:pt x="642" y="348"/>
                    </a:lnTo>
                    <a:lnTo>
                      <a:pt x="636" y="348"/>
                    </a:lnTo>
                    <a:lnTo>
                      <a:pt x="630" y="348"/>
                    </a:lnTo>
                    <a:lnTo>
                      <a:pt x="624" y="348"/>
                    </a:lnTo>
                    <a:lnTo>
                      <a:pt x="624" y="354"/>
                    </a:lnTo>
                    <a:lnTo>
                      <a:pt x="630" y="354"/>
                    </a:lnTo>
                    <a:lnTo>
                      <a:pt x="624" y="360"/>
                    </a:lnTo>
                    <a:lnTo>
                      <a:pt x="624" y="366"/>
                    </a:lnTo>
                    <a:lnTo>
                      <a:pt x="624" y="372"/>
                    </a:lnTo>
                    <a:lnTo>
                      <a:pt x="618" y="372"/>
                    </a:lnTo>
                    <a:lnTo>
                      <a:pt x="624" y="372"/>
                    </a:lnTo>
                    <a:lnTo>
                      <a:pt x="624" y="378"/>
                    </a:lnTo>
                    <a:lnTo>
                      <a:pt x="618" y="378"/>
                    </a:lnTo>
                    <a:lnTo>
                      <a:pt x="618" y="384"/>
                    </a:lnTo>
                    <a:lnTo>
                      <a:pt x="612" y="384"/>
                    </a:lnTo>
                    <a:lnTo>
                      <a:pt x="612" y="378"/>
                    </a:lnTo>
                    <a:lnTo>
                      <a:pt x="612" y="384"/>
                    </a:lnTo>
                    <a:lnTo>
                      <a:pt x="612" y="390"/>
                    </a:lnTo>
                    <a:lnTo>
                      <a:pt x="618" y="390"/>
                    </a:lnTo>
                    <a:lnTo>
                      <a:pt x="618" y="396"/>
                    </a:lnTo>
                    <a:lnTo>
                      <a:pt x="624" y="396"/>
                    </a:lnTo>
                    <a:lnTo>
                      <a:pt x="618" y="402"/>
                    </a:lnTo>
                    <a:lnTo>
                      <a:pt x="624" y="402"/>
                    </a:lnTo>
                    <a:lnTo>
                      <a:pt x="630" y="402"/>
                    </a:lnTo>
                    <a:lnTo>
                      <a:pt x="630" y="408"/>
                    </a:lnTo>
                    <a:lnTo>
                      <a:pt x="636" y="408"/>
                    </a:lnTo>
                    <a:lnTo>
                      <a:pt x="630" y="408"/>
                    </a:lnTo>
                    <a:lnTo>
                      <a:pt x="630" y="414"/>
                    </a:lnTo>
                    <a:lnTo>
                      <a:pt x="630" y="408"/>
                    </a:lnTo>
                    <a:lnTo>
                      <a:pt x="624" y="414"/>
                    </a:lnTo>
                    <a:lnTo>
                      <a:pt x="618" y="414"/>
                    </a:lnTo>
                    <a:lnTo>
                      <a:pt x="618" y="420"/>
                    </a:lnTo>
                    <a:lnTo>
                      <a:pt x="618" y="426"/>
                    </a:lnTo>
                    <a:lnTo>
                      <a:pt x="612" y="426"/>
                    </a:lnTo>
                    <a:lnTo>
                      <a:pt x="606" y="432"/>
                    </a:lnTo>
                    <a:lnTo>
                      <a:pt x="606" y="438"/>
                    </a:lnTo>
                    <a:lnTo>
                      <a:pt x="612" y="438"/>
                    </a:lnTo>
                    <a:lnTo>
                      <a:pt x="612" y="444"/>
                    </a:lnTo>
                    <a:lnTo>
                      <a:pt x="606" y="444"/>
                    </a:lnTo>
                    <a:lnTo>
                      <a:pt x="600" y="444"/>
                    </a:lnTo>
                    <a:lnTo>
                      <a:pt x="600" y="450"/>
                    </a:lnTo>
                    <a:lnTo>
                      <a:pt x="600" y="444"/>
                    </a:lnTo>
                    <a:lnTo>
                      <a:pt x="594" y="444"/>
                    </a:lnTo>
                    <a:lnTo>
                      <a:pt x="594" y="450"/>
                    </a:lnTo>
                    <a:lnTo>
                      <a:pt x="588" y="450"/>
                    </a:lnTo>
                    <a:lnTo>
                      <a:pt x="594" y="450"/>
                    </a:lnTo>
                    <a:lnTo>
                      <a:pt x="588" y="450"/>
                    </a:lnTo>
                    <a:lnTo>
                      <a:pt x="594" y="450"/>
                    </a:lnTo>
                    <a:lnTo>
                      <a:pt x="594" y="456"/>
                    </a:lnTo>
                    <a:lnTo>
                      <a:pt x="588" y="456"/>
                    </a:lnTo>
                    <a:lnTo>
                      <a:pt x="588" y="462"/>
                    </a:lnTo>
                    <a:lnTo>
                      <a:pt x="582" y="456"/>
                    </a:lnTo>
                    <a:lnTo>
                      <a:pt x="582" y="462"/>
                    </a:lnTo>
                    <a:lnTo>
                      <a:pt x="588" y="462"/>
                    </a:lnTo>
                    <a:lnTo>
                      <a:pt x="588" y="468"/>
                    </a:lnTo>
                    <a:lnTo>
                      <a:pt x="582" y="468"/>
                    </a:lnTo>
                    <a:lnTo>
                      <a:pt x="582" y="474"/>
                    </a:lnTo>
                    <a:lnTo>
                      <a:pt x="588" y="474"/>
                    </a:lnTo>
                    <a:lnTo>
                      <a:pt x="588" y="480"/>
                    </a:lnTo>
                    <a:lnTo>
                      <a:pt x="582" y="480"/>
                    </a:lnTo>
                    <a:lnTo>
                      <a:pt x="582" y="474"/>
                    </a:lnTo>
                    <a:lnTo>
                      <a:pt x="582" y="480"/>
                    </a:lnTo>
                    <a:lnTo>
                      <a:pt x="576" y="480"/>
                    </a:lnTo>
                    <a:lnTo>
                      <a:pt x="570" y="480"/>
                    </a:lnTo>
                    <a:lnTo>
                      <a:pt x="570" y="474"/>
                    </a:lnTo>
                    <a:lnTo>
                      <a:pt x="564" y="474"/>
                    </a:lnTo>
                    <a:lnTo>
                      <a:pt x="570" y="474"/>
                    </a:lnTo>
                    <a:lnTo>
                      <a:pt x="570" y="468"/>
                    </a:lnTo>
                    <a:lnTo>
                      <a:pt x="570" y="462"/>
                    </a:lnTo>
                    <a:lnTo>
                      <a:pt x="564" y="462"/>
                    </a:lnTo>
                    <a:lnTo>
                      <a:pt x="564" y="456"/>
                    </a:lnTo>
                    <a:lnTo>
                      <a:pt x="564" y="462"/>
                    </a:lnTo>
                    <a:lnTo>
                      <a:pt x="558" y="462"/>
                    </a:lnTo>
                    <a:lnTo>
                      <a:pt x="552" y="462"/>
                    </a:lnTo>
                    <a:lnTo>
                      <a:pt x="546" y="462"/>
                    </a:lnTo>
                    <a:lnTo>
                      <a:pt x="546" y="468"/>
                    </a:lnTo>
                    <a:lnTo>
                      <a:pt x="552" y="468"/>
                    </a:lnTo>
                    <a:lnTo>
                      <a:pt x="546" y="468"/>
                    </a:lnTo>
                    <a:lnTo>
                      <a:pt x="546" y="474"/>
                    </a:lnTo>
                    <a:lnTo>
                      <a:pt x="546" y="480"/>
                    </a:lnTo>
                    <a:lnTo>
                      <a:pt x="540" y="480"/>
                    </a:lnTo>
                    <a:lnTo>
                      <a:pt x="540" y="486"/>
                    </a:lnTo>
                    <a:lnTo>
                      <a:pt x="534" y="486"/>
                    </a:lnTo>
                    <a:lnTo>
                      <a:pt x="534" y="492"/>
                    </a:lnTo>
                    <a:lnTo>
                      <a:pt x="534" y="498"/>
                    </a:lnTo>
                    <a:lnTo>
                      <a:pt x="534" y="492"/>
                    </a:lnTo>
                    <a:lnTo>
                      <a:pt x="534" y="498"/>
                    </a:lnTo>
                    <a:lnTo>
                      <a:pt x="528" y="498"/>
                    </a:lnTo>
                    <a:lnTo>
                      <a:pt x="528" y="492"/>
                    </a:lnTo>
                    <a:lnTo>
                      <a:pt x="522" y="492"/>
                    </a:lnTo>
                    <a:lnTo>
                      <a:pt x="516" y="492"/>
                    </a:lnTo>
                    <a:lnTo>
                      <a:pt x="510" y="492"/>
                    </a:lnTo>
                    <a:lnTo>
                      <a:pt x="510" y="498"/>
                    </a:lnTo>
                    <a:lnTo>
                      <a:pt x="516" y="498"/>
                    </a:lnTo>
                    <a:lnTo>
                      <a:pt x="516" y="504"/>
                    </a:lnTo>
                    <a:lnTo>
                      <a:pt x="516" y="510"/>
                    </a:lnTo>
                    <a:lnTo>
                      <a:pt x="510" y="510"/>
                    </a:lnTo>
                    <a:lnTo>
                      <a:pt x="510" y="516"/>
                    </a:lnTo>
                    <a:lnTo>
                      <a:pt x="510" y="522"/>
                    </a:lnTo>
                    <a:lnTo>
                      <a:pt x="510" y="528"/>
                    </a:lnTo>
                    <a:lnTo>
                      <a:pt x="510" y="522"/>
                    </a:lnTo>
                    <a:lnTo>
                      <a:pt x="510" y="528"/>
                    </a:lnTo>
                    <a:lnTo>
                      <a:pt x="504" y="528"/>
                    </a:lnTo>
                    <a:lnTo>
                      <a:pt x="498" y="528"/>
                    </a:lnTo>
                    <a:lnTo>
                      <a:pt x="492" y="528"/>
                    </a:lnTo>
                    <a:lnTo>
                      <a:pt x="486" y="534"/>
                    </a:lnTo>
                    <a:lnTo>
                      <a:pt x="492" y="534"/>
                    </a:lnTo>
                    <a:lnTo>
                      <a:pt x="498" y="534"/>
                    </a:lnTo>
                    <a:lnTo>
                      <a:pt x="492" y="540"/>
                    </a:lnTo>
                    <a:lnTo>
                      <a:pt x="486" y="540"/>
                    </a:lnTo>
                    <a:lnTo>
                      <a:pt x="486" y="546"/>
                    </a:lnTo>
                    <a:lnTo>
                      <a:pt x="486" y="552"/>
                    </a:lnTo>
                    <a:lnTo>
                      <a:pt x="480" y="552"/>
                    </a:lnTo>
                    <a:lnTo>
                      <a:pt x="480" y="546"/>
                    </a:lnTo>
                    <a:lnTo>
                      <a:pt x="474" y="546"/>
                    </a:lnTo>
                    <a:lnTo>
                      <a:pt x="474" y="552"/>
                    </a:lnTo>
                    <a:lnTo>
                      <a:pt x="468" y="552"/>
                    </a:lnTo>
                    <a:lnTo>
                      <a:pt x="468" y="546"/>
                    </a:lnTo>
                    <a:lnTo>
                      <a:pt x="462" y="546"/>
                    </a:lnTo>
                    <a:lnTo>
                      <a:pt x="462" y="552"/>
                    </a:lnTo>
                    <a:lnTo>
                      <a:pt x="456" y="552"/>
                    </a:lnTo>
                    <a:lnTo>
                      <a:pt x="456" y="558"/>
                    </a:lnTo>
                    <a:lnTo>
                      <a:pt x="450" y="558"/>
                    </a:lnTo>
                    <a:lnTo>
                      <a:pt x="450" y="564"/>
                    </a:lnTo>
                    <a:lnTo>
                      <a:pt x="444" y="564"/>
                    </a:lnTo>
                    <a:lnTo>
                      <a:pt x="438" y="564"/>
                    </a:lnTo>
                    <a:lnTo>
                      <a:pt x="438" y="570"/>
                    </a:lnTo>
                    <a:lnTo>
                      <a:pt x="444" y="570"/>
                    </a:lnTo>
                    <a:lnTo>
                      <a:pt x="444" y="576"/>
                    </a:lnTo>
                    <a:lnTo>
                      <a:pt x="444" y="582"/>
                    </a:lnTo>
                    <a:lnTo>
                      <a:pt x="438" y="582"/>
                    </a:lnTo>
                    <a:lnTo>
                      <a:pt x="438" y="588"/>
                    </a:lnTo>
                    <a:lnTo>
                      <a:pt x="444" y="588"/>
                    </a:lnTo>
                    <a:lnTo>
                      <a:pt x="444" y="594"/>
                    </a:lnTo>
                    <a:lnTo>
                      <a:pt x="450" y="594"/>
                    </a:lnTo>
                    <a:lnTo>
                      <a:pt x="450" y="600"/>
                    </a:lnTo>
                    <a:lnTo>
                      <a:pt x="444" y="600"/>
                    </a:lnTo>
                    <a:lnTo>
                      <a:pt x="444" y="594"/>
                    </a:lnTo>
                    <a:lnTo>
                      <a:pt x="438" y="594"/>
                    </a:lnTo>
                    <a:lnTo>
                      <a:pt x="438" y="600"/>
                    </a:lnTo>
                    <a:lnTo>
                      <a:pt x="432" y="600"/>
                    </a:lnTo>
                    <a:lnTo>
                      <a:pt x="432" y="594"/>
                    </a:lnTo>
                    <a:lnTo>
                      <a:pt x="426" y="594"/>
                    </a:lnTo>
                    <a:lnTo>
                      <a:pt x="420" y="594"/>
                    </a:lnTo>
                    <a:lnTo>
                      <a:pt x="414" y="594"/>
                    </a:lnTo>
                    <a:lnTo>
                      <a:pt x="414" y="600"/>
                    </a:lnTo>
                    <a:lnTo>
                      <a:pt x="408" y="600"/>
                    </a:lnTo>
                    <a:lnTo>
                      <a:pt x="408" y="594"/>
                    </a:lnTo>
                    <a:lnTo>
                      <a:pt x="402" y="594"/>
                    </a:lnTo>
                    <a:lnTo>
                      <a:pt x="402" y="600"/>
                    </a:lnTo>
                    <a:lnTo>
                      <a:pt x="396" y="600"/>
                    </a:lnTo>
                    <a:lnTo>
                      <a:pt x="390" y="600"/>
                    </a:lnTo>
                    <a:lnTo>
                      <a:pt x="390" y="594"/>
                    </a:lnTo>
                    <a:lnTo>
                      <a:pt x="390" y="588"/>
                    </a:lnTo>
                    <a:lnTo>
                      <a:pt x="384" y="588"/>
                    </a:lnTo>
                    <a:lnTo>
                      <a:pt x="384" y="594"/>
                    </a:lnTo>
                    <a:lnTo>
                      <a:pt x="384" y="588"/>
                    </a:lnTo>
                    <a:lnTo>
                      <a:pt x="378" y="588"/>
                    </a:lnTo>
                    <a:lnTo>
                      <a:pt x="378" y="594"/>
                    </a:lnTo>
                    <a:lnTo>
                      <a:pt x="372" y="594"/>
                    </a:lnTo>
                    <a:lnTo>
                      <a:pt x="372" y="588"/>
                    </a:lnTo>
                    <a:lnTo>
                      <a:pt x="366" y="588"/>
                    </a:lnTo>
                    <a:lnTo>
                      <a:pt x="360" y="588"/>
                    </a:lnTo>
                    <a:lnTo>
                      <a:pt x="360" y="582"/>
                    </a:lnTo>
                    <a:lnTo>
                      <a:pt x="354" y="582"/>
                    </a:lnTo>
                    <a:lnTo>
                      <a:pt x="354" y="588"/>
                    </a:lnTo>
                    <a:lnTo>
                      <a:pt x="354" y="594"/>
                    </a:lnTo>
                    <a:lnTo>
                      <a:pt x="348" y="594"/>
                    </a:lnTo>
                    <a:lnTo>
                      <a:pt x="354" y="594"/>
                    </a:lnTo>
                    <a:lnTo>
                      <a:pt x="354" y="600"/>
                    </a:lnTo>
                    <a:lnTo>
                      <a:pt x="354" y="606"/>
                    </a:lnTo>
                    <a:lnTo>
                      <a:pt x="360" y="606"/>
                    </a:lnTo>
                    <a:lnTo>
                      <a:pt x="360" y="612"/>
                    </a:lnTo>
                    <a:lnTo>
                      <a:pt x="360" y="618"/>
                    </a:lnTo>
                    <a:lnTo>
                      <a:pt x="354" y="618"/>
                    </a:lnTo>
                    <a:lnTo>
                      <a:pt x="360" y="618"/>
                    </a:lnTo>
                    <a:lnTo>
                      <a:pt x="360" y="624"/>
                    </a:lnTo>
                    <a:lnTo>
                      <a:pt x="360" y="630"/>
                    </a:lnTo>
                    <a:lnTo>
                      <a:pt x="360" y="636"/>
                    </a:lnTo>
                    <a:lnTo>
                      <a:pt x="360" y="642"/>
                    </a:lnTo>
                    <a:lnTo>
                      <a:pt x="360" y="648"/>
                    </a:lnTo>
                    <a:lnTo>
                      <a:pt x="360" y="642"/>
                    </a:lnTo>
                    <a:lnTo>
                      <a:pt x="354" y="642"/>
                    </a:lnTo>
                    <a:lnTo>
                      <a:pt x="354" y="636"/>
                    </a:lnTo>
                    <a:lnTo>
                      <a:pt x="348" y="636"/>
                    </a:lnTo>
                    <a:lnTo>
                      <a:pt x="348" y="642"/>
                    </a:lnTo>
                    <a:lnTo>
                      <a:pt x="342" y="642"/>
                    </a:lnTo>
                    <a:lnTo>
                      <a:pt x="342" y="648"/>
                    </a:lnTo>
                    <a:lnTo>
                      <a:pt x="342" y="642"/>
                    </a:lnTo>
                    <a:lnTo>
                      <a:pt x="336" y="642"/>
                    </a:lnTo>
                    <a:lnTo>
                      <a:pt x="330" y="642"/>
                    </a:lnTo>
                    <a:lnTo>
                      <a:pt x="324" y="642"/>
                    </a:lnTo>
                    <a:lnTo>
                      <a:pt x="324" y="648"/>
                    </a:lnTo>
                    <a:lnTo>
                      <a:pt x="318" y="648"/>
                    </a:lnTo>
                    <a:lnTo>
                      <a:pt x="318" y="642"/>
                    </a:lnTo>
                    <a:lnTo>
                      <a:pt x="312" y="642"/>
                    </a:lnTo>
                    <a:lnTo>
                      <a:pt x="312" y="648"/>
                    </a:lnTo>
                    <a:lnTo>
                      <a:pt x="318" y="648"/>
                    </a:lnTo>
                    <a:lnTo>
                      <a:pt x="318" y="654"/>
                    </a:lnTo>
                    <a:lnTo>
                      <a:pt x="312" y="654"/>
                    </a:lnTo>
                    <a:lnTo>
                      <a:pt x="312" y="660"/>
                    </a:lnTo>
                    <a:lnTo>
                      <a:pt x="306" y="660"/>
                    </a:lnTo>
                    <a:lnTo>
                      <a:pt x="300" y="660"/>
                    </a:lnTo>
                    <a:lnTo>
                      <a:pt x="306" y="660"/>
                    </a:lnTo>
                    <a:lnTo>
                      <a:pt x="306" y="654"/>
                    </a:lnTo>
                    <a:lnTo>
                      <a:pt x="300" y="654"/>
                    </a:lnTo>
                    <a:lnTo>
                      <a:pt x="294" y="654"/>
                    </a:lnTo>
                    <a:lnTo>
                      <a:pt x="294" y="648"/>
                    </a:lnTo>
                    <a:lnTo>
                      <a:pt x="288" y="648"/>
                    </a:lnTo>
                    <a:lnTo>
                      <a:pt x="282" y="648"/>
                    </a:lnTo>
                    <a:lnTo>
                      <a:pt x="276" y="648"/>
                    </a:lnTo>
                    <a:lnTo>
                      <a:pt x="270" y="648"/>
                    </a:lnTo>
                    <a:lnTo>
                      <a:pt x="276" y="648"/>
                    </a:lnTo>
                    <a:lnTo>
                      <a:pt x="276" y="654"/>
                    </a:lnTo>
                    <a:lnTo>
                      <a:pt x="276" y="648"/>
                    </a:lnTo>
                    <a:lnTo>
                      <a:pt x="276" y="654"/>
                    </a:lnTo>
                    <a:lnTo>
                      <a:pt x="270" y="654"/>
                    </a:lnTo>
                    <a:lnTo>
                      <a:pt x="270" y="660"/>
                    </a:lnTo>
                    <a:lnTo>
                      <a:pt x="270" y="666"/>
                    </a:lnTo>
                    <a:lnTo>
                      <a:pt x="264" y="666"/>
                    </a:lnTo>
                    <a:lnTo>
                      <a:pt x="264" y="672"/>
                    </a:lnTo>
                    <a:lnTo>
                      <a:pt x="258" y="672"/>
                    </a:lnTo>
                    <a:lnTo>
                      <a:pt x="252" y="672"/>
                    </a:lnTo>
                    <a:lnTo>
                      <a:pt x="246" y="678"/>
                    </a:lnTo>
                    <a:lnTo>
                      <a:pt x="246" y="672"/>
                    </a:lnTo>
                    <a:lnTo>
                      <a:pt x="246" y="678"/>
                    </a:lnTo>
                    <a:lnTo>
                      <a:pt x="240" y="678"/>
                    </a:lnTo>
                    <a:lnTo>
                      <a:pt x="240" y="684"/>
                    </a:lnTo>
                    <a:lnTo>
                      <a:pt x="246" y="684"/>
                    </a:lnTo>
                    <a:lnTo>
                      <a:pt x="246" y="690"/>
                    </a:lnTo>
                    <a:lnTo>
                      <a:pt x="240" y="690"/>
                    </a:lnTo>
                    <a:lnTo>
                      <a:pt x="234" y="690"/>
                    </a:lnTo>
                    <a:lnTo>
                      <a:pt x="234" y="696"/>
                    </a:lnTo>
                    <a:lnTo>
                      <a:pt x="228" y="696"/>
                    </a:lnTo>
                    <a:lnTo>
                      <a:pt x="228" y="690"/>
                    </a:lnTo>
                    <a:lnTo>
                      <a:pt x="228" y="684"/>
                    </a:lnTo>
                    <a:lnTo>
                      <a:pt x="222" y="684"/>
                    </a:lnTo>
                    <a:lnTo>
                      <a:pt x="216" y="684"/>
                    </a:lnTo>
                    <a:lnTo>
                      <a:pt x="216" y="690"/>
                    </a:lnTo>
                    <a:lnTo>
                      <a:pt x="210" y="690"/>
                    </a:lnTo>
                    <a:lnTo>
                      <a:pt x="210" y="696"/>
                    </a:lnTo>
                    <a:lnTo>
                      <a:pt x="204" y="696"/>
                    </a:lnTo>
                    <a:lnTo>
                      <a:pt x="198" y="696"/>
                    </a:lnTo>
                    <a:lnTo>
                      <a:pt x="198" y="702"/>
                    </a:lnTo>
                    <a:lnTo>
                      <a:pt x="198" y="696"/>
                    </a:lnTo>
                    <a:lnTo>
                      <a:pt x="192" y="696"/>
                    </a:lnTo>
                    <a:lnTo>
                      <a:pt x="192" y="702"/>
                    </a:lnTo>
                    <a:lnTo>
                      <a:pt x="198" y="702"/>
                    </a:lnTo>
                    <a:lnTo>
                      <a:pt x="192" y="702"/>
                    </a:lnTo>
                    <a:lnTo>
                      <a:pt x="198" y="702"/>
                    </a:lnTo>
                    <a:lnTo>
                      <a:pt x="198" y="708"/>
                    </a:lnTo>
                    <a:lnTo>
                      <a:pt x="204" y="708"/>
                    </a:lnTo>
                    <a:lnTo>
                      <a:pt x="204" y="714"/>
                    </a:lnTo>
                    <a:lnTo>
                      <a:pt x="204" y="720"/>
                    </a:lnTo>
                    <a:lnTo>
                      <a:pt x="204" y="714"/>
                    </a:lnTo>
                    <a:lnTo>
                      <a:pt x="198" y="720"/>
                    </a:lnTo>
                    <a:lnTo>
                      <a:pt x="204" y="720"/>
                    </a:lnTo>
                    <a:lnTo>
                      <a:pt x="198" y="720"/>
                    </a:lnTo>
                    <a:lnTo>
                      <a:pt x="204" y="720"/>
                    </a:lnTo>
                    <a:lnTo>
                      <a:pt x="198" y="720"/>
                    </a:lnTo>
                    <a:lnTo>
                      <a:pt x="198" y="726"/>
                    </a:lnTo>
                    <a:lnTo>
                      <a:pt x="204" y="726"/>
                    </a:lnTo>
                    <a:lnTo>
                      <a:pt x="198" y="726"/>
                    </a:lnTo>
                    <a:lnTo>
                      <a:pt x="204" y="726"/>
                    </a:lnTo>
                    <a:lnTo>
                      <a:pt x="198" y="726"/>
                    </a:lnTo>
                    <a:lnTo>
                      <a:pt x="198" y="732"/>
                    </a:lnTo>
                    <a:lnTo>
                      <a:pt x="204" y="732"/>
                    </a:lnTo>
                    <a:lnTo>
                      <a:pt x="204" y="726"/>
                    </a:lnTo>
                    <a:lnTo>
                      <a:pt x="210" y="726"/>
                    </a:lnTo>
                    <a:lnTo>
                      <a:pt x="210" y="732"/>
                    </a:lnTo>
                    <a:lnTo>
                      <a:pt x="216" y="732"/>
                    </a:lnTo>
                    <a:lnTo>
                      <a:pt x="222" y="732"/>
                    </a:lnTo>
                    <a:lnTo>
                      <a:pt x="222" y="738"/>
                    </a:lnTo>
                    <a:lnTo>
                      <a:pt x="222" y="744"/>
                    </a:lnTo>
                    <a:lnTo>
                      <a:pt x="222" y="750"/>
                    </a:lnTo>
                    <a:lnTo>
                      <a:pt x="222" y="756"/>
                    </a:lnTo>
                    <a:lnTo>
                      <a:pt x="216" y="756"/>
                    </a:lnTo>
                    <a:lnTo>
                      <a:pt x="216" y="750"/>
                    </a:lnTo>
                    <a:lnTo>
                      <a:pt x="210" y="750"/>
                    </a:lnTo>
                    <a:lnTo>
                      <a:pt x="210" y="756"/>
                    </a:lnTo>
                    <a:lnTo>
                      <a:pt x="204" y="756"/>
                    </a:lnTo>
                    <a:lnTo>
                      <a:pt x="210" y="756"/>
                    </a:lnTo>
                    <a:lnTo>
                      <a:pt x="204" y="756"/>
                    </a:lnTo>
                    <a:lnTo>
                      <a:pt x="204" y="762"/>
                    </a:lnTo>
                    <a:lnTo>
                      <a:pt x="210" y="762"/>
                    </a:lnTo>
                    <a:lnTo>
                      <a:pt x="210" y="756"/>
                    </a:lnTo>
                    <a:lnTo>
                      <a:pt x="216" y="756"/>
                    </a:lnTo>
                    <a:lnTo>
                      <a:pt x="216" y="762"/>
                    </a:lnTo>
                    <a:lnTo>
                      <a:pt x="216" y="768"/>
                    </a:lnTo>
                    <a:lnTo>
                      <a:pt x="210" y="768"/>
                    </a:lnTo>
                    <a:lnTo>
                      <a:pt x="210" y="774"/>
                    </a:lnTo>
                    <a:lnTo>
                      <a:pt x="210" y="780"/>
                    </a:lnTo>
                    <a:lnTo>
                      <a:pt x="204" y="780"/>
                    </a:lnTo>
                    <a:lnTo>
                      <a:pt x="204" y="786"/>
                    </a:lnTo>
                    <a:lnTo>
                      <a:pt x="210" y="786"/>
                    </a:lnTo>
                    <a:lnTo>
                      <a:pt x="204" y="786"/>
                    </a:lnTo>
                    <a:lnTo>
                      <a:pt x="204" y="792"/>
                    </a:lnTo>
                    <a:lnTo>
                      <a:pt x="198" y="792"/>
                    </a:lnTo>
                    <a:lnTo>
                      <a:pt x="198" y="798"/>
                    </a:lnTo>
                    <a:lnTo>
                      <a:pt x="192" y="798"/>
                    </a:lnTo>
                    <a:lnTo>
                      <a:pt x="186" y="798"/>
                    </a:lnTo>
                    <a:lnTo>
                      <a:pt x="180" y="798"/>
                    </a:lnTo>
                    <a:lnTo>
                      <a:pt x="180" y="804"/>
                    </a:lnTo>
                    <a:lnTo>
                      <a:pt x="174" y="804"/>
                    </a:lnTo>
                    <a:lnTo>
                      <a:pt x="174" y="810"/>
                    </a:lnTo>
                    <a:close/>
                    <a:moveTo>
                      <a:pt x="192" y="786"/>
                    </a:moveTo>
                    <a:lnTo>
                      <a:pt x="198" y="786"/>
                    </a:lnTo>
                    <a:lnTo>
                      <a:pt x="198" y="792"/>
                    </a:lnTo>
                    <a:lnTo>
                      <a:pt x="192" y="792"/>
                    </a:lnTo>
                    <a:lnTo>
                      <a:pt x="192" y="786"/>
                    </a:lnTo>
                    <a:close/>
                    <a:moveTo>
                      <a:pt x="24" y="348"/>
                    </a:moveTo>
                    <a:lnTo>
                      <a:pt x="30" y="348"/>
                    </a:lnTo>
                    <a:lnTo>
                      <a:pt x="24" y="348"/>
                    </a:lnTo>
                    <a:close/>
                    <a:moveTo>
                      <a:pt x="36" y="390"/>
                    </a:moveTo>
                    <a:lnTo>
                      <a:pt x="36" y="396"/>
                    </a:lnTo>
                    <a:lnTo>
                      <a:pt x="37" y="396"/>
                    </a:lnTo>
                    <a:lnTo>
                      <a:pt x="36" y="390"/>
                    </a:lnTo>
                    <a:close/>
                    <a:moveTo>
                      <a:pt x="18" y="324"/>
                    </a:moveTo>
                    <a:lnTo>
                      <a:pt x="24" y="324"/>
                    </a:lnTo>
                    <a:lnTo>
                      <a:pt x="18" y="324"/>
                    </a:lnTo>
                    <a:close/>
                    <a:moveTo>
                      <a:pt x="96" y="756"/>
                    </a:moveTo>
                    <a:lnTo>
                      <a:pt x="96" y="762"/>
                    </a:lnTo>
                    <a:lnTo>
                      <a:pt x="97" y="762"/>
                    </a:lnTo>
                    <a:lnTo>
                      <a:pt x="96" y="756"/>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US" sz="800" dirty="0">
                  <a:solidFill>
                    <a:srgbClr val="000000"/>
                  </a:solidFill>
                </a:endParaRPr>
              </a:p>
            </p:txBody>
          </p:sp>
          <p:sp>
            <p:nvSpPr>
              <p:cNvPr id="55" name="Freeform 61"/>
              <p:cNvSpPr>
                <a:spLocks/>
              </p:cNvSpPr>
              <p:nvPr/>
            </p:nvSpPr>
            <p:spPr bwMode="gray">
              <a:xfrm>
                <a:off x="2734465" y="990335"/>
                <a:ext cx="1204348" cy="886726"/>
              </a:xfrm>
              <a:custGeom>
                <a:avLst/>
                <a:gdLst>
                  <a:gd name="T0" fmla="*/ 408 w 936"/>
                  <a:gd name="T1" fmla="*/ 654 h 696"/>
                  <a:gd name="T2" fmla="*/ 384 w 936"/>
                  <a:gd name="T3" fmla="*/ 684 h 696"/>
                  <a:gd name="T4" fmla="*/ 348 w 936"/>
                  <a:gd name="T5" fmla="*/ 696 h 696"/>
                  <a:gd name="T6" fmla="*/ 312 w 936"/>
                  <a:gd name="T7" fmla="*/ 678 h 696"/>
                  <a:gd name="T8" fmla="*/ 276 w 936"/>
                  <a:gd name="T9" fmla="*/ 672 h 696"/>
                  <a:gd name="T10" fmla="*/ 258 w 936"/>
                  <a:gd name="T11" fmla="*/ 630 h 696"/>
                  <a:gd name="T12" fmla="*/ 240 w 936"/>
                  <a:gd name="T13" fmla="*/ 630 h 696"/>
                  <a:gd name="T14" fmla="*/ 162 w 936"/>
                  <a:gd name="T15" fmla="*/ 600 h 696"/>
                  <a:gd name="T16" fmla="*/ 126 w 936"/>
                  <a:gd name="T17" fmla="*/ 552 h 696"/>
                  <a:gd name="T18" fmla="*/ 132 w 936"/>
                  <a:gd name="T19" fmla="*/ 528 h 696"/>
                  <a:gd name="T20" fmla="*/ 132 w 936"/>
                  <a:gd name="T21" fmla="*/ 504 h 696"/>
                  <a:gd name="T22" fmla="*/ 126 w 936"/>
                  <a:gd name="T23" fmla="*/ 468 h 696"/>
                  <a:gd name="T24" fmla="*/ 120 w 936"/>
                  <a:gd name="T25" fmla="*/ 420 h 696"/>
                  <a:gd name="T26" fmla="*/ 114 w 936"/>
                  <a:gd name="T27" fmla="*/ 378 h 696"/>
                  <a:gd name="T28" fmla="*/ 180 w 936"/>
                  <a:gd name="T29" fmla="*/ 324 h 696"/>
                  <a:gd name="T30" fmla="*/ 144 w 936"/>
                  <a:gd name="T31" fmla="*/ 270 h 696"/>
                  <a:gd name="T32" fmla="*/ 78 w 936"/>
                  <a:gd name="T33" fmla="*/ 186 h 696"/>
                  <a:gd name="T34" fmla="*/ 0 w 936"/>
                  <a:gd name="T35" fmla="*/ 174 h 696"/>
                  <a:gd name="T36" fmla="*/ 42 w 936"/>
                  <a:gd name="T37" fmla="*/ 108 h 696"/>
                  <a:gd name="T38" fmla="*/ 132 w 936"/>
                  <a:gd name="T39" fmla="*/ 60 h 696"/>
                  <a:gd name="T40" fmla="*/ 162 w 936"/>
                  <a:gd name="T41" fmla="*/ 30 h 696"/>
                  <a:gd name="T42" fmla="*/ 198 w 936"/>
                  <a:gd name="T43" fmla="*/ 30 h 696"/>
                  <a:gd name="T44" fmla="*/ 240 w 936"/>
                  <a:gd name="T45" fmla="*/ 18 h 696"/>
                  <a:gd name="T46" fmla="*/ 276 w 936"/>
                  <a:gd name="T47" fmla="*/ 12 h 696"/>
                  <a:gd name="T48" fmla="*/ 300 w 936"/>
                  <a:gd name="T49" fmla="*/ 12 h 696"/>
                  <a:gd name="T50" fmla="*/ 336 w 936"/>
                  <a:gd name="T51" fmla="*/ 18 h 696"/>
                  <a:gd name="T52" fmla="*/ 360 w 936"/>
                  <a:gd name="T53" fmla="*/ 54 h 696"/>
                  <a:gd name="T54" fmla="*/ 408 w 936"/>
                  <a:gd name="T55" fmla="*/ 72 h 696"/>
                  <a:gd name="T56" fmla="*/ 474 w 936"/>
                  <a:gd name="T57" fmla="*/ 108 h 696"/>
                  <a:gd name="T58" fmla="*/ 528 w 936"/>
                  <a:gd name="T59" fmla="*/ 186 h 696"/>
                  <a:gd name="T60" fmla="*/ 600 w 936"/>
                  <a:gd name="T61" fmla="*/ 222 h 696"/>
                  <a:gd name="T62" fmla="*/ 594 w 936"/>
                  <a:gd name="T63" fmla="*/ 240 h 696"/>
                  <a:gd name="T64" fmla="*/ 648 w 936"/>
                  <a:gd name="T65" fmla="*/ 240 h 696"/>
                  <a:gd name="T66" fmla="*/ 678 w 936"/>
                  <a:gd name="T67" fmla="*/ 216 h 696"/>
                  <a:gd name="T68" fmla="*/ 732 w 936"/>
                  <a:gd name="T69" fmla="*/ 186 h 696"/>
                  <a:gd name="T70" fmla="*/ 780 w 936"/>
                  <a:gd name="T71" fmla="*/ 174 h 696"/>
                  <a:gd name="T72" fmla="*/ 828 w 936"/>
                  <a:gd name="T73" fmla="*/ 168 h 696"/>
                  <a:gd name="T74" fmla="*/ 858 w 936"/>
                  <a:gd name="T75" fmla="*/ 210 h 696"/>
                  <a:gd name="T76" fmla="*/ 894 w 936"/>
                  <a:gd name="T77" fmla="*/ 228 h 696"/>
                  <a:gd name="T78" fmla="*/ 918 w 936"/>
                  <a:gd name="T79" fmla="*/ 234 h 696"/>
                  <a:gd name="T80" fmla="*/ 930 w 936"/>
                  <a:gd name="T81" fmla="*/ 270 h 696"/>
                  <a:gd name="T82" fmla="*/ 918 w 936"/>
                  <a:gd name="T83" fmla="*/ 324 h 696"/>
                  <a:gd name="T84" fmla="*/ 894 w 936"/>
                  <a:gd name="T85" fmla="*/ 360 h 696"/>
                  <a:gd name="T86" fmla="*/ 864 w 936"/>
                  <a:gd name="T87" fmla="*/ 384 h 696"/>
                  <a:gd name="T88" fmla="*/ 846 w 936"/>
                  <a:gd name="T89" fmla="*/ 414 h 696"/>
                  <a:gd name="T90" fmla="*/ 828 w 936"/>
                  <a:gd name="T91" fmla="*/ 450 h 696"/>
                  <a:gd name="T92" fmla="*/ 786 w 936"/>
                  <a:gd name="T93" fmla="*/ 456 h 696"/>
                  <a:gd name="T94" fmla="*/ 780 w 936"/>
                  <a:gd name="T95" fmla="*/ 486 h 696"/>
                  <a:gd name="T96" fmla="*/ 762 w 936"/>
                  <a:gd name="T97" fmla="*/ 516 h 696"/>
                  <a:gd name="T98" fmla="*/ 792 w 936"/>
                  <a:gd name="T99" fmla="*/ 570 h 696"/>
                  <a:gd name="T100" fmla="*/ 822 w 936"/>
                  <a:gd name="T101" fmla="*/ 594 h 696"/>
                  <a:gd name="T102" fmla="*/ 840 w 936"/>
                  <a:gd name="T103" fmla="*/ 636 h 696"/>
                  <a:gd name="T104" fmla="*/ 816 w 936"/>
                  <a:gd name="T105" fmla="*/ 666 h 696"/>
                  <a:gd name="T106" fmla="*/ 786 w 936"/>
                  <a:gd name="T107" fmla="*/ 690 h 696"/>
                  <a:gd name="T108" fmla="*/ 756 w 936"/>
                  <a:gd name="T109" fmla="*/ 678 h 696"/>
                  <a:gd name="T110" fmla="*/ 732 w 936"/>
                  <a:gd name="T111" fmla="*/ 654 h 696"/>
                  <a:gd name="T112" fmla="*/ 702 w 936"/>
                  <a:gd name="T113" fmla="*/ 660 h 696"/>
                  <a:gd name="T114" fmla="*/ 660 w 936"/>
                  <a:gd name="T115" fmla="*/ 648 h 696"/>
                  <a:gd name="T116" fmla="*/ 630 w 936"/>
                  <a:gd name="T117" fmla="*/ 600 h 696"/>
                  <a:gd name="T118" fmla="*/ 564 w 936"/>
                  <a:gd name="T119" fmla="*/ 612 h 696"/>
                  <a:gd name="T120" fmla="*/ 522 w 936"/>
                  <a:gd name="T121" fmla="*/ 564 h 696"/>
                  <a:gd name="T122" fmla="*/ 456 w 936"/>
                  <a:gd name="T123" fmla="*/ 594 h 6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36" h="696">
                    <a:moveTo>
                      <a:pt x="402" y="612"/>
                    </a:moveTo>
                    <a:lnTo>
                      <a:pt x="396" y="618"/>
                    </a:lnTo>
                    <a:lnTo>
                      <a:pt x="402" y="624"/>
                    </a:lnTo>
                    <a:lnTo>
                      <a:pt x="408" y="630"/>
                    </a:lnTo>
                    <a:lnTo>
                      <a:pt x="408" y="636"/>
                    </a:lnTo>
                    <a:lnTo>
                      <a:pt x="408" y="642"/>
                    </a:lnTo>
                    <a:lnTo>
                      <a:pt x="414" y="642"/>
                    </a:lnTo>
                    <a:lnTo>
                      <a:pt x="414" y="648"/>
                    </a:lnTo>
                    <a:lnTo>
                      <a:pt x="408" y="654"/>
                    </a:lnTo>
                    <a:lnTo>
                      <a:pt x="402" y="660"/>
                    </a:lnTo>
                    <a:lnTo>
                      <a:pt x="402" y="666"/>
                    </a:lnTo>
                    <a:lnTo>
                      <a:pt x="396" y="672"/>
                    </a:lnTo>
                    <a:lnTo>
                      <a:pt x="390" y="672"/>
                    </a:lnTo>
                    <a:lnTo>
                      <a:pt x="390" y="678"/>
                    </a:lnTo>
                    <a:lnTo>
                      <a:pt x="384" y="678"/>
                    </a:lnTo>
                    <a:lnTo>
                      <a:pt x="390" y="678"/>
                    </a:lnTo>
                    <a:lnTo>
                      <a:pt x="384" y="678"/>
                    </a:lnTo>
                    <a:lnTo>
                      <a:pt x="384" y="684"/>
                    </a:lnTo>
                    <a:lnTo>
                      <a:pt x="378" y="684"/>
                    </a:lnTo>
                    <a:lnTo>
                      <a:pt x="372" y="684"/>
                    </a:lnTo>
                    <a:lnTo>
                      <a:pt x="372" y="690"/>
                    </a:lnTo>
                    <a:lnTo>
                      <a:pt x="366" y="690"/>
                    </a:lnTo>
                    <a:lnTo>
                      <a:pt x="366" y="696"/>
                    </a:lnTo>
                    <a:lnTo>
                      <a:pt x="360" y="696"/>
                    </a:lnTo>
                    <a:lnTo>
                      <a:pt x="360" y="690"/>
                    </a:lnTo>
                    <a:lnTo>
                      <a:pt x="354" y="696"/>
                    </a:lnTo>
                    <a:lnTo>
                      <a:pt x="348" y="696"/>
                    </a:lnTo>
                    <a:lnTo>
                      <a:pt x="342" y="696"/>
                    </a:lnTo>
                    <a:lnTo>
                      <a:pt x="336" y="690"/>
                    </a:lnTo>
                    <a:lnTo>
                      <a:pt x="330" y="690"/>
                    </a:lnTo>
                    <a:lnTo>
                      <a:pt x="330" y="684"/>
                    </a:lnTo>
                    <a:lnTo>
                      <a:pt x="324" y="684"/>
                    </a:lnTo>
                    <a:lnTo>
                      <a:pt x="324" y="678"/>
                    </a:lnTo>
                    <a:lnTo>
                      <a:pt x="318" y="678"/>
                    </a:lnTo>
                    <a:lnTo>
                      <a:pt x="318" y="684"/>
                    </a:lnTo>
                    <a:lnTo>
                      <a:pt x="312" y="678"/>
                    </a:lnTo>
                    <a:lnTo>
                      <a:pt x="312" y="672"/>
                    </a:lnTo>
                    <a:lnTo>
                      <a:pt x="306" y="672"/>
                    </a:lnTo>
                    <a:lnTo>
                      <a:pt x="300" y="672"/>
                    </a:lnTo>
                    <a:lnTo>
                      <a:pt x="300" y="678"/>
                    </a:lnTo>
                    <a:lnTo>
                      <a:pt x="294" y="678"/>
                    </a:lnTo>
                    <a:lnTo>
                      <a:pt x="294" y="672"/>
                    </a:lnTo>
                    <a:lnTo>
                      <a:pt x="288" y="672"/>
                    </a:lnTo>
                    <a:lnTo>
                      <a:pt x="282" y="672"/>
                    </a:lnTo>
                    <a:lnTo>
                      <a:pt x="276" y="672"/>
                    </a:lnTo>
                    <a:lnTo>
                      <a:pt x="270" y="672"/>
                    </a:lnTo>
                    <a:lnTo>
                      <a:pt x="264" y="672"/>
                    </a:lnTo>
                    <a:lnTo>
                      <a:pt x="264" y="666"/>
                    </a:lnTo>
                    <a:lnTo>
                      <a:pt x="258" y="660"/>
                    </a:lnTo>
                    <a:lnTo>
                      <a:pt x="258" y="654"/>
                    </a:lnTo>
                    <a:lnTo>
                      <a:pt x="258" y="648"/>
                    </a:lnTo>
                    <a:lnTo>
                      <a:pt x="258" y="642"/>
                    </a:lnTo>
                    <a:lnTo>
                      <a:pt x="258" y="636"/>
                    </a:lnTo>
                    <a:lnTo>
                      <a:pt x="258" y="630"/>
                    </a:lnTo>
                    <a:lnTo>
                      <a:pt x="264" y="630"/>
                    </a:lnTo>
                    <a:lnTo>
                      <a:pt x="264" y="624"/>
                    </a:lnTo>
                    <a:lnTo>
                      <a:pt x="264" y="618"/>
                    </a:lnTo>
                    <a:lnTo>
                      <a:pt x="258" y="618"/>
                    </a:lnTo>
                    <a:lnTo>
                      <a:pt x="258" y="624"/>
                    </a:lnTo>
                    <a:lnTo>
                      <a:pt x="252" y="630"/>
                    </a:lnTo>
                    <a:lnTo>
                      <a:pt x="246" y="630"/>
                    </a:lnTo>
                    <a:lnTo>
                      <a:pt x="246" y="636"/>
                    </a:lnTo>
                    <a:lnTo>
                      <a:pt x="240" y="630"/>
                    </a:lnTo>
                    <a:lnTo>
                      <a:pt x="234" y="630"/>
                    </a:lnTo>
                    <a:lnTo>
                      <a:pt x="222" y="630"/>
                    </a:lnTo>
                    <a:lnTo>
                      <a:pt x="216" y="624"/>
                    </a:lnTo>
                    <a:lnTo>
                      <a:pt x="204" y="618"/>
                    </a:lnTo>
                    <a:lnTo>
                      <a:pt x="186" y="612"/>
                    </a:lnTo>
                    <a:lnTo>
                      <a:pt x="180" y="606"/>
                    </a:lnTo>
                    <a:lnTo>
                      <a:pt x="174" y="600"/>
                    </a:lnTo>
                    <a:lnTo>
                      <a:pt x="168" y="600"/>
                    </a:lnTo>
                    <a:lnTo>
                      <a:pt x="162" y="600"/>
                    </a:lnTo>
                    <a:lnTo>
                      <a:pt x="156" y="600"/>
                    </a:lnTo>
                    <a:lnTo>
                      <a:pt x="150" y="588"/>
                    </a:lnTo>
                    <a:lnTo>
                      <a:pt x="138" y="582"/>
                    </a:lnTo>
                    <a:lnTo>
                      <a:pt x="144" y="576"/>
                    </a:lnTo>
                    <a:lnTo>
                      <a:pt x="138" y="570"/>
                    </a:lnTo>
                    <a:lnTo>
                      <a:pt x="132" y="564"/>
                    </a:lnTo>
                    <a:lnTo>
                      <a:pt x="132" y="558"/>
                    </a:lnTo>
                    <a:lnTo>
                      <a:pt x="132" y="552"/>
                    </a:lnTo>
                    <a:lnTo>
                      <a:pt x="126" y="552"/>
                    </a:lnTo>
                    <a:lnTo>
                      <a:pt x="126" y="546"/>
                    </a:lnTo>
                    <a:lnTo>
                      <a:pt x="132" y="546"/>
                    </a:lnTo>
                    <a:lnTo>
                      <a:pt x="126" y="546"/>
                    </a:lnTo>
                    <a:lnTo>
                      <a:pt x="126" y="540"/>
                    </a:lnTo>
                    <a:lnTo>
                      <a:pt x="132" y="540"/>
                    </a:lnTo>
                    <a:lnTo>
                      <a:pt x="132" y="534"/>
                    </a:lnTo>
                    <a:lnTo>
                      <a:pt x="138" y="534"/>
                    </a:lnTo>
                    <a:lnTo>
                      <a:pt x="132" y="534"/>
                    </a:lnTo>
                    <a:lnTo>
                      <a:pt x="132" y="528"/>
                    </a:lnTo>
                    <a:lnTo>
                      <a:pt x="132" y="522"/>
                    </a:lnTo>
                    <a:lnTo>
                      <a:pt x="138" y="522"/>
                    </a:lnTo>
                    <a:lnTo>
                      <a:pt x="138" y="516"/>
                    </a:lnTo>
                    <a:lnTo>
                      <a:pt x="132" y="516"/>
                    </a:lnTo>
                    <a:lnTo>
                      <a:pt x="138" y="516"/>
                    </a:lnTo>
                    <a:lnTo>
                      <a:pt x="132" y="516"/>
                    </a:lnTo>
                    <a:lnTo>
                      <a:pt x="132" y="510"/>
                    </a:lnTo>
                    <a:lnTo>
                      <a:pt x="126" y="510"/>
                    </a:lnTo>
                    <a:lnTo>
                      <a:pt x="132" y="504"/>
                    </a:lnTo>
                    <a:lnTo>
                      <a:pt x="126" y="504"/>
                    </a:lnTo>
                    <a:lnTo>
                      <a:pt x="132" y="498"/>
                    </a:lnTo>
                    <a:lnTo>
                      <a:pt x="132" y="492"/>
                    </a:lnTo>
                    <a:lnTo>
                      <a:pt x="126" y="486"/>
                    </a:lnTo>
                    <a:lnTo>
                      <a:pt x="126" y="480"/>
                    </a:lnTo>
                    <a:lnTo>
                      <a:pt x="132" y="480"/>
                    </a:lnTo>
                    <a:lnTo>
                      <a:pt x="132" y="474"/>
                    </a:lnTo>
                    <a:lnTo>
                      <a:pt x="132" y="468"/>
                    </a:lnTo>
                    <a:lnTo>
                      <a:pt x="126" y="468"/>
                    </a:lnTo>
                    <a:lnTo>
                      <a:pt x="126" y="462"/>
                    </a:lnTo>
                    <a:lnTo>
                      <a:pt x="126" y="456"/>
                    </a:lnTo>
                    <a:lnTo>
                      <a:pt x="120" y="456"/>
                    </a:lnTo>
                    <a:lnTo>
                      <a:pt x="120" y="450"/>
                    </a:lnTo>
                    <a:lnTo>
                      <a:pt x="120" y="444"/>
                    </a:lnTo>
                    <a:lnTo>
                      <a:pt x="120" y="438"/>
                    </a:lnTo>
                    <a:lnTo>
                      <a:pt x="120" y="432"/>
                    </a:lnTo>
                    <a:lnTo>
                      <a:pt x="120" y="426"/>
                    </a:lnTo>
                    <a:lnTo>
                      <a:pt x="120" y="420"/>
                    </a:lnTo>
                    <a:lnTo>
                      <a:pt x="114" y="420"/>
                    </a:lnTo>
                    <a:lnTo>
                      <a:pt x="114" y="414"/>
                    </a:lnTo>
                    <a:lnTo>
                      <a:pt x="114" y="408"/>
                    </a:lnTo>
                    <a:lnTo>
                      <a:pt x="108" y="408"/>
                    </a:lnTo>
                    <a:lnTo>
                      <a:pt x="114" y="408"/>
                    </a:lnTo>
                    <a:lnTo>
                      <a:pt x="114" y="402"/>
                    </a:lnTo>
                    <a:lnTo>
                      <a:pt x="108" y="402"/>
                    </a:lnTo>
                    <a:lnTo>
                      <a:pt x="108" y="396"/>
                    </a:lnTo>
                    <a:lnTo>
                      <a:pt x="114" y="378"/>
                    </a:lnTo>
                    <a:lnTo>
                      <a:pt x="120" y="372"/>
                    </a:lnTo>
                    <a:lnTo>
                      <a:pt x="138" y="372"/>
                    </a:lnTo>
                    <a:lnTo>
                      <a:pt x="144" y="366"/>
                    </a:lnTo>
                    <a:lnTo>
                      <a:pt x="144" y="360"/>
                    </a:lnTo>
                    <a:lnTo>
                      <a:pt x="144" y="354"/>
                    </a:lnTo>
                    <a:lnTo>
                      <a:pt x="144" y="342"/>
                    </a:lnTo>
                    <a:lnTo>
                      <a:pt x="150" y="342"/>
                    </a:lnTo>
                    <a:lnTo>
                      <a:pt x="174" y="330"/>
                    </a:lnTo>
                    <a:lnTo>
                      <a:pt x="180" y="324"/>
                    </a:lnTo>
                    <a:lnTo>
                      <a:pt x="186" y="312"/>
                    </a:lnTo>
                    <a:lnTo>
                      <a:pt x="192" y="306"/>
                    </a:lnTo>
                    <a:lnTo>
                      <a:pt x="192" y="300"/>
                    </a:lnTo>
                    <a:lnTo>
                      <a:pt x="192" y="294"/>
                    </a:lnTo>
                    <a:lnTo>
                      <a:pt x="180" y="288"/>
                    </a:lnTo>
                    <a:lnTo>
                      <a:pt x="174" y="282"/>
                    </a:lnTo>
                    <a:lnTo>
                      <a:pt x="162" y="282"/>
                    </a:lnTo>
                    <a:lnTo>
                      <a:pt x="150" y="282"/>
                    </a:lnTo>
                    <a:lnTo>
                      <a:pt x="144" y="270"/>
                    </a:lnTo>
                    <a:lnTo>
                      <a:pt x="150" y="258"/>
                    </a:lnTo>
                    <a:lnTo>
                      <a:pt x="156" y="246"/>
                    </a:lnTo>
                    <a:lnTo>
                      <a:pt x="156" y="240"/>
                    </a:lnTo>
                    <a:lnTo>
                      <a:pt x="144" y="234"/>
                    </a:lnTo>
                    <a:lnTo>
                      <a:pt x="120" y="228"/>
                    </a:lnTo>
                    <a:lnTo>
                      <a:pt x="96" y="222"/>
                    </a:lnTo>
                    <a:lnTo>
                      <a:pt x="78" y="210"/>
                    </a:lnTo>
                    <a:lnTo>
                      <a:pt x="78" y="198"/>
                    </a:lnTo>
                    <a:lnTo>
                      <a:pt x="78" y="186"/>
                    </a:lnTo>
                    <a:lnTo>
                      <a:pt x="66" y="180"/>
                    </a:lnTo>
                    <a:lnTo>
                      <a:pt x="48" y="186"/>
                    </a:lnTo>
                    <a:lnTo>
                      <a:pt x="42" y="186"/>
                    </a:lnTo>
                    <a:lnTo>
                      <a:pt x="30" y="186"/>
                    </a:lnTo>
                    <a:lnTo>
                      <a:pt x="24" y="186"/>
                    </a:lnTo>
                    <a:lnTo>
                      <a:pt x="12" y="192"/>
                    </a:lnTo>
                    <a:lnTo>
                      <a:pt x="6" y="186"/>
                    </a:lnTo>
                    <a:lnTo>
                      <a:pt x="6" y="180"/>
                    </a:lnTo>
                    <a:lnTo>
                      <a:pt x="0" y="174"/>
                    </a:lnTo>
                    <a:lnTo>
                      <a:pt x="6" y="168"/>
                    </a:lnTo>
                    <a:lnTo>
                      <a:pt x="6" y="162"/>
                    </a:lnTo>
                    <a:lnTo>
                      <a:pt x="6" y="156"/>
                    </a:lnTo>
                    <a:lnTo>
                      <a:pt x="0" y="150"/>
                    </a:lnTo>
                    <a:lnTo>
                      <a:pt x="6" y="138"/>
                    </a:lnTo>
                    <a:lnTo>
                      <a:pt x="6" y="132"/>
                    </a:lnTo>
                    <a:lnTo>
                      <a:pt x="12" y="126"/>
                    </a:lnTo>
                    <a:lnTo>
                      <a:pt x="24" y="126"/>
                    </a:lnTo>
                    <a:lnTo>
                      <a:pt x="42" y="108"/>
                    </a:lnTo>
                    <a:lnTo>
                      <a:pt x="48" y="96"/>
                    </a:lnTo>
                    <a:lnTo>
                      <a:pt x="60" y="90"/>
                    </a:lnTo>
                    <a:lnTo>
                      <a:pt x="60" y="84"/>
                    </a:lnTo>
                    <a:lnTo>
                      <a:pt x="66" y="72"/>
                    </a:lnTo>
                    <a:lnTo>
                      <a:pt x="72" y="60"/>
                    </a:lnTo>
                    <a:lnTo>
                      <a:pt x="78" y="60"/>
                    </a:lnTo>
                    <a:lnTo>
                      <a:pt x="102" y="60"/>
                    </a:lnTo>
                    <a:lnTo>
                      <a:pt x="120" y="60"/>
                    </a:lnTo>
                    <a:lnTo>
                      <a:pt x="132" y="60"/>
                    </a:lnTo>
                    <a:lnTo>
                      <a:pt x="156" y="66"/>
                    </a:lnTo>
                    <a:lnTo>
                      <a:pt x="168" y="60"/>
                    </a:lnTo>
                    <a:lnTo>
                      <a:pt x="168" y="54"/>
                    </a:lnTo>
                    <a:lnTo>
                      <a:pt x="156" y="48"/>
                    </a:lnTo>
                    <a:lnTo>
                      <a:pt x="138" y="30"/>
                    </a:lnTo>
                    <a:lnTo>
                      <a:pt x="144" y="30"/>
                    </a:lnTo>
                    <a:lnTo>
                      <a:pt x="150" y="30"/>
                    </a:lnTo>
                    <a:lnTo>
                      <a:pt x="156" y="30"/>
                    </a:lnTo>
                    <a:lnTo>
                      <a:pt x="162" y="30"/>
                    </a:lnTo>
                    <a:lnTo>
                      <a:pt x="168" y="30"/>
                    </a:lnTo>
                    <a:lnTo>
                      <a:pt x="168" y="36"/>
                    </a:lnTo>
                    <a:lnTo>
                      <a:pt x="174" y="36"/>
                    </a:lnTo>
                    <a:lnTo>
                      <a:pt x="174" y="42"/>
                    </a:lnTo>
                    <a:lnTo>
                      <a:pt x="180" y="42"/>
                    </a:lnTo>
                    <a:lnTo>
                      <a:pt x="186" y="42"/>
                    </a:lnTo>
                    <a:lnTo>
                      <a:pt x="192" y="36"/>
                    </a:lnTo>
                    <a:lnTo>
                      <a:pt x="198" y="36"/>
                    </a:lnTo>
                    <a:lnTo>
                      <a:pt x="198" y="30"/>
                    </a:lnTo>
                    <a:lnTo>
                      <a:pt x="204" y="30"/>
                    </a:lnTo>
                    <a:lnTo>
                      <a:pt x="210" y="30"/>
                    </a:lnTo>
                    <a:lnTo>
                      <a:pt x="216" y="24"/>
                    </a:lnTo>
                    <a:lnTo>
                      <a:pt x="222" y="24"/>
                    </a:lnTo>
                    <a:lnTo>
                      <a:pt x="222" y="18"/>
                    </a:lnTo>
                    <a:lnTo>
                      <a:pt x="228" y="18"/>
                    </a:lnTo>
                    <a:lnTo>
                      <a:pt x="234" y="18"/>
                    </a:lnTo>
                    <a:lnTo>
                      <a:pt x="240" y="12"/>
                    </a:lnTo>
                    <a:lnTo>
                      <a:pt x="240" y="18"/>
                    </a:lnTo>
                    <a:lnTo>
                      <a:pt x="246" y="18"/>
                    </a:lnTo>
                    <a:lnTo>
                      <a:pt x="246" y="12"/>
                    </a:lnTo>
                    <a:lnTo>
                      <a:pt x="252" y="6"/>
                    </a:lnTo>
                    <a:lnTo>
                      <a:pt x="252" y="0"/>
                    </a:lnTo>
                    <a:lnTo>
                      <a:pt x="258" y="0"/>
                    </a:lnTo>
                    <a:lnTo>
                      <a:pt x="264" y="0"/>
                    </a:lnTo>
                    <a:lnTo>
                      <a:pt x="264" y="6"/>
                    </a:lnTo>
                    <a:lnTo>
                      <a:pt x="270" y="12"/>
                    </a:lnTo>
                    <a:lnTo>
                      <a:pt x="276" y="12"/>
                    </a:lnTo>
                    <a:lnTo>
                      <a:pt x="276" y="6"/>
                    </a:lnTo>
                    <a:lnTo>
                      <a:pt x="282" y="6"/>
                    </a:lnTo>
                    <a:lnTo>
                      <a:pt x="282" y="12"/>
                    </a:lnTo>
                    <a:lnTo>
                      <a:pt x="282" y="18"/>
                    </a:lnTo>
                    <a:lnTo>
                      <a:pt x="288" y="24"/>
                    </a:lnTo>
                    <a:lnTo>
                      <a:pt x="294" y="24"/>
                    </a:lnTo>
                    <a:lnTo>
                      <a:pt x="294" y="18"/>
                    </a:lnTo>
                    <a:lnTo>
                      <a:pt x="300" y="18"/>
                    </a:lnTo>
                    <a:lnTo>
                      <a:pt x="300" y="12"/>
                    </a:lnTo>
                    <a:lnTo>
                      <a:pt x="306" y="12"/>
                    </a:lnTo>
                    <a:lnTo>
                      <a:pt x="312" y="12"/>
                    </a:lnTo>
                    <a:lnTo>
                      <a:pt x="318" y="12"/>
                    </a:lnTo>
                    <a:lnTo>
                      <a:pt x="318" y="18"/>
                    </a:lnTo>
                    <a:lnTo>
                      <a:pt x="324" y="18"/>
                    </a:lnTo>
                    <a:lnTo>
                      <a:pt x="330" y="18"/>
                    </a:lnTo>
                    <a:lnTo>
                      <a:pt x="330" y="24"/>
                    </a:lnTo>
                    <a:lnTo>
                      <a:pt x="330" y="18"/>
                    </a:lnTo>
                    <a:lnTo>
                      <a:pt x="336" y="18"/>
                    </a:lnTo>
                    <a:lnTo>
                      <a:pt x="342" y="24"/>
                    </a:lnTo>
                    <a:lnTo>
                      <a:pt x="348" y="24"/>
                    </a:lnTo>
                    <a:lnTo>
                      <a:pt x="348" y="30"/>
                    </a:lnTo>
                    <a:lnTo>
                      <a:pt x="348" y="36"/>
                    </a:lnTo>
                    <a:lnTo>
                      <a:pt x="348" y="42"/>
                    </a:lnTo>
                    <a:lnTo>
                      <a:pt x="348" y="48"/>
                    </a:lnTo>
                    <a:lnTo>
                      <a:pt x="354" y="54"/>
                    </a:lnTo>
                    <a:lnTo>
                      <a:pt x="354" y="60"/>
                    </a:lnTo>
                    <a:lnTo>
                      <a:pt x="360" y="54"/>
                    </a:lnTo>
                    <a:lnTo>
                      <a:pt x="366" y="54"/>
                    </a:lnTo>
                    <a:lnTo>
                      <a:pt x="360" y="54"/>
                    </a:lnTo>
                    <a:lnTo>
                      <a:pt x="366" y="48"/>
                    </a:lnTo>
                    <a:lnTo>
                      <a:pt x="372" y="48"/>
                    </a:lnTo>
                    <a:lnTo>
                      <a:pt x="378" y="48"/>
                    </a:lnTo>
                    <a:lnTo>
                      <a:pt x="384" y="54"/>
                    </a:lnTo>
                    <a:lnTo>
                      <a:pt x="396" y="60"/>
                    </a:lnTo>
                    <a:lnTo>
                      <a:pt x="402" y="66"/>
                    </a:lnTo>
                    <a:lnTo>
                      <a:pt x="408" y="72"/>
                    </a:lnTo>
                    <a:lnTo>
                      <a:pt x="408" y="78"/>
                    </a:lnTo>
                    <a:lnTo>
                      <a:pt x="414" y="78"/>
                    </a:lnTo>
                    <a:lnTo>
                      <a:pt x="408" y="78"/>
                    </a:lnTo>
                    <a:lnTo>
                      <a:pt x="420" y="84"/>
                    </a:lnTo>
                    <a:lnTo>
                      <a:pt x="438" y="90"/>
                    </a:lnTo>
                    <a:lnTo>
                      <a:pt x="450" y="102"/>
                    </a:lnTo>
                    <a:lnTo>
                      <a:pt x="450" y="108"/>
                    </a:lnTo>
                    <a:lnTo>
                      <a:pt x="456" y="108"/>
                    </a:lnTo>
                    <a:lnTo>
                      <a:pt x="474" y="108"/>
                    </a:lnTo>
                    <a:lnTo>
                      <a:pt x="474" y="120"/>
                    </a:lnTo>
                    <a:lnTo>
                      <a:pt x="486" y="132"/>
                    </a:lnTo>
                    <a:lnTo>
                      <a:pt x="498" y="138"/>
                    </a:lnTo>
                    <a:lnTo>
                      <a:pt x="510" y="144"/>
                    </a:lnTo>
                    <a:lnTo>
                      <a:pt x="516" y="150"/>
                    </a:lnTo>
                    <a:lnTo>
                      <a:pt x="510" y="156"/>
                    </a:lnTo>
                    <a:lnTo>
                      <a:pt x="510" y="162"/>
                    </a:lnTo>
                    <a:lnTo>
                      <a:pt x="510" y="168"/>
                    </a:lnTo>
                    <a:lnTo>
                      <a:pt x="528" y="186"/>
                    </a:lnTo>
                    <a:lnTo>
                      <a:pt x="540" y="192"/>
                    </a:lnTo>
                    <a:lnTo>
                      <a:pt x="558" y="192"/>
                    </a:lnTo>
                    <a:lnTo>
                      <a:pt x="564" y="192"/>
                    </a:lnTo>
                    <a:lnTo>
                      <a:pt x="570" y="198"/>
                    </a:lnTo>
                    <a:lnTo>
                      <a:pt x="582" y="204"/>
                    </a:lnTo>
                    <a:lnTo>
                      <a:pt x="588" y="204"/>
                    </a:lnTo>
                    <a:lnTo>
                      <a:pt x="594" y="210"/>
                    </a:lnTo>
                    <a:lnTo>
                      <a:pt x="594" y="216"/>
                    </a:lnTo>
                    <a:lnTo>
                      <a:pt x="600" y="222"/>
                    </a:lnTo>
                    <a:lnTo>
                      <a:pt x="600" y="228"/>
                    </a:lnTo>
                    <a:lnTo>
                      <a:pt x="588" y="228"/>
                    </a:lnTo>
                    <a:lnTo>
                      <a:pt x="582" y="222"/>
                    </a:lnTo>
                    <a:lnTo>
                      <a:pt x="582" y="228"/>
                    </a:lnTo>
                    <a:lnTo>
                      <a:pt x="576" y="234"/>
                    </a:lnTo>
                    <a:lnTo>
                      <a:pt x="582" y="234"/>
                    </a:lnTo>
                    <a:lnTo>
                      <a:pt x="582" y="240"/>
                    </a:lnTo>
                    <a:lnTo>
                      <a:pt x="588" y="240"/>
                    </a:lnTo>
                    <a:lnTo>
                      <a:pt x="594" y="240"/>
                    </a:lnTo>
                    <a:lnTo>
                      <a:pt x="600" y="240"/>
                    </a:lnTo>
                    <a:lnTo>
                      <a:pt x="606" y="240"/>
                    </a:lnTo>
                    <a:lnTo>
                      <a:pt x="612" y="240"/>
                    </a:lnTo>
                    <a:lnTo>
                      <a:pt x="618" y="240"/>
                    </a:lnTo>
                    <a:lnTo>
                      <a:pt x="624" y="240"/>
                    </a:lnTo>
                    <a:lnTo>
                      <a:pt x="630" y="234"/>
                    </a:lnTo>
                    <a:lnTo>
                      <a:pt x="636" y="234"/>
                    </a:lnTo>
                    <a:lnTo>
                      <a:pt x="642" y="240"/>
                    </a:lnTo>
                    <a:lnTo>
                      <a:pt x="648" y="240"/>
                    </a:lnTo>
                    <a:lnTo>
                      <a:pt x="654" y="234"/>
                    </a:lnTo>
                    <a:lnTo>
                      <a:pt x="654" y="228"/>
                    </a:lnTo>
                    <a:lnTo>
                      <a:pt x="660" y="222"/>
                    </a:lnTo>
                    <a:lnTo>
                      <a:pt x="666" y="222"/>
                    </a:lnTo>
                    <a:lnTo>
                      <a:pt x="666" y="228"/>
                    </a:lnTo>
                    <a:lnTo>
                      <a:pt x="672" y="228"/>
                    </a:lnTo>
                    <a:lnTo>
                      <a:pt x="678" y="228"/>
                    </a:lnTo>
                    <a:lnTo>
                      <a:pt x="678" y="222"/>
                    </a:lnTo>
                    <a:lnTo>
                      <a:pt x="678" y="216"/>
                    </a:lnTo>
                    <a:lnTo>
                      <a:pt x="684" y="210"/>
                    </a:lnTo>
                    <a:lnTo>
                      <a:pt x="690" y="210"/>
                    </a:lnTo>
                    <a:lnTo>
                      <a:pt x="696" y="204"/>
                    </a:lnTo>
                    <a:lnTo>
                      <a:pt x="702" y="204"/>
                    </a:lnTo>
                    <a:lnTo>
                      <a:pt x="708" y="198"/>
                    </a:lnTo>
                    <a:lnTo>
                      <a:pt x="714" y="198"/>
                    </a:lnTo>
                    <a:lnTo>
                      <a:pt x="720" y="192"/>
                    </a:lnTo>
                    <a:lnTo>
                      <a:pt x="726" y="192"/>
                    </a:lnTo>
                    <a:lnTo>
                      <a:pt x="732" y="186"/>
                    </a:lnTo>
                    <a:lnTo>
                      <a:pt x="738" y="180"/>
                    </a:lnTo>
                    <a:lnTo>
                      <a:pt x="738" y="174"/>
                    </a:lnTo>
                    <a:lnTo>
                      <a:pt x="744" y="174"/>
                    </a:lnTo>
                    <a:lnTo>
                      <a:pt x="750" y="174"/>
                    </a:lnTo>
                    <a:lnTo>
                      <a:pt x="756" y="174"/>
                    </a:lnTo>
                    <a:lnTo>
                      <a:pt x="762" y="174"/>
                    </a:lnTo>
                    <a:lnTo>
                      <a:pt x="768" y="174"/>
                    </a:lnTo>
                    <a:lnTo>
                      <a:pt x="774" y="174"/>
                    </a:lnTo>
                    <a:lnTo>
                      <a:pt x="780" y="174"/>
                    </a:lnTo>
                    <a:lnTo>
                      <a:pt x="786" y="174"/>
                    </a:lnTo>
                    <a:lnTo>
                      <a:pt x="792" y="174"/>
                    </a:lnTo>
                    <a:lnTo>
                      <a:pt x="798" y="174"/>
                    </a:lnTo>
                    <a:lnTo>
                      <a:pt x="804" y="174"/>
                    </a:lnTo>
                    <a:lnTo>
                      <a:pt x="810" y="174"/>
                    </a:lnTo>
                    <a:lnTo>
                      <a:pt x="810" y="168"/>
                    </a:lnTo>
                    <a:lnTo>
                      <a:pt x="816" y="168"/>
                    </a:lnTo>
                    <a:lnTo>
                      <a:pt x="822" y="168"/>
                    </a:lnTo>
                    <a:lnTo>
                      <a:pt x="828" y="168"/>
                    </a:lnTo>
                    <a:lnTo>
                      <a:pt x="828" y="174"/>
                    </a:lnTo>
                    <a:lnTo>
                      <a:pt x="828" y="180"/>
                    </a:lnTo>
                    <a:lnTo>
                      <a:pt x="834" y="180"/>
                    </a:lnTo>
                    <a:lnTo>
                      <a:pt x="840" y="180"/>
                    </a:lnTo>
                    <a:lnTo>
                      <a:pt x="846" y="186"/>
                    </a:lnTo>
                    <a:lnTo>
                      <a:pt x="852" y="192"/>
                    </a:lnTo>
                    <a:lnTo>
                      <a:pt x="852" y="198"/>
                    </a:lnTo>
                    <a:lnTo>
                      <a:pt x="858" y="204"/>
                    </a:lnTo>
                    <a:lnTo>
                      <a:pt x="858" y="210"/>
                    </a:lnTo>
                    <a:lnTo>
                      <a:pt x="864" y="216"/>
                    </a:lnTo>
                    <a:lnTo>
                      <a:pt x="870" y="216"/>
                    </a:lnTo>
                    <a:lnTo>
                      <a:pt x="876" y="216"/>
                    </a:lnTo>
                    <a:lnTo>
                      <a:pt x="876" y="222"/>
                    </a:lnTo>
                    <a:lnTo>
                      <a:pt x="876" y="228"/>
                    </a:lnTo>
                    <a:lnTo>
                      <a:pt x="882" y="222"/>
                    </a:lnTo>
                    <a:lnTo>
                      <a:pt x="888" y="222"/>
                    </a:lnTo>
                    <a:lnTo>
                      <a:pt x="888" y="228"/>
                    </a:lnTo>
                    <a:lnTo>
                      <a:pt x="894" y="228"/>
                    </a:lnTo>
                    <a:lnTo>
                      <a:pt x="894" y="234"/>
                    </a:lnTo>
                    <a:lnTo>
                      <a:pt x="894" y="240"/>
                    </a:lnTo>
                    <a:lnTo>
                      <a:pt x="894" y="246"/>
                    </a:lnTo>
                    <a:lnTo>
                      <a:pt x="900" y="246"/>
                    </a:lnTo>
                    <a:lnTo>
                      <a:pt x="900" y="252"/>
                    </a:lnTo>
                    <a:lnTo>
                      <a:pt x="912" y="246"/>
                    </a:lnTo>
                    <a:lnTo>
                      <a:pt x="912" y="240"/>
                    </a:lnTo>
                    <a:lnTo>
                      <a:pt x="918" y="240"/>
                    </a:lnTo>
                    <a:lnTo>
                      <a:pt x="918" y="234"/>
                    </a:lnTo>
                    <a:lnTo>
                      <a:pt x="918" y="228"/>
                    </a:lnTo>
                    <a:lnTo>
                      <a:pt x="924" y="228"/>
                    </a:lnTo>
                    <a:lnTo>
                      <a:pt x="930" y="234"/>
                    </a:lnTo>
                    <a:lnTo>
                      <a:pt x="936" y="240"/>
                    </a:lnTo>
                    <a:lnTo>
                      <a:pt x="936" y="246"/>
                    </a:lnTo>
                    <a:lnTo>
                      <a:pt x="936" y="252"/>
                    </a:lnTo>
                    <a:lnTo>
                      <a:pt x="930" y="258"/>
                    </a:lnTo>
                    <a:lnTo>
                      <a:pt x="930" y="264"/>
                    </a:lnTo>
                    <a:lnTo>
                      <a:pt x="930" y="270"/>
                    </a:lnTo>
                    <a:lnTo>
                      <a:pt x="930" y="276"/>
                    </a:lnTo>
                    <a:lnTo>
                      <a:pt x="930" y="282"/>
                    </a:lnTo>
                    <a:lnTo>
                      <a:pt x="924" y="288"/>
                    </a:lnTo>
                    <a:lnTo>
                      <a:pt x="924" y="294"/>
                    </a:lnTo>
                    <a:lnTo>
                      <a:pt x="918" y="300"/>
                    </a:lnTo>
                    <a:lnTo>
                      <a:pt x="918" y="306"/>
                    </a:lnTo>
                    <a:lnTo>
                      <a:pt x="918" y="312"/>
                    </a:lnTo>
                    <a:lnTo>
                      <a:pt x="918" y="318"/>
                    </a:lnTo>
                    <a:lnTo>
                      <a:pt x="918" y="324"/>
                    </a:lnTo>
                    <a:lnTo>
                      <a:pt x="918" y="330"/>
                    </a:lnTo>
                    <a:lnTo>
                      <a:pt x="912" y="336"/>
                    </a:lnTo>
                    <a:lnTo>
                      <a:pt x="912" y="342"/>
                    </a:lnTo>
                    <a:lnTo>
                      <a:pt x="906" y="342"/>
                    </a:lnTo>
                    <a:lnTo>
                      <a:pt x="906" y="348"/>
                    </a:lnTo>
                    <a:lnTo>
                      <a:pt x="906" y="354"/>
                    </a:lnTo>
                    <a:lnTo>
                      <a:pt x="906" y="360"/>
                    </a:lnTo>
                    <a:lnTo>
                      <a:pt x="900" y="360"/>
                    </a:lnTo>
                    <a:lnTo>
                      <a:pt x="894" y="360"/>
                    </a:lnTo>
                    <a:lnTo>
                      <a:pt x="888" y="360"/>
                    </a:lnTo>
                    <a:lnTo>
                      <a:pt x="882" y="360"/>
                    </a:lnTo>
                    <a:lnTo>
                      <a:pt x="882" y="366"/>
                    </a:lnTo>
                    <a:lnTo>
                      <a:pt x="882" y="372"/>
                    </a:lnTo>
                    <a:lnTo>
                      <a:pt x="876" y="372"/>
                    </a:lnTo>
                    <a:lnTo>
                      <a:pt x="870" y="378"/>
                    </a:lnTo>
                    <a:lnTo>
                      <a:pt x="864" y="378"/>
                    </a:lnTo>
                    <a:lnTo>
                      <a:pt x="870" y="384"/>
                    </a:lnTo>
                    <a:lnTo>
                      <a:pt x="864" y="384"/>
                    </a:lnTo>
                    <a:lnTo>
                      <a:pt x="864" y="390"/>
                    </a:lnTo>
                    <a:lnTo>
                      <a:pt x="858" y="396"/>
                    </a:lnTo>
                    <a:lnTo>
                      <a:pt x="852" y="396"/>
                    </a:lnTo>
                    <a:lnTo>
                      <a:pt x="846" y="390"/>
                    </a:lnTo>
                    <a:lnTo>
                      <a:pt x="840" y="390"/>
                    </a:lnTo>
                    <a:lnTo>
                      <a:pt x="840" y="396"/>
                    </a:lnTo>
                    <a:lnTo>
                      <a:pt x="846" y="402"/>
                    </a:lnTo>
                    <a:lnTo>
                      <a:pt x="846" y="408"/>
                    </a:lnTo>
                    <a:lnTo>
                      <a:pt x="846" y="414"/>
                    </a:lnTo>
                    <a:lnTo>
                      <a:pt x="846" y="420"/>
                    </a:lnTo>
                    <a:lnTo>
                      <a:pt x="840" y="420"/>
                    </a:lnTo>
                    <a:lnTo>
                      <a:pt x="840" y="426"/>
                    </a:lnTo>
                    <a:lnTo>
                      <a:pt x="840" y="432"/>
                    </a:lnTo>
                    <a:lnTo>
                      <a:pt x="840" y="438"/>
                    </a:lnTo>
                    <a:lnTo>
                      <a:pt x="834" y="438"/>
                    </a:lnTo>
                    <a:lnTo>
                      <a:pt x="834" y="444"/>
                    </a:lnTo>
                    <a:lnTo>
                      <a:pt x="828" y="444"/>
                    </a:lnTo>
                    <a:lnTo>
                      <a:pt x="828" y="450"/>
                    </a:lnTo>
                    <a:lnTo>
                      <a:pt x="828" y="456"/>
                    </a:lnTo>
                    <a:lnTo>
                      <a:pt x="822" y="456"/>
                    </a:lnTo>
                    <a:lnTo>
                      <a:pt x="810" y="450"/>
                    </a:lnTo>
                    <a:lnTo>
                      <a:pt x="804" y="456"/>
                    </a:lnTo>
                    <a:lnTo>
                      <a:pt x="804" y="450"/>
                    </a:lnTo>
                    <a:lnTo>
                      <a:pt x="798" y="450"/>
                    </a:lnTo>
                    <a:lnTo>
                      <a:pt x="798" y="456"/>
                    </a:lnTo>
                    <a:lnTo>
                      <a:pt x="792" y="456"/>
                    </a:lnTo>
                    <a:lnTo>
                      <a:pt x="786" y="456"/>
                    </a:lnTo>
                    <a:lnTo>
                      <a:pt x="780" y="450"/>
                    </a:lnTo>
                    <a:lnTo>
                      <a:pt x="774" y="450"/>
                    </a:lnTo>
                    <a:lnTo>
                      <a:pt x="768" y="450"/>
                    </a:lnTo>
                    <a:lnTo>
                      <a:pt x="768" y="456"/>
                    </a:lnTo>
                    <a:lnTo>
                      <a:pt x="762" y="456"/>
                    </a:lnTo>
                    <a:lnTo>
                      <a:pt x="768" y="462"/>
                    </a:lnTo>
                    <a:lnTo>
                      <a:pt x="774" y="474"/>
                    </a:lnTo>
                    <a:lnTo>
                      <a:pt x="774" y="480"/>
                    </a:lnTo>
                    <a:lnTo>
                      <a:pt x="780" y="486"/>
                    </a:lnTo>
                    <a:lnTo>
                      <a:pt x="780" y="492"/>
                    </a:lnTo>
                    <a:lnTo>
                      <a:pt x="780" y="498"/>
                    </a:lnTo>
                    <a:lnTo>
                      <a:pt x="786" y="504"/>
                    </a:lnTo>
                    <a:lnTo>
                      <a:pt x="786" y="510"/>
                    </a:lnTo>
                    <a:lnTo>
                      <a:pt x="780" y="510"/>
                    </a:lnTo>
                    <a:lnTo>
                      <a:pt x="774" y="510"/>
                    </a:lnTo>
                    <a:lnTo>
                      <a:pt x="768" y="510"/>
                    </a:lnTo>
                    <a:lnTo>
                      <a:pt x="768" y="516"/>
                    </a:lnTo>
                    <a:lnTo>
                      <a:pt x="762" y="516"/>
                    </a:lnTo>
                    <a:lnTo>
                      <a:pt x="768" y="516"/>
                    </a:lnTo>
                    <a:lnTo>
                      <a:pt x="768" y="522"/>
                    </a:lnTo>
                    <a:lnTo>
                      <a:pt x="768" y="528"/>
                    </a:lnTo>
                    <a:lnTo>
                      <a:pt x="768" y="540"/>
                    </a:lnTo>
                    <a:lnTo>
                      <a:pt x="774" y="546"/>
                    </a:lnTo>
                    <a:lnTo>
                      <a:pt x="780" y="552"/>
                    </a:lnTo>
                    <a:lnTo>
                      <a:pt x="786" y="558"/>
                    </a:lnTo>
                    <a:lnTo>
                      <a:pt x="786" y="564"/>
                    </a:lnTo>
                    <a:lnTo>
                      <a:pt x="792" y="570"/>
                    </a:lnTo>
                    <a:lnTo>
                      <a:pt x="798" y="570"/>
                    </a:lnTo>
                    <a:lnTo>
                      <a:pt x="804" y="570"/>
                    </a:lnTo>
                    <a:lnTo>
                      <a:pt x="816" y="570"/>
                    </a:lnTo>
                    <a:lnTo>
                      <a:pt x="822" y="570"/>
                    </a:lnTo>
                    <a:lnTo>
                      <a:pt x="828" y="570"/>
                    </a:lnTo>
                    <a:lnTo>
                      <a:pt x="828" y="576"/>
                    </a:lnTo>
                    <a:lnTo>
                      <a:pt x="822" y="582"/>
                    </a:lnTo>
                    <a:lnTo>
                      <a:pt x="822" y="588"/>
                    </a:lnTo>
                    <a:lnTo>
                      <a:pt x="822" y="594"/>
                    </a:lnTo>
                    <a:lnTo>
                      <a:pt x="816" y="600"/>
                    </a:lnTo>
                    <a:lnTo>
                      <a:pt x="822" y="600"/>
                    </a:lnTo>
                    <a:lnTo>
                      <a:pt x="822" y="606"/>
                    </a:lnTo>
                    <a:lnTo>
                      <a:pt x="828" y="612"/>
                    </a:lnTo>
                    <a:lnTo>
                      <a:pt x="834" y="618"/>
                    </a:lnTo>
                    <a:lnTo>
                      <a:pt x="834" y="624"/>
                    </a:lnTo>
                    <a:lnTo>
                      <a:pt x="834" y="630"/>
                    </a:lnTo>
                    <a:lnTo>
                      <a:pt x="840" y="630"/>
                    </a:lnTo>
                    <a:lnTo>
                      <a:pt x="840" y="636"/>
                    </a:lnTo>
                    <a:lnTo>
                      <a:pt x="846" y="642"/>
                    </a:lnTo>
                    <a:lnTo>
                      <a:pt x="846" y="648"/>
                    </a:lnTo>
                    <a:lnTo>
                      <a:pt x="846" y="654"/>
                    </a:lnTo>
                    <a:lnTo>
                      <a:pt x="840" y="654"/>
                    </a:lnTo>
                    <a:lnTo>
                      <a:pt x="834" y="654"/>
                    </a:lnTo>
                    <a:lnTo>
                      <a:pt x="828" y="654"/>
                    </a:lnTo>
                    <a:lnTo>
                      <a:pt x="828" y="660"/>
                    </a:lnTo>
                    <a:lnTo>
                      <a:pt x="822" y="666"/>
                    </a:lnTo>
                    <a:lnTo>
                      <a:pt x="816" y="666"/>
                    </a:lnTo>
                    <a:lnTo>
                      <a:pt x="816" y="672"/>
                    </a:lnTo>
                    <a:lnTo>
                      <a:pt x="810" y="672"/>
                    </a:lnTo>
                    <a:lnTo>
                      <a:pt x="810" y="666"/>
                    </a:lnTo>
                    <a:lnTo>
                      <a:pt x="804" y="666"/>
                    </a:lnTo>
                    <a:lnTo>
                      <a:pt x="792" y="672"/>
                    </a:lnTo>
                    <a:lnTo>
                      <a:pt x="792" y="678"/>
                    </a:lnTo>
                    <a:lnTo>
                      <a:pt x="792" y="684"/>
                    </a:lnTo>
                    <a:lnTo>
                      <a:pt x="792" y="690"/>
                    </a:lnTo>
                    <a:lnTo>
                      <a:pt x="786" y="690"/>
                    </a:lnTo>
                    <a:lnTo>
                      <a:pt x="786" y="684"/>
                    </a:lnTo>
                    <a:lnTo>
                      <a:pt x="780" y="684"/>
                    </a:lnTo>
                    <a:lnTo>
                      <a:pt x="780" y="690"/>
                    </a:lnTo>
                    <a:lnTo>
                      <a:pt x="774" y="690"/>
                    </a:lnTo>
                    <a:lnTo>
                      <a:pt x="768" y="690"/>
                    </a:lnTo>
                    <a:lnTo>
                      <a:pt x="768" y="684"/>
                    </a:lnTo>
                    <a:lnTo>
                      <a:pt x="762" y="684"/>
                    </a:lnTo>
                    <a:lnTo>
                      <a:pt x="762" y="678"/>
                    </a:lnTo>
                    <a:lnTo>
                      <a:pt x="756" y="678"/>
                    </a:lnTo>
                    <a:lnTo>
                      <a:pt x="750" y="672"/>
                    </a:lnTo>
                    <a:lnTo>
                      <a:pt x="750" y="666"/>
                    </a:lnTo>
                    <a:lnTo>
                      <a:pt x="750" y="660"/>
                    </a:lnTo>
                    <a:lnTo>
                      <a:pt x="750" y="654"/>
                    </a:lnTo>
                    <a:lnTo>
                      <a:pt x="750" y="648"/>
                    </a:lnTo>
                    <a:lnTo>
                      <a:pt x="750" y="642"/>
                    </a:lnTo>
                    <a:lnTo>
                      <a:pt x="744" y="642"/>
                    </a:lnTo>
                    <a:lnTo>
                      <a:pt x="738" y="648"/>
                    </a:lnTo>
                    <a:lnTo>
                      <a:pt x="732" y="654"/>
                    </a:lnTo>
                    <a:lnTo>
                      <a:pt x="726" y="654"/>
                    </a:lnTo>
                    <a:lnTo>
                      <a:pt x="720" y="654"/>
                    </a:lnTo>
                    <a:lnTo>
                      <a:pt x="714" y="660"/>
                    </a:lnTo>
                    <a:lnTo>
                      <a:pt x="708" y="660"/>
                    </a:lnTo>
                    <a:lnTo>
                      <a:pt x="708" y="666"/>
                    </a:lnTo>
                    <a:lnTo>
                      <a:pt x="702" y="672"/>
                    </a:lnTo>
                    <a:lnTo>
                      <a:pt x="696" y="672"/>
                    </a:lnTo>
                    <a:lnTo>
                      <a:pt x="696" y="666"/>
                    </a:lnTo>
                    <a:lnTo>
                      <a:pt x="702" y="660"/>
                    </a:lnTo>
                    <a:lnTo>
                      <a:pt x="708" y="648"/>
                    </a:lnTo>
                    <a:lnTo>
                      <a:pt x="708" y="642"/>
                    </a:lnTo>
                    <a:lnTo>
                      <a:pt x="708" y="636"/>
                    </a:lnTo>
                    <a:lnTo>
                      <a:pt x="702" y="630"/>
                    </a:lnTo>
                    <a:lnTo>
                      <a:pt x="696" y="636"/>
                    </a:lnTo>
                    <a:lnTo>
                      <a:pt x="690" y="642"/>
                    </a:lnTo>
                    <a:lnTo>
                      <a:pt x="678" y="642"/>
                    </a:lnTo>
                    <a:lnTo>
                      <a:pt x="672" y="648"/>
                    </a:lnTo>
                    <a:lnTo>
                      <a:pt x="660" y="648"/>
                    </a:lnTo>
                    <a:lnTo>
                      <a:pt x="654" y="648"/>
                    </a:lnTo>
                    <a:lnTo>
                      <a:pt x="654" y="642"/>
                    </a:lnTo>
                    <a:lnTo>
                      <a:pt x="654" y="636"/>
                    </a:lnTo>
                    <a:lnTo>
                      <a:pt x="648" y="630"/>
                    </a:lnTo>
                    <a:lnTo>
                      <a:pt x="642" y="624"/>
                    </a:lnTo>
                    <a:lnTo>
                      <a:pt x="636" y="618"/>
                    </a:lnTo>
                    <a:lnTo>
                      <a:pt x="636" y="612"/>
                    </a:lnTo>
                    <a:lnTo>
                      <a:pt x="636" y="606"/>
                    </a:lnTo>
                    <a:lnTo>
                      <a:pt x="630" y="600"/>
                    </a:lnTo>
                    <a:lnTo>
                      <a:pt x="624" y="600"/>
                    </a:lnTo>
                    <a:lnTo>
                      <a:pt x="612" y="606"/>
                    </a:lnTo>
                    <a:lnTo>
                      <a:pt x="606" y="612"/>
                    </a:lnTo>
                    <a:lnTo>
                      <a:pt x="600" y="612"/>
                    </a:lnTo>
                    <a:lnTo>
                      <a:pt x="588" y="618"/>
                    </a:lnTo>
                    <a:lnTo>
                      <a:pt x="582" y="618"/>
                    </a:lnTo>
                    <a:lnTo>
                      <a:pt x="576" y="624"/>
                    </a:lnTo>
                    <a:lnTo>
                      <a:pt x="570" y="618"/>
                    </a:lnTo>
                    <a:lnTo>
                      <a:pt x="564" y="612"/>
                    </a:lnTo>
                    <a:lnTo>
                      <a:pt x="564" y="606"/>
                    </a:lnTo>
                    <a:lnTo>
                      <a:pt x="558" y="606"/>
                    </a:lnTo>
                    <a:lnTo>
                      <a:pt x="552" y="600"/>
                    </a:lnTo>
                    <a:lnTo>
                      <a:pt x="546" y="600"/>
                    </a:lnTo>
                    <a:lnTo>
                      <a:pt x="534" y="594"/>
                    </a:lnTo>
                    <a:lnTo>
                      <a:pt x="528" y="582"/>
                    </a:lnTo>
                    <a:lnTo>
                      <a:pt x="522" y="576"/>
                    </a:lnTo>
                    <a:lnTo>
                      <a:pt x="522" y="570"/>
                    </a:lnTo>
                    <a:lnTo>
                      <a:pt x="522" y="564"/>
                    </a:lnTo>
                    <a:lnTo>
                      <a:pt x="516" y="558"/>
                    </a:lnTo>
                    <a:lnTo>
                      <a:pt x="510" y="570"/>
                    </a:lnTo>
                    <a:lnTo>
                      <a:pt x="498" y="570"/>
                    </a:lnTo>
                    <a:lnTo>
                      <a:pt x="492" y="570"/>
                    </a:lnTo>
                    <a:lnTo>
                      <a:pt x="480" y="570"/>
                    </a:lnTo>
                    <a:lnTo>
                      <a:pt x="468" y="570"/>
                    </a:lnTo>
                    <a:lnTo>
                      <a:pt x="462" y="576"/>
                    </a:lnTo>
                    <a:lnTo>
                      <a:pt x="456" y="582"/>
                    </a:lnTo>
                    <a:lnTo>
                      <a:pt x="456" y="594"/>
                    </a:lnTo>
                    <a:lnTo>
                      <a:pt x="444" y="594"/>
                    </a:lnTo>
                    <a:lnTo>
                      <a:pt x="438" y="600"/>
                    </a:lnTo>
                    <a:lnTo>
                      <a:pt x="432" y="606"/>
                    </a:lnTo>
                    <a:lnTo>
                      <a:pt x="426" y="606"/>
                    </a:lnTo>
                    <a:lnTo>
                      <a:pt x="420" y="612"/>
                    </a:lnTo>
                    <a:lnTo>
                      <a:pt x="414" y="612"/>
                    </a:lnTo>
                    <a:lnTo>
                      <a:pt x="408" y="612"/>
                    </a:lnTo>
                    <a:lnTo>
                      <a:pt x="402" y="612"/>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US" sz="900" dirty="0">
                  <a:solidFill>
                    <a:srgbClr val="000000"/>
                  </a:solidFill>
                </a:endParaRPr>
              </a:p>
            </p:txBody>
          </p:sp>
          <p:sp>
            <p:nvSpPr>
              <p:cNvPr id="56" name="Freeform 62"/>
              <p:cNvSpPr>
                <a:spLocks noEditPoints="1"/>
              </p:cNvSpPr>
              <p:nvPr/>
            </p:nvSpPr>
            <p:spPr bwMode="gray">
              <a:xfrm>
                <a:off x="3305758" y="4995892"/>
                <a:ext cx="633054" cy="848505"/>
              </a:xfrm>
              <a:custGeom>
                <a:avLst/>
                <a:gdLst>
                  <a:gd name="T0" fmla="*/ 120 w 492"/>
                  <a:gd name="T1" fmla="*/ 594 h 666"/>
                  <a:gd name="T2" fmla="*/ 114 w 492"/>
                  <a:gd name="T3" fmla="*/ 558 h 666"/>
                  <a:gd name="T4" fmla="*/ 138 w 492"/>
                  <a:gd name="T5" fmla="*/ 504 h 666"/>
                  <a:gd name="T6" fmla="*/ 126 w 492"/>
                  <a:gd name="T7" fmla="*/ 486 h 666"/>
                  <a:gd name="T8" fmla="*/ 120 w 492"/>
                  <a:gd name="T9" fmla="*/ 438 h 666"/>
                  <a:gd name="T10" fmla="*/ 126 w 492"/>
                  <a:gd name="T11" fmla="*/ 402 h 666"/>
                  <a:gd name="T12" fmla="*/ 90 w 492"/>
                  <a:gd name="T13" fmla="*/ 408 h 666"/>
                  <a:gd name="T14" fmla="*/ 72 w 492"/>
                  <a:gd name="T15" fmla="*/ 372 h 666"/>
                  <a:gd name="T16" fmla="*/ 78 w 492"/>
                  <a:gd name="T17" fmla="*/ 354 h 666"/>
                  <a:gd name="T18" fmla="*/ 54 w 492"/>
                  <a:gd name="T19" fmla="*/ 324 h 666"/>
                  <a:gd name="T20" fmla="*/ 54 w 492"/>
                  <a:gd name="T21" fmla="*/ 282 h 666"/>
                  <a:gd name="T22" fmla="*/ 36 w 492"/>
                  <a:gd name="T23" fmla="*/ 270 h 666"/>
                  <a:gd name="T24" fmla="*/ 6 w 492"/>
                  <a:gd name="T25" fmla="*/ 252 h 666"/>
                  <a:gd name="T26" fmla="*/ 42 w 492"/>
                  <a:gd name="T27" fmla="*/ 228 h 666"/>
                  <a:gd name="T28" fmla="*/ 72 w 492"/>
                  <a:gd name="T29" fmla="*/ 228 h 666"/>
                  <a:gd name="T30" fmla="*/ 114 w 492"/>
                  <a:gd name="T31" fmla="*/ 216 h 666"/>
                  <a:gd name="T32" fmla="*/ 150 w 492"/>
                  <a:gd name="T33" fmla="*/ 198 h 666"/>
                  <a:gd name="T34" fmla="*/ 186 w 492"/>
                  <a:gd name="T35" fmla="*/ 174 h 666"/>
                  <a:gd name="T36" fmla="*/ 162 w 492"/>
                  <a:gd name="T37" fmla="*/ 156 h 666"/>
                  <a:gd name="T38" fmla="*/ 162 w 492"/>
                  <a:gd name="T39" fmla="*/ 114 h 666"/>
                  <a:gd name="T40" fmla="*/ 198 w 492"/>
                  <a:gd name="T41" fmla="*/ 84 h 666"/>
                  <a:gd name="T42" fmla="*/ 228 w 492"/>
                  <a:gd name="T43" fmla="*/ 96 h 666"/>
                  <a:gd name="T44" fmla="*/ 270 w 492"/>
                  <a:gd name="T45" fmla="*/ 108 h 666"/>
                  <a:gd name="T46" fmla="*/ 294 w 492"/>
                  <a:gd name="T47" fmla="*/ 72 h 666"/>
                  <a:gd name="T48" fmla="*/ 330 w 492"/>
                  <a:gd name="T49" fmla="*/ 66 h 666"/>
                  <a:gd name="T50" fmla="*/ 372 w 492"/>
                  <a:gd name="T51" fmla="*/ 48 h 666"/>
                  <a:gd name="T52" fmla="*/ 408 w 492"/>
                  <a:gd name="T53" fmla="*/ 30 h 666"/>
                  <a:gd name="T54" fmla="*/ 438 w 492"/>
                  <a:gd name="T55" fmla="*/ 30 h 666"/>
                  <a:gd name="T56" fmla="*/ 468 w 492"/>
                  <a:gd name="T57" fmla="*/ 6 h 666"/>
                  <a:gd name="T58" fmla="*/ 492 w 492"/>
                  <a:gd name="T59" fmla="*/ 36 h 666"/>
                  <a:gd name="T60" fmla="*/ 480 w 492"/>
                  <a:gd name="T61" fmla="*/ 78 h 666"/>
                  <a:gd name="T62" fmla="*/ 474 w 492"/>
                  <a:gd name="T63" fmla="*/ 114 h 666"/>
                  <a:gd name="T64" fmla="*/ 450 w 492"/>
                  <a:gd name="T65" fmla="*/ 162 h 666"/>
                  <a:gd name="T66" fmla="*/ 438 w 492"/>
                  <a:gd name="T67" fmla="*/ 192 h 666"/>
                  <a:gd name="T68" fmla="*/ 420 w 492"/>
                  <a:gd name="T69" fmla="*/ 204 h 666"/>
                  <a:gd name="T70" fmla="*/ 426 w 492"/>
                  <a:gd name="T71" fmla="*/ 210 h 666"/>
                  <a:gd name="T72" fmla="*/ 432 w 492"/>
                  <a:gd name="T73" fmla="*/ 258 h 666"/>
                  <a:gd name="T74" fmla="*/ 438 w 492"/>
                  <a:gd name="T75" fmla="*/ 306 h 666"/>
                  <a:gd name="T76" fmla="*/ 426 w 492"/>
                  <a:gd name="T77" fmla="*/ 318 h 666"/>
                  <a:gd name="T78" fmla="*/ 438 w 492"/>
                  <a:gd name="T79" fmla="*/ 366 h 666"/>
                  <a:gd name="T80" fmla="*/ 408 w 492"/>
                  <a:gd name="T81" fmla="*/ 390 h 666"/>
                  <a:gd name="T82" fmla="*/ 396 w 492"/>
                  <a:gd name="T83" fmla="*/ 396 h 666"/>
                  <a:gd name="T84" fmla="*/ 360 w 492"/>
                  <a:gd name="T85" fmla="*/ 426 h 666"/>
                  <a:gd name="T86" fmla="*/ 330 w 492"/>
                  <a:gd name="T87" fmla="*/ 468 h 666"/>
                  <a:gd name="T88" fmla="*/ 336 w 492"/>
                  <a:gd name="T89" fmla="*/ 516 h 666"/>
                  <a:gd name="T90" fmla="*/ 306 w 492"/>
                  <a:gd name="T91" fmla="*/ 528 h 666"/>
                  <a:gd name="T92" fmla="*/ 270 w 492"/>
                  <a:gd name="T93" fmla="*/ 540 h 666"/>
                  <a:gd name="T94" fmla="*/ 234 w 492"/>
                  <a:gd name="T95" fmla="*/ 570 h 666"/>
                  <a:gd name="T96" fmla="*/ 228 w 492"/>
                  <a:gd name="T97" fmla="*/ 594 h 666"/>
                  <a:gd name="T98" fmla="*/ 210 w 492"/>
                  <a:gd name="T99" fmla="*/ 630 h 666"/>
                  <a:gd name="T100" fmla="*/ 162 w 492"/>
                  <a:gd name="T101" fmla="*/ 660 h 666"/>
                  <a:gd name="T102" fmla="*/ 114 w 492"/>
                  <a:gd name="T103" fmla="*/ 642 h 666"/>
                  <a:gd name="T104" fmla="*/ 408 w 492"/>
                  <a:gd name="T105" fmla="*/ 204 h 666"/>
                  <a:gd name="T106" fmla="*/ 414 w 492"/>
                  <a:gd name="T107" fmla="*/ 210 h 666"/>
                  <a:gd name="T108" fmla="*/ 414 w 492"/>
                  <a:gd name="T109" fmla="*/ 204 h 666"/>
                  <a:gd name="T110" fmla="*/ 378 w 492"/>
                  <a:gd name="T111" fmla="*/ 528 h 666"/>
                  <a:gd name="T112" fmla="*/ 427 w 492"/>
                  <a:gd name="T113" fmla="*/ 204 h 666"/>
                  <a:gd name="T114" fmla="*/ 324 w 492"/>
                  <a:gd name="T115" fmla="*/ 534 h 666"/>
                  <a:gd name="T116" fmla="*/ 390 w 492"/>
                  <a:gd name="T117" fmla="*/ 390 h 666"/>
                  <a:gd name="T118" fmla="*/ 270 w 492"/>
                  <a:gd name="T119" fmla="*/ 540 h 6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2" h="666">
                    <a:moveTo>
                      <a:pt x="108" y="642"/>
                    </a:moveTo>
                    <a:lnTo>
                      <a:pt x="108" y="636"/>
                    </a:lnTo>
                    <a:lnTo>
                      <a:pt x="114" y="636"/>
                    </a:lnTo>
                    <a:lnTo>
                      <a:pt x="114" y="630"/>
                    </a:lnTo>
                    <a:lnTo>
                      <a:pt x="120" y="630"/>
                    </a:lnTo>
                    <a:lnTo>
                      <a:pt x="120" y="624"/>
                    </a:lnTo>
                    <a:lnTo>
                      <a:pt x="120" y="618"/>
                    </a:lnTo>
                    <a:lnTo>
                      <a:pt x="126" y="618"/>
                    </a:lnTo>
                    <a:lnTo>
                      <a:pt x="126" y="612"/>
                    </a:lnTo>
                    <a:lnTo>
                      <a:pt x="126" y="606"/>
                    </a:lnTo>
                    <a:lnTo>
                      <a:pt x="126" y="600"/>
                    </a:lnTo>
                    <a:lnTo>
                      <a:pt x="120" y="600"/>
                    </a:lnTo>
                    <a:lnTo>
                      <a:pt x="120" y="594"/>
                    </a:lnTo>
                    <a:lnTo>
                      <a:pt x="114" y="594"/>
                    </a:lnTo>
                    <a:lnTo>
                      <a:pt x="114" y="588"/>
                    </a:lnTo>
                    <a:lnTo>
                      <a:pt x="120" y="588"/>
                    </a:lnTo>
                    <a:lnTo>
                      <a:pt x="120" y="582"/>
                    </a:lnTo>
                    <a:lnTo>
                      <a:pt x="120" y="588"/>
                    </a:lnTo>
                    <a:lnTo>
                      <a:pt x="120" y="582"/>
                    </a:lnTo>
                    <a:lnTo>
                      <a:pt x="120" y="576"/>
                    </a:lnTo>
                    <a:lnTo>
                      <a:pt x="126" y="576"/>
                    </a:lnTo>
                    <a:lnTo>
                      <a:pt x="126" y="570"/>
                    </a:lnTo>
                    <a:lnTo>
                      <a:pt x="120" y="570"/>
                    </a:lnTo>
                    <a:lnTo>
                      <a:pt x="120" y="564"/>
                    </a:lnTo>
                    <a:lnTo>
                      <a:pt x="120" y="558"/>
                    </a:lnTo>
                    <a:lnTo>
                      <a:pt x="114" y="558"/>
                    </a:lnTo>
                    <a:lnTo>
                      <a:pt x="114" y="552"/>
                    </a:lnTo>
                    <a:lnTo>
                      <a:pt x="114" y="546"/>
                    </a:lnTo>
                    <a:lnTo>
                      <a:pt x="120" y="546"/>
                    </a:lnTo>
                    <a:lnTo>
                      <a:pt x="120" y="540"/>
                    </a:lnTo>
                    <a:lnTo>
                      <a:pt x="126" y="540"/>
                    </a:lnTo>
                    <a:lnTo>
                      <a:pt x="126" y="534"/>
                    </a:lnTo>
                    <a:lnTo>
                      <a:pt x="126" y="528"/>
                    </a:lnTo>
                    <a:lnTo>
                      <a:pt x="126" y="522"/>
                    </a:lnTo>
                    <a:lnTo>
                      <a:pt x="126" y="516"/>
                    </a:lnTo>
                    <a:lnTo>
                      <a:pt x="132" y="516"/>
                    </a:lnTo>
                    <a:lnTo>
                      <a:pt x="132" y="510"/>
                    </a:lnTo>
                    <a:lnTo>
                      <a:pt x="132" y="504"/>
                    </a:lnTo>
                    <a:lnTo>
                      <a:pt x="138" y="504"/>
                    </a:lnTo>
                    <a:lnTo>
                      <a:pt x="132" y="504"/>
                    </a:lnTo>
                    <a:lnTo>
                      <a:pt x="138" y="504"/>
                    </a:lnTo>
                    <a:lnTo>
                      <a:pt x="138" y="498"/>
                    </a:lnTo>
                    <a:lnTo>
                      <a:pt x="144" y="498"/>
                    </a:lnTo>
                    <a:lnTo>
                      <a:pt x="144" y="492"/>
                    </a:lnTo>
                    <a:lnTo>
                      <a:pt x="138" y="492"/>
                    </a:lnTo>
                    <a:lnTo>
                      <a:pt x="138" y="486"/>
                    </a:lnTo>
                    <a:lnTo>
                      <a:pt x="138" y="480"/>
                    </a:lnTo>
                    <a:lnTo>
                      <a:pt x="138" y="486"/>
                    </a:lnTo>
                    <a:lnTo>
                      <a:pt x="132" y="486"/>
                    </a:lnTo>
                    <a:lnTo>
                      <a:pt x="132" y="480"/>
                    </a:lnTo>
                    <a:lnTo>
                      <a:pt x="126" y="480"/>
                    </a:lnTo>
                    <a:lnTo>
                      <a:pt x="126" y="486"/>
                    </a:lnTo>
                    <a:lnTo>
                      <a:pt x="126" y="480"/>
                    </a:lnTo>
                    <a:lnTo>
                      <a:pt x="120" y="480"/>
                    </a:lnTo>
                    <a:lnTo>
                      <a:pt x="114" y="480"/>
                    </a:lnTo>
                    <a:lnTo>
                      <a:pt x="114" y="474"/>
                    </a:lnTo>
                    <a:lnTo>
                      <a:pt x="120" y="474"/>
                    </a:lnTo>
                    <a:lnTo>
                      <a:pt x="120" y="468"/>
                    </a:lnTo>
                    <a:lnTo>
                      <a:pt x="120" y="462"/>
                    </a:lnTo>
                    <a:lnTo>
                      <a:pt x="120" y="456"/>
                    </a:lnTo>
                    <a:lnTo>
                      <a:pt x="126" y="456"/>
                    </a:lnTo>
                    <a:lnTo>
                      <a:pt x="120" y="456"/>
                    </a:lnTo>
                    <a:lnTo>
                      <a:pt x="120" y="450"/>
                    </a:lnTo>
                    <a:lnTo>
                      <a:pt x="120" y="444"/>
                    </a:lnTo>
                    <a:lnTo>
                      <a:pt x="120" y="438"/>
                    </a:lnTo>
                    <a:lnTo>
                      <a:pt x="126" y="438"/>
                    </a:lnTo>
                    <a:lnTo>
                      <a:pt x="126" y="432"/>
                    </a:lnTo>
                    <a:lnTo>
                      <a:pt x="126" y="426"/>
                    </a:lnTo>
                    <a:lnTo>
                      <a:pt x="120" y="426"/>
                    </a:lnTo>
                    <a:lnTo>
                      <a:pt x="120" y="420"/>
                    </a:lnTo>
                    <a:lnTo>
                      <a:pt x="120" y="414"/>
                    </a:lnTo>
                    <a:lnTo>
                      <a:pt x="126" y="414"/>
                    </a:lnTo>
                    <a:lnTo>
                      <a:pt x="126" y="420"/>
                    </a:lnTo>
                    <a:lnTo>
                      <a:pt x="126" y="414"/>
                    </a:lnTo>
                    <a:lnTo>
                      <a:pt x="126" y="408"/>
                    </a:lnTo>
                    <a:lnTo>
                      <a:pt x="132" y="408"/>
                    </a:lnTo>
                    <a:lnTo>
                      <a:pt x="132" y="402"/>
                    </a:lnTo>
                    <a:lnTo>
                      <a:pt x="126" y="402"/>
                    </a:lnTo>
                    <a:lnTo>
                      <a:pt x="126" y="396"/>
                    </a:lnTo>
                    <a:lnTo>
                      <a:pt x="120" y="396"/>
                    </a:lnTo>
                    <a:lnTo>
                      <a:pt x="126" y="396"/>
                    </a:lnTo>
                    <a:lnTo>
                      <a:pt x="120" y="396"/>
                    </a:lnTo>
                    <a:lnTo>
                      <a:pt x="120" y="390"/>
                    </a:lnTo>
                    <a:lnTo>
                      <a:pt x="114" y="390"/>
                    </a:lnTo>
                    <a:lnTo>
                      <a:pt x="108" y="390"/>
                    </a:lnTo>
                    <a:lnTo>
                      <a:pt x="108" y="396"/>
                    </a:lnTo>
                    <a:lnTo>
                      <a:pt x="102" y="396"/>
                    </a:lnTo>
                    <a:lnTo>
                      <a:pt x="102" y="402"/>
                    </a:lnTo>
                    <a:lnTo>
                      <a:pt x="96" y="402"/>
                    </a:lnTo>
                    <a:lnTo>
                      <a:pt x="90" y="402"/>
                    </a:lnTo>
                    <a:lnTo>
                      <a:pt x="90" y="408"/>
                    </a:lnTo>
                    <a:lnTo>
                      <a:pt x="90" y="402"/>
                    </a:lnTo>
                    <a:lnTo>
                      <a:pt x="84" y="402"/>
                    </a:lnTo>
                    <a:lnTo>
                      <a:pt x="78" y="402"/>
                    </a:lnTo>
                    <a:lnTo>
                      <a:pt x="78" y="396"/>
                    </a:lnTo>
                    <a:lnTo>
                      <a:pt x="72" y="396"/>
                    </a:lnTo>
                    <a:lnTo>
                      <a:pt x="72" y="390"/>
                    </a:lnTo>
                    <a:lnTo>
                      <a:pt x="78" y="390"/>
                    </a:lnTo>
                    <a:lnTo>
                      <a:pt x="78" y="384"/>
                    </a:lnTo>
                    <a:lnTo>
                      <a:pt x="72" y="384"/>
                    </a:lnTo>
                    <a:lnTo>
                      <a:pt x="78" y="384"/>
                    </a:lnTo>
                    <a:lnTo>
                      <a:pt x="72" y="384"/>
                    </a:lnTo>
                    <a:lnTo>
                      <a:pt x="72" y="378"/>
                    </a:lnTo>
                    <a:lnTo>
                      <a:pt x="72" y="372"/>
                    </a:lnTo>
                    <a:lnTo>
                      <a:pt x="78" y="366"/>
                    </a:lnTo>
                    <a:lnTo>
                      <a:pt x="72" y="366"/>
                    </a:lnTo>
                    <a:lnTo>
                      <a:pt x="78" y="366"/>
                    </a:lnTo>
                    <a:lnTo>
                      <a:pt x="72" y="366"/>
                    </a:lnTo>
                    <a:lnTo>
                      <a:pt x="72" y="360"/>
                    </a:lnTo>
                    <a:lnTo>
                      <a:pt x="78" y="360"/>
                    </a:lnTo>
                    <a:lnTo>
                      <a:pt x="72" y="360"/>
                    </a:lnTo>
                    <a:lnTo>
                      <a:pt x="78" y="360"/>
                    </a:lnTo>
                    <a:lnTo>
                      <a:pt x="72" y="360"/>
                    </a:lnTo>
                    <a:lnTo>
                      <a:pt x="72" y="354"/>
                    </a:lnTo>
                    <a:lnTo>
                      <a:pt x="78" y="354"/>
                    </a:lnTo>
                    <a:lnTo>
                      <a:pt x="84" y="354"/>
                    </a:lnTo>
                    <a:lnTo>
                      <a:pt x="78" y="354"/>
                    </a:lnTo>
                    <a:lnTo>
                      <a:pt x="78" y="348"/>
                    </a:lnTo>
                    <a:lnTo>
                      <a:pt x="78" y="342"/>
                    </a:lnTo>
                    <a:lnTo>
                      <a:pt x="78" y="348"/>
                    </a:lnTo>
                    <a:lnTo>
                      <a:pt x="84" y="348"/>
                    </a:lnTo>
                    <a:lnTo>
                      <a:pt x="84" y="342"/>
                    </a:lnTo>
                    <a:lnTo>
                      <a:pt x="84" y="336"/>
                    </a:lnTo>
                    <a:lnTo>
                      <a:pt x="78" y="336"/>
                    </a:lnTo>
                    <a:lnTo>
                      <a:pt x="78" y="330"/>
                    </a:lnTo>
                    <a:lnTo>
                      <a:pt x="72" y="330"/>
                    </a:lnTo>
                    <a:lnTo>
                      <a:pt x="72" y="324"/>
                    </a:lnTo>
                    <a:lnTo>
                      <a:pt x="66" y="324"/>
                    </a:lnTo>
                    <a:lnTo>
                      <a:pt x="60" y="324"/>
                    </a:lnTo>
                    <a:lnTo>
                      <a:pt x="54" y="324"/>
                    </a:lnTo>
                    <a:lnTo>
                      <a:pt x="54" y="318"/>
                    </a:lnTo>
                    <a:lnTo>
                      <a:pt x="54" y="312"/>
                    </a:lnTo>
                    <a:lnTo>
                      <a:pt x="60" y="312"/>
                    </a:lnTo>
                    <a:lnTo>
                      <a:pt x="60" y="306"/>
                    </a:lnTo>
                    <a:lnTo>
                      <a:pt x="66" y="306"/>
                    </a:lnTo>
                    <a:lnTo>
                      <a:pt x="72" y="306"/>
                    </a:lnTo>
                    <a:lnTo>
                      <a:pt x="66" y="306"/>
                    </a:lnTo>
                    <a:lnTo>
                      <a:pt x="66" y="300"/>
                    </a:lnTo>
                    <a:lnTo>
                      <a:pt x="66" y="294"/>
                    </a:lnTo>
                    <a:lnTo>
                      <a:pt x="60" y="294"/>
                    </a:lnTo>
                    <a:lnTo>
                      <a:pt x="60" y="288"/>
                    </a:lnTo>
                    <a:lnTo>
                      <a:pt x="60" y="282"/>
                    </a:lnTo>
                    <a:lnTo>
                      <a:pt x="54" y="282"/>
                    </a:lnTo>
                    <a:lnTo>
                      <a:pt x="54" y="288"/>
                    </a:lnTo>
                    <a:lnTo>
                      <a:pt x="48" y="288"/>
                    </a:lnTo>
                    <a:lnTo>
                      <a:pt x="42" y="288"/>
                    </a:lnTo>
                    <a:lnTo>
                      <a:pt x="36" y="288"/>
                    </a:lnTo>
                    <a:lnTo>
                      <a:pt x="36" y="282"/>
                    </a:lnTo>
                    <a:lnTo>
                      <a:pt x="30" y="282"/>
                    </a:lnTo>
                    <a:lnTo>
                      <a:pt x="30" y="288"/>
                    </a:lnTo>
                    <a:lnTo>
                      <a:pt x="30" y="282"/>
                    </a:lnTo>
                    <a:lnTo>
                      <a:pt x="36" y="282"/>
                    </a:lnTo>
                    <a:lnTo>
                      <a:pt x="36" y="276"/>
                    </a:lnTo>
                    <a:lnTo>
                      <a:pt x="42" y="276"/>
                    </a:lnTo>
                    <a:lnTo>
                      <a:pt x="36" y="276"/>
                    </a:lnTo>
                    <a:lnTo>
                      <a:pt x="36" y="270"/>
                    </a:lnTo>
                    <a:lnTo>
                      <a:pt x="42" y="270"/>
                    </a:lnTo>
                    <a:lnTo>
                      <a:pt x="42" y="264"/>
                    </a:lnTo>
                    <a:lnTo>
                      <a:pt x="36" y="264"/>
                    </a:lnTo>
                    <a:lnTo>
                      <a:pt x="36" y="270"/>
                    </a:lnTo>
                    <a:lnTo>
                      <a:pt x="36" y="264"/>
                    </a:lnTo>
                    <a:lnTo>
                      <a:pt x="30" y="264"/>
                    </a:lnTo>
                    <a:lnTo>
                      <a:pt x="24" y="258"/>
                    </a:lnTo>
                    <a:lnTo>
                      <a:pt x="18" y="258"/>
                    </a:lnTo>
                    <a:lnTo>
                      <a:pt x="18" y="252"/>
                    </a:lnTo>
                    <a:lnTo>
                      <a:pt x="12" y="252"/>
                    </a:lnTo>
                    <a:lnTo>
                      <a:pt x="12" y="258"/>
                    </a:lnTo>
                    <a:lnTo>
                      <a:pt x="12" y="252"/>
                    </a:lnTo>
                    <a:lnTo>
                      <a:pt x="6" y="252"/>
                    </a:lnTo>
                    <a:lnTo>
                      <a:pt x="6" y="246"/>
                    </a:lnTo>
                    <a:lnTo>
                      <a:pt x="6" y="240"/>
                    </a:lnTo>
                    <a:lnTo>
                      <a:pt x="0" y="240"/>
                    </a:lnTo>
                    <a:lnTo>
                      <a:pt x="6" y="240"/>
                    </a:lnTo>
                    <a:lnTo>
                      <a:pt x="12" y="240"/>
                    </a:lnTo>
                    <a:lnTo>
                      <a:pt x="18" y="240"/>
                    </a:lnTo>
                    <a:lnTo>
                      <a:pt x="18" y="234"/>
                    </a:lnTo>
                    <a:lnTo>
                      <a:pt x="24" y="234"/>
                    </a:lnTo>
                    <a:lnTo>
                      <a:pt x="30" y="234"/>
                    </a:lnTo>
                    <a:lnTo>
                      <a:pt x="24" y="228"/>
                    </a:lnTo>
                    <a:lnTo>
                      <a:pt x="30" y="228"/>
                    </a:lnTo>
                    <a:lnTo>
                      <a:pt x="36" y="228"/>
                    </a:lnTo>
                    <a:lnTo>
                      <a:pt x="42" y="228"/>
                    </a:lnTo>
                    <a:lnTo>
                      <a:pt x="42" y="234"/>
                    </a:lnTo>
                    <a:lnTo>
                      <a:pt x="48" y="234"/>
                    </a:lnTo>
                    <a:lnTo>
                      <a:pt x="54" y="234"/>
                    </a:lnTo>
                    <a:lnTo>
                      <a:pt x="60" y="234"/>
                    </a:lnTo>
                    <a:lnTo>
                      <a:pt x="66" y="234"/>
                    </a:lnTo>
                    <a:lnTo>
                      <a:pt x="72" y="234"/>
                    </a:lnTo>
                    <a:lnTo>
                      <a:pt x="72" y="240"/>
                    </a:lnTo>
                    <a:lnTo>
                      <a:pt x="72" y="234"/>
                    </a:lnTo>
                    <a:lnTo>
                      <a:pt x="72" y="240"/>
                    </a:lnTo>
                    <a:lnTo>
                      <a:pt x="78" y="240"/>
                    </a:lnTo>
                    <a:lnTo>
                      <a:pt x="78" y="234"/>
                    </a:lnTo>
                    <a:lnTo>
                      <a:pt x="72" y="234"/>
                    </a:lnTo>
                    <a:lnTo>
                      <a:pt x="72" y="228"/>
                    </a:lnTo>
                    <a:lnTo>
                      <a:pt x="78" y="228"/>
                    </a:lnTo>
                    <a:lnTo>
                      <a:pt x="78" y="222"/>
                    </a:lnTo>
                    <a:lnTo>
                      <a:pt x="84" y="222"/>
                    </a:lnTo>
                    <a:lnTo>
                      <a:pt x="84" y="216"/>
                    </a:lnTo>
                    <a:lnTo>
                      <a:pt x="90" y="216"/>
                    </a:lnTo>
                    <a:lnTo>
                      <a:pt x="90" y="210"/>
                    </a:lnTo>
                    <a:lnTo>
                      <a:pt x="96" y="210"/>
                    </a:lnTo>
                    <a:lnTo>
                      <a:pt x="96" y="216"/>
                    </a:lnTo>
                    <a:lnTo>
                      <a:pt x="102" y="216"/>
                    </a:lnTo>
                    <a:lnTo>
                      <a:pt x="102" y="222"/>
                    </a:lnTo>
                    <a:lnTo>
                      <a:pt x="108" y="222"/>
                    </a:lnTo>
                    <a:lnTo>
                      <a:pt x="108" y="216"/>
                    </a:lnTo>
                    <a:lnTo>
                      <a:pt x="114" y="216"/>
                    </a:lnTo>
                    <a:lnTo>
                      <a:pt x="120" y="216"/>
                    </a:lnTo>
                    <a:lnTo>
                      <a:pt x="120" y="210"/>
                    </a:lnTo>
                    <a:lnTo>
                      <a:pt x="126" y="210"/>
                    </a:lnTo>
                    <a:lnTo>
                      <a:pt x="126" y="216"/>
                    </a:lnTo>
                    <a:lnTo>
                      <a:pt x="132" y="216"/>
                    </a:lnTo>
                    <a:lnTo>
                      <a:pt x="138" y="216"/>
                    </a:lnTo>
                    <a:lnTo>
                      <a:pt x="144" y="216"/>
                    </a:lnTo>
                    <a:lnTo>
                      <a:pt x="150" y="216"/>
                    </a:lnTo>
                    <a:lnTo>
                      <a:pt x="144" y="216"/>
                    </a:lnTo>
                    <a:lnTo>
                      <a:pt x="150" y="216"/>
                    </a:lnTo>
                    <a:lnTo>
                      <a:pt x="150" y="210"/>
                    </a:lnTo>
                    <a:lnTo>
                      <a:pt x="150" y="204"/>
                    </a:lnTo>
                    <a:lnTo>
                      <a:pt x="150" y="198"/>
                    </a:lnTo>
                    <a:lnTo>
                      <a:pt x="150" y="204"/>
                    </a:lnTo>
                    <a:lnTo>
                      <a:pt x="150" y="198"/>
                    </a:lnTo>
                    <a:lnTo>
                      <a:pt x="156" y="198"/>
                    </a:lnTo>
                    <a:lnTo>
                      <a:pt x="162" y="198"/>
                    </a:lnTo>
                    <a:lnTo>
                      <a:pt x="168" y="198"/>
                    </a:lnTo>
                    <a:lnTo>
                      <a:pt x="174" y="192"/>
                    </a:lnTo>
                    <a:lnTo>
                      <a:pt x="174" y="198"/>
                    </a:lnTo>
                    <a:lnTo>
                      <a:pt x="174" y="192"/>
                    </a:lnTo>
                    <a:lnTo>
                      <a:pt x="174" y="186"/>
                    </a:lnTo>
                    <a:lnTo>
                      <a:pt x="180" y="186"/>
                    </a:lnTo>
                    <a:lnTo>
                      <a:pt x="180" y="180"/>
                    </a:lnTo>
                    <a:lnTo>
                      <a:pt x="186" y="180"/>
                    </a:lnTo>
                    <a:lnTo>
                      <a:pt x="186" y="174"/>
                    </a:lnTo>
                    <a:lnTo>
                      <a:pt x="186" y="168"/>
                    </a:lnTo>
                    <a:lnTo>
                      <a:pt x="180" y="168"/>
                    </a:lnTo>
                    <a:lnTo>
                      <a:pt x="174" y="168"/>
                    </a:lnTo>
                    <a:lnTo>
                      <a:pt x="174" y="162"/>
                    </a:lnTo>
                    <a:lnTo>
                      <a:pt x="168" y="162"/>
                    </a:lnTo>
                    <a:lnTo>
                      <a:pt x="162" y="162"/>
                    </a:lnTo>
                    <a:lnTo>
                      <a:pt x="156" y="162"/>
                    </a:lnTo>
                    <a:lnTo>
                      <a:pt x="156" y="168"/>
                    </a:lnTo>
                    <a:lnTo>
                      <a:pt x="156" y="162"/>
                    </a:lnTo>
                    <a:lnTo>
                      <a:pt x="150" y="162"/>
                    </a:lnTo>
                    <a:lnTo>
                      <a:pt x="150" y="156"/>
                    </a:lnTo>
                    <a:lnTo>
                      <a:pt x="156" y="156"/>
                    </a:lnTo>
                    <a:lnTo>
                      <a:pt x="162" y="156"/>
                    </a:lnTo>
                    <a:lnTo>
                      <a:pt x="162" y="150"/>
                    </a:lnTo>
                    <a:lnTo>
                      <a:pt x="162" y="144"/>
                    </a:lnTo>
                    <a:lnTo>
                      <a:pt x="168" y="144"/>
                    </a:lnTo>
                    <a:lnTo>
                      <a:pt x="168" y="138"/>
                    </a:lnTo>
                    <a:lnTo>
                      <a:pt x="168" y="132"/>
                    </a:lnTo>
                    <a:lnTo>
                      <a:pt x="168" y="126"/>
                    </a:lnTo>
                    <a:lnTo>
                      <a:pt x="168" y="132"/>
                    </a:lnTo>
                    <a:lnTo>
                      <a:pt x="162" y="132"/>
                    </a:lnTo>
                    <a:lnTo>
                      <a:pt x="168" y="132"/>
                    </a:lnTo>
                    <a:lnTo>
                      <a:pt x="168" y="126"/>
                    </a:lnTo>
                    <a:lnTo>
                      <a:pt x="162" y="126"/>
                    </a:lnTo>
                    <a:lnTo>
                      <a:pt x="162" y="120"/>
                    </a:lnTo>
                    <a:lnTo>
                      <a:pt x="162" y="114"/>
                    </a:lnTo>
                    <a:lnTo>
                      <a:pt x="168" y="114"/>
                    </a:lnTo>
                    <a:lnTo>
                      <a:pt x="168" y="108"/>
                    </a:lnTo>
                    <a:lnTo>
                      <a:pt x="174" y="108"/>
                    </a:lnTo>
                    <a:lnTo>
                      <a:pt x="180" y="108"/>
                    </a:lnTo>
                    <a:lnTo>
                      <a:pt x="180" y="102"/>
                    </a:lnTo>
                    <a:lnTo>
                      <a:pt x="186" y="102"/>
                    </a:lnTo>
                    <a:lnTo>
                      <a:pt x="186" y="96"/>
                    </a:lnTo>
                    <a:lnTo>
                      <a:pt x="186" y="90"/>
                    </a:lnTo>
                    <a:lnTo>
                      <a:pt x="192" y="90"/>
                    </a:lnTo>
                    <a:lnTo>
                      <a:pt x="192" y="84"/>
                    </a:lnTo>
                    <a:lnTo>
                      <a:pt x="186" y="84"/>
                    </a:lnTo>
                    <a:lnTo>
                      <a:pt x="192" y="84"/>
                    </a:lnTo>
                    <a:lnTo>
                      <a:pt x="198" y="84"/>
                    </a:lnTo>
                    <a:lnTo>
                      <a:pt x="204" y="84"/>
                    </a:lnTo>
                    <a:lnTo>
                      <a:pt x="204" y="78"/>
                    </a:lnTo>
                    <a:lnTo>
                      <a:pt x="204" y="84"/>
                    </a:lnTo>
                    <a:lnTo>
                      <a:pt x="204" y="90"/>
                    </a:lnTo>
                    <a:lnTo>
                      <a:pt x="204" y="84"/>
                    </a:lnTo>
                    <a:lnTo>
                      <a:pt x="210" y="84"/>
                    </a:lnTo>
                    <a:lnTo>
                      <a:pt x="210" y="90"/>
                    </a:lnTo>
                    <a:lnTo>
                      <a:pt x="216" y="90"/>
                    </a:lnTo>
                    <a:lnTo>
                      <a:pt x="216" y="84"/>
                    </a:lnTo>
                    <a:lnTo>
                      <a:pt x="222" y="84"/>
                    </a:lnTo>
                    <a:lnTo>
                      <a:pt x="222" y="90"/>
                    </a:lnTo>
                    <a:lnTo>
                      <a:pt x="228" y="90"/>
                    </a:lnTo>
                    <a:lnTo>
                      <a:pt x="228" y="96"/>
                    </a:lnTo>
                    <a:lnTo>
                      <a:pt x="234" y="96"/>
                    </a:lnTo>
                    <a:lnTo>
                      <a:pt x="240" y="96"/>
                    </a:lnTo>
                    <a:lnTo>
                      <a:pt x="240" y="102"/>
                    </a:lnTo>
                    <a:lnTo>
                      <a:pt x="240" y="108"/>
                    </a:lnTo>
                    <a:lnTo>
                      <a:pt x="240" y="102"/>
                    </a:lnTo>
                    <a:lnTo>
                      <a:pt x="246" y="102"/>
                    </a:lnTo>
                    <a:lnTo>
                      <a:pt x="246" y="108"/>
                    </a:lnTo>
                    <a:lnTo>
                      <a:pt x="252" y="108"/>
                    </a:lnTo>
                    <a:lnTo>
                      <a:pt x="258" y="108"/>
                    </a:lnTo>
                    <a:lnTo>
                      <a:pt x="258" y="114"/>
                    </a:lnTo>
                    <a:lnTo>
                      <a:pt x="264" y="114"/>
                    </a:lnTo>
                    <a:lnTo>
                      <a:pt x="270" y="114"/>
                    </a:lnTo>
                    <a:lnTo>
                      <a:pt x="270" y="108"/>
                    </a:lnTo>
                    <a:lnTo>
                      <a:pt x="276" y="108"/>
                    </a:lnTo>
                    <a:lnTo>
                      <a:pt x="276" y="102"/>
                    </a:lnTo>
                    <a:lnTo>
                      <a:pt x="270" y="96"/>
                    </a:lnTo>
                    <a:lnTo>
                      <a:pt x="276" y="96"/>
                    </a:lnTo>
                    <a:lnTo>
                      <a:pt x="276" y="102"/>
                    </a:lnTo>
                    <a:lnTo>
                      <a:pt x="282" y="102"/>
                    </a:lnTo>
                    <a:lnTo>
                      <a:pt x="282" y="96"/>
                    </a:lnTo>
                    <a:lnTo>
                      <a:pt x="282" y="90"/>
                    </a:lnTo>
                    <a:lnTo>
                      <a:pt x="288" y="90"/>
                    </a:lnTo>
                    <a:lnTo>
                      <a:pt x="288" y="84"/>
                    </a:lnTo>
                    <a:lnTo>
                      <a:pt x="288" y="78"/>
                    </a:lnTo>
                    <a:lnTo>
                      <a:pt x="294" y="78"/>
                    </a:lnTo>
                    <a:lnTo>
                      <a:pt x="294" y="72"/>
                    </a:lnTo>
                    <a:lnTo>
                      <a:pt x="288" y="72"/>
                    </a:lnTo>
                    <a:lnTo>
                      <a:pt x="288" y="66"/>
                    </a:lnTo>
                    <a:lnTo>
                      <a:pt x="294" y="66"/>
                    </a:lnTo>
                    <a:lnTo>
                      <a:pt x="294" y="60"/>
                    </a:lnTo>
                    <a:lnTo>
                      <a:pt x="300" y="60"/>
                    </a:lnTo>
                    <a:lnTo>
                      <a:pt x="306" y="60"/>
                    </a:lnTo>
                    <a:lnTo>
                      <a:pt x="312" y="60"/>
                    </a:lnTo>
                    <a:lnTo>
                      <a:pt x="312" y="54"/>
                    </a:lnTo>
                    <a:lnTo>
                      <a:pt x="318" y="54"/>
                    </a:lnTo>
                    <a:lnTo>
                      <a:pt x="318" y="60"/>
                    </a:lnTo>
                    <a:lnTo>
                      <a:pt x="324" y="60"/>
                    </a:lnTo>
                    <a:lnTo>
                      <a:pt x="324" y="66"/>
                    </a:lnTo>
                    <a:lnTo>
                      <a:pt x="330" y="66"/>
                    </a:lnTo>
                    <a:lnTo>
                      <a:pt x="330" y="60"/>
                    </a:lnTo>
                    <a:lnTo>
                      <a:pt x="336" y="60"/>
                    </a:lnTo>
                    <a:lnTo>
                      <a:pt x="336" y="54"/>
                    </a:lnTo>
                    <a:lnTo>
                      <a:pt x="336" y="60"/>
                    </a:lnTo>
                    <a:lnTo>
                      <a:pt x="342" y="60"/>
                    </a:lnTo>
                    <a:lnTo>
                      <a:pt x="348" y="60"/>
                    </a:lnTo>
                    <a:lnTo>
                      <a:pt x="354" y="60"/>
                    </a:lnTo>
                    <a:lnTo>
                      <a:pt x="360" y="60"/>
                    </a:lnTo>
                    <a:lnTo>
                      <a:pt x="366" y="66"/>
                    </a:lnTo>
                    <a:lnTo>
                      <a:pt x="366" y="60"/>
                    </a:lnTo>
                    <a:lnTo>
                      <a:pt x="366" y="54"/>
                    </a:lnTo>
                    <a:lnTo>
                      <a:pt x="366" y="48"/>
                    </a:lnTo>
                    <a:lnTo>
                      <a:pt x="372" y="48"/>
                    </a:lnTo>
                    <a:lnTo>
                      <a:pt x="378" y="48"/>
                    </a:lnTo>
                    <a:lnTo>
                      <a:pt x="378" y="42"/>
                    </a:lnTo>
                    <a:lnTo>
                      <a:pt x="384" y="42"/>
                    </a:lnTo>
                    <a:lnTo>
                      <a:pt x="384" y="36"/>
                    </a:lnTo>
                    <a:lnTo>
                      <a:pt x="390" y="36"/>
                    </a:lnTo>
                    <a:lnTo>
                      <a:pt x="384" y="36"/>
                    </a:lnTo>
                    <a:lnTo>
                      <a:pt x="384" y="30"/>
                    </a:lnTo>
                    <a:lnTo>
                      <a:pt x="384" y="24"/>
                    </a:lnTo>
                    <a:lnTo>
                      <a:pt x="390" y="24"/>
                    </a:lnTo>
                    <a:lnTo>
                      <a:pt x="396" y="24"/>
                    </a:lnTo>
                    <a:lnTo>
                      <a:pt x="402" y="30"/>
                    </a:lnTo>
                    <a:lnTo>
                      <a:pt x="402" y="36"/>
                    </a:lnTo>
                    <a:lnTo>
                      <a:pt x="408" y="30"/>
                    </a:lnTo>
                    <a:lnTo>
                      <a:pt x="414" y="30"/>
                    </a:lnTo>
                    <a:lnTo>
                      <a:pt x="414" y="36"/>
                    </a:lnTo>
                    <a:lnTo>
                      <a:pt x="420" y="36"/>
                    </a:lnTo>
                    <a:lnTo>
                      <a:pt x="426" y="36"/>
                    </a:lnTo>
                    <a:lnTo>
                      <a:pt x="426" y="30"/>
                    </a:lnTo>
                    <a:lnTo>
                      <a:pt x="420" y="30"/>
                    </a:lnTo>
                    <a:lnTo>
                      <a:pt x="426" y="30"/>
                    </a:lnTo>
                    <a:lnTo>
                      <a:pt x="426" y="24"/>
                    </a:lnTo>
                    <a:lnTo>
                      <a:pt x="426" y="30"/>
                    </a:lnTo>
                    <a:lnTo>
                      <a:pt x="432" y="30"/>
                    </a:lnTo>
                    <a:lnTo>
                      <a:pt x="432" y="24"/>
                    </a:lnTo>
                    <a:lnTo>
                      <a:pt x="432" y="30"/>
                    </a:lnTo>
                    <a:lnTo>
                      <a:pt x="438" y="30"/>
                    </a:lnTo>
                    <a:lnTo>
                      <a:pt x="438" y="24"/>
                    </a:lnTo>
                    <a:lnTo>
                      <a:pt x="444" y="24"/>
                    </a:lnTo>
                    <a:lnTo>
                      <a:pt x="444" y="18"/>
                    </a:lnTo>
                    <a:lnTo>
                      <a:pt x="444" y="12"/>
                    </a:lnTo>
                    <a:lnTo>
                      <a:pt x="450" y="12"/>
                    </a:lnTo>
                    <a:lnTo>
                      <a:pt x="450" y="6"/>
                    </a:lnTo>
                    <a:lnTo>
                      <a:pt x="456" y="6"/>
                    </a:lnTo>
                    <a:lnTo>
                      <a:pt x="462" y="6"/>
                    </a:lnTo>
                    <a:lnTo>
                      <a:pt x="456" y="0"/>
                    </a:lnTo>
                    <a:lnTo>
                      <a:pt x="462" y="0"/>
                    </a:lnTo>
                    <a:lnTo>
                      <a:pt x="468" y="6"/>
                    </a:lnTo>
                    <a:lnTo>
                      <a:pt x="468" y="0"/>
                    </a:lnTo>
                    <a:lnTo>
                      <a:pt x="468" y="6"/>
                    </a:lnTo>
                    <a:lnTo>
                      <a:pt x="474" y="6"/>
                    </a:lnTo>
                    <a:lnTo>
                      <a:pt x="480" y="6"/>
                    </a:lnTo>
                    <a:lnTo>
                      <a:pt x="486" y="6"/>
                    </a:lnTo>
                    <a:lnTo>
                      <a:pt x="486" y="0"/>
                    </a:lnTo>
                    <a:lnTo>
                      <a:pt x="486" y="6"/>
                    </a:lnTo>
                    <a:lnTo>
                      <a:pt x="486" y="12"/>
                    </a:lnTo>
                    <a:lnTo>
                      <a:pt x="492" y="12"/>
                    </a:lnTo>
                    <a:lnTo>
                      <a:pt x="492" y="18"/>
                    </a:lnTo>
                    <a:lnTo>
                      <a:pt x="492" y="12"/>
                    </a:lnTo>
                    <a:lnTo>
                      <a:pt x="492" y="18"/>
                    </a:lnTo>
                    <a:lnTo>
                      <a:pt x="492" y="24"/>
                    </a:lnTo>
                    <a:lnTo>
                      <a:pt x="492" y="30"/>
                    </a:lnTo>
                    <a:lnTo>
                      <a:pt x="492" y="36"/>
                    </a:lnTo>
                    <a:lnTo>
                      <a:pt x="492" y="42"/>
                    </a:lnTo>
                    <a:lnTo>
                      <a:pt x="492" y="36"/>
                    </a:lnTo>
                    <a:lnTo>
                      <a:pt x="492" y="42"/>
                    </a:lnTo>
                    <a:lnTo>
                      <a:pt x="492" y="48"/>
                    </a:lnTo>
                    <a:lnTo>
                      <a:pt x="486" y="48"/>
                    </a:lnTo>
                    <a:lnTo>
                      <a:pt x="486" y="54"/>
                    </a:lnTo>
                    <a:lnTo>
                      <a:pt x="492" y="54"/>
                    </a:lnTo>
                    <a:lnTo>
                      <a:pt x="486" y="54"/>
                    </a:lnTo>
                    <a:lnTo>
                      <a:pt x="486" y="60"/>
                    </a:lnTo>
                    <a:lnTo>
                      <a:pt x="486" y="66"/>
                    </a:lnTo>
                    <a:lnTo>
                      <a:pt x="486" y="72"/>
                    </a:lnTo>
                    <a:lnTo>
                      <a:pt x="486" y="78"/>
                    </a:lnTo>
                    <a:lnTo>
                      <a:pt x="480" y="78"/>
                    </a:lnTo>
                    <a:lnTo>
                      <a:pt x="480" y="84"/>
                    </a:lnTo>
                    <a:lnTo>
                      <a:pt x="480" y="90"/>
                    </a:lnTo>
                    <a:lnTo>
                      <a:pt x="480" y="84"/>
                    </a:lnTo>
                    <a:lnTo>
                      <a:pt x="480" y="90"/>
                    </a:lnTo>
                    <a:lnTo>
                      <a:pt x="480" y="96"/>
                    </a:lnTo>
                    <a:lnTo>
                      <a:pt x="480" y="90"/>
                    </a:lnTo>
                    <a:lnTo>
                      <a:pt x="480" y="96"/>
                    </a:lnTo>
                    <a:lnTo>
                      <a:pt x="480" y="90"/>
                    </a:lnTo>
                    <a:lnTo>
                      <a:pt x="480" y="96"/>
                    </a:lnTo>
                    <a:lnTo>
                      <a:pt x="480" y="102"/>
                    </a:lnTo>
                    <a:lnTo>
                      <a:pt x="480" y="108"/>
                    </a:lnTo>
                    <a:lnTo>
                      <a:pt x="474" y="108"/>
                    </a:lnTo>
                    <a:lnTo>
                      <a:pt x="474" y="114"/>
                    </a:lnTo>
                    <a:lnTo>
                      <a:pt x="474" y="120"/>
                    </a:lnTo>
                    <a:lnTo>
                      <a:pt x="474" y="126"/>
                    </a:lnTo>
                    <a:lnTo>
                      <a:pt x="474" y="132"/>
                    </a:lnTo>
                    <a:lnTo>
                      <a:pt x="468" y="132"/>
                    </a:lnTo>
                    <a:lnTo>
                      <a:pt x="468" y="138"/>
                    </a:lnTo>
                    <a:lnTo>
                      <a:pt x="468" y="132"/>
                    </a:lnTo>
                    <a:lnTo>
                      <a:pt x="468" y="138"/>
                    </a:lnTo>
                    <a:lnTo>
                      <a:pt x="462" y="144"/>
                    </a:lnTo>
                    <a:lnTo>
                      <a:pt x="462" y="150"/>
                    </a:lnTo>
                    <a:lnTo>
                      <a:pt x="456" y="150"/>
                    </a:lnTo>
                    <a:lnTo>
                      <a:pt x="456" y="156"/>
                    </a:lnTo>
                    <a:lnTo>
                      <a:pt x="450" y="156"/>
                    </a:lnTo>
                    <a:lnTo>
                      <a:pt x="450" y="162"/>
                    </a:lnTo>
                    <a:lnTo>
                      <a:pt x="450" y="156"/>
                    </a:lnTo>
                    <a:lnTo>
                      <a:pt x="456" y="156"/>
                    </a:lnTo>
                    <a:lnTo>
                      <a:pt x="450" y="162"/>
                    </a:lnTo>
                    <a:lnTo>
                      <a:pt x="450" y="168"/>
                    </a:lnTo>
                    <a:lnTo>
                      <a:pt x="444" y="168"/>
                    </a:lnTo>
                    <a:lnTo>
                      <a:pt x="444" y="174"/>
                    </a:lnTo>
                    <a:lnTo>
                      <a:pt x="444" y="180"/>
                    </a:lnTo>
                    <a:lnTo>
                      <a:pt x="438" y="180"/>
                    </a:lnTo>
                    <a:lnTo>
                      <a:pt x="438" y="186"/>
                    </a:lnTo>
                    <a:lnTo>
                      <a:pt x="432" y="180"/>
                    </a:lnTo>
                    <a:lnTo>
                      <a:pt x="432" y="186"/>
                    </a:lnTo>
                    <a:lnTo>
                      <a:pt x="438" y="186"/>
                    </a:lnTo>
                    <a:lnTo>
                      <a:pt x="438" y="192"/>
                    </a:lnTo>
                    <a:lnTo>
                      <a:pt x="432" y="192"/>
                    </a:lnTo>
                    <a:lnTo>
                      <a:pt x="426" y="192"/>
                    </a:lnTo>
                    <a:lnTo>
                      <a:pt x="426" y="198"/>
                    </a:lnTo>
                    <a:lnTo>
                      <a:pt x="420" y="198"/>
                    </a:lnTo>
                    <a:lnTo>
                      <a:pt x="420" y="192"/>
                    </a:lnTo>
                    <a:lnTo>
                      <a:pt x="426" y="192"/>
                    </a:lnTo>
                    <a:lnTo>
                      <a:pt x="426" y="186"/>
                    </a:lnTo>
                    <a:lnTo>
                      <a:pt x="420" y="186"/>
                    </a:lnTo>
                    <a:lnTo>
                      <a:pt x="420" y="192"/>
                    </a:lnTo>
                    <a:lnTo>
                      <a:pt x="414" y="192"/>
                    </a:lnTo>
                    <a:lnTo>
                      <a:pt x="414" y="198"/>
                    </a:lnTo>
                    <a:lnTo>
                      <a:pt x="420" y="198"/>
                    </a:lnTo>
                    <a:lnTo>
                      <a:pt x="420" y="204"/>
                    </a:lnTo>
                    <a:lnTo>
                      <a:pt x="420" y="198"/>
                    </a:lnTo>
                    <a:lnTo>
                      <a:pt x="414" y="198"/>
                    </a:lnTo>
                    <a:lnTo>
                      <a:pt x="414" y="204"/>
                    </a:lnTo>
                    <a:lnTo>
                      <a:pt x="420" y="204"/>
                    </a:lnTo>
                    <a:lnTo>
                      <a:pt x="420" y="210"/>
                    </a:lnTo>
                    <a:lnTo>
                      <a:pt x="426" y="210"/>
                    </a:lnTo>
                    <a:lnTo>
                      <a:pt x="426" y="204"/>
                    </a:lnTo>
                    <a:lnTo>
                      <a:pt x="420" y="204"/>
                    </a:lnTo>
                    <a:lnTo>
                      <a:pt x="426" y="204"/>
                    </a:lnTo>
                    <a:lnTo>
                      <a:pt x="426" y="210"/>
                    </a:lnTo>
                    <a:lnTo>
                      <a:pt x="426" y="204"/>
                    </a:lnTo>
                    <a:lnTo>
                      <a:pt x="432" y="210"/>
                    </a:lnTo>
                    <a:lnTo>
                      <a:pt x="426" y="210"/>
                    </a:lnTo>
                    <a:lnTo>
                      <a:pt x="420" y="210"/>
                    </a:lnTo>
                    <a:lnTo>
                      <a:pt x="420" y="216"/>
                    </a:lnTo>
                    <a:lnTo>
                      <a:pt x="426" y="216"/>
                    </a:lnTo>
                    <a:lnTo>
                      <a:pt x="426" y="222"/>
                    </a:lnTo>
                    <a:lnTo>
                      <a:pt x="426" y="228"/>
                    </a:lnTo>
                    <a:lnTo>
                      <a:pt x="426" y="222"/>
                    </a:lnTo>
                    <a:lnTo>
                      <a:pt x="426" y="228"/>
                    </a:lnTo>
                    <a:lnTo>
                      <a:pt x="426" y="234"/>
                    </a:lnTo>
                    <a:lnTo>
                      <a:pt x="426" y="240"/>
                    </a:lnTo>
                    <a:lnTo>
                      <a:pt x="426" y="246"/>
                    </a:lnTo>
                    <a:lnTo>
                      <a:pt x="426" y="252"/>
                    </a:lnTo>
                    <a:lnTo>
                      <a:pt x="426" y="258"/>
                    </a:lnTo>
                    <a:lnTo>
                      <a:pt x="432" y="258"/>
                    </a:lnTo>
                    <a:lnTo>
                      <a:pt x="432" y="264"/>
                    </a:lnTo>
                    <a:lnTo>
                      <a:pt x="426" y="264"/>
                    </a:lnTo>
                    <a:lnTo>
                      <a:pt x="432" y="264"/>
                    </a:lnTo>
                    <a:lnTo>
                      <a:pt x="432" y="270"/>
                    </a:lnTo>
                    <a:lnTo>
                      <a:pt x="432" y="264"/>
                    </a:lnTo>
                    <a:lnTo>
                      <a:pt x="432" y="270"/>
                    </a:lnTo>
                    <a:lnTo>
                      <a:pt x="432" y="276"/>
                    </a:lnTo>
                    <a:lnTo>
                      <a:pt x="432" y="282"/>
                    </a:lnTo>
                    <a:lnTo>
                      <a:pt x="432" y="288"/>
                    </a:lnTo>
                    <a:lnTo>
                      <a:pt x="438" y="288"/>
                    </a:lnTo>
                    <a:lnTo>
                      <a:pt x="438" y="294"/>
                    </a:lnTo>
                    <a:lnTo>
                      <a:pt x="438" y="300"/>
                    </a:lnTo>
                    <a:lnTo>
                      <a:pt x="438" y="306"/>
                    </a:lnTo>
                    <a:lnTo>
                      <a:pt x="438" y="312"/>
                    </a:lnTo>
                    <a:lnTo>
                      <a:pt x="432" y="312"/>
                    </a:lnTo>
                    <a:lnTo>
                      <a:pt x="426" y="312"/>
                    </a:lnTo>
                    <a:lnTo>
                      <a:pt x="420" y="312"/>
                    </a:lnTo>
                    <a:lnTo>
                      <a:pt x="426" y="312"/>
                    </a:lnTo>
                    <a:lnTo>
                      <a:pt x="426" y="318"/>
                    </a:lnTo>
                    <a:lnTo>
                      <a:pt x="420" y="318"/>
                    </a:lnTo>
                    <a:lnTo>
                      <a:pt x="420" y="312"/>
                    </a:lnTo>
                    <a:lnTo>
                      <a:pt x="420" y="318"/>
                    </a:lnTo>
                    <a:lnTo>
                      <a:pt x="420" y="312"/>
                    </a:lnTo>
                    <a:lnTo>
                      <a:pt x="420" y="318"/>
                    </a:lnTo>
                    <a:lnTo>
                      <a:pt x="420" y="324"/>
                    </a:lnTo>
                    <a:lnTo>
                      <a:pt x="426" y="318"/>
                    </a:lnTo>
                    <a:lnTo>
                      <a:pt x="426" y="324"/>
                    </a:lnTo>
                    <a:lnTo>
                      <a:pt x="432" y="324"/>
                    </a:lnTo>
                    <a:lnTo>
                      <a:pt x="432" y="330"/>
                    </a:lnTo>
                    <a:lnTo>
                      <a:pt x="432" y="324"/>
                    </a:lnTo>
                    <a:lnTo>
                      <a:pt x="432" y="330"/>
                    </a:lnTo>
                    <a:lnTo>
                      <a:pt x="432" y="336"/>
                    </a:lnTo>
                    <a:lnTo>
                      <a:pt x="432" y="342"/>
                    </a:lnTo>
                    <a:lnTo>
                      <a:pt x="432" y="348"/>
                    </a:lnTo>
                    <a:lnTo>
                      <a:pt x="438" y="348"/>
                    </a:lnTo>
                    <a:lnTo>
                      <a:pt x="432" y="348"/>
                    </a:lnTo>
                    <a:lnTo>
                      <a:pt x="438" y="354"/>
                    </a:lnTo>
                    <a:lnTo>
                      <a:pt x="438" y="360"/>
                    </a:lnTo>
                    <a:lnTo>
                      <a:pt x="438" y="366"/>
                    </a:lnTo>
                    <a:lnTo>
                      <a:pt x="438" y="372"/>
                    </a:lnTo>
                    <a:lnTo>
                      <a:pt x="438" y="378"/>
                    </a:lnTo>
                    <a:lnTo>
                      <a:pt x="438" y="384"/>
                    </a:lnTo>
                    <a:lnTo>
                      <a:pt x="438" y="390"/>
                    </a:lnTo>
                    <a:lnTo>
                      <a:pt x="438" y="396"/>
                    </a:lnTo>
                    <a:lnTo>
                      <a:pt x="438" y="390"/>
                    </a:lnTo>
                    <a:lnTo>
                      <a:pt x="438" y="396"/>
                    </a:lnTo>
                    <a:lnTo>
                      <a:pt x="432" y="396"/>
                    </a:lnTo>
                    <a:lnTo>
                      <a:pt x="426" y="396"/>
                    </a:lnTo>
                    <a:lnTo>
                      <a:pt x="420" y="396"/>
                    </a:lnTo>
                    <a:lnTo>
                      <a:pt x="420" y="390"/>
                    </a:lnTo>
                    <a:lnTo>
                      <a:pt x="414" y="390"/>
                    </a:lnTo>
                    <a:lnTo>
                      <a:pt x="408" y="390"/>
                    </a:lnTo>
                    <a:lnTo>
                      <a:pt x="414" y="390"/>
                    </a:lnTo>
                    <a:lnTo>
                      <a:pt x="414" y="396"/>
                    </a:lnTo>
                    <a:lnTo>
                      <a:pt x="408" y="396"/>
                    </a:lnTo>
                    <a:lnTo>
                      <a:pt x="408" y="390"/>
                    </a:lnTo>
                    <a:lnTo>
                      <a:pt x="408" y="396"/>
                    </a:lnTo>
                    <a:lnTo>
                      <a:pt x="402" y="396"/>
                    </a:lnTo>
                    <a:lnTo>
                      <a:pt x="402" y="390"/>
                    </a:lnTo>
                    <a:lnTo>
                      <a:pt x="408" y="390"/>
                    </a:lnTo>
                    <a:lnTo>
                      <a:pt x="402" y="390"/>
                    </a:lnTo>
                    <a:lnTo>
                      <a:pt x="396" y="390"/>
                    </a:lnTo>
                    <a:lnTo>
                      <a:pt x="390" y="390"/>
                    </a:lnTo>
                    <a:lnTo>
                      <a:pt x="390" y="396"/>
                    </a:lnTo>
                    <a:lnTo>
                      <a:pt x="396" y="396"/>
                    </a:lnTo>
                    <a:lnTo>
                      <a:pt x="390" y="396"/>
                    </a:lnTo>
                    <a:lnTo>
                      <a:pt x="384" y="396"/>
                    </a:lnTo>
                    <a:lnTo>
                      <a:pt x="378" y="396"/>
                    </a:lnTo>
                    <a:lnTo>
                      <a:pt x="372" y="396"/>
                    </a:lnTo>
                    <a:lnTo>
                      <a:pt x="372" y="402"/>
                    </a:lnTo>
                    <a:lnTo>
                      <a:pt x="366" y="402"/>
                    </a:lnTo>
                    <a:lnTo>
                      <a:pt x="366" y="408"/>
                    </a:lnTo>
                    <a:lnTo>
                      <a:pt x="360" y="408"/>
                    </a:lnTo>
                    <a:lnTo>
                      <a:pt x="360" y="414"/>
                    </a:lnTo>
                    <a:lnTo>
                      <a:pt x="360" y="420"/>
                    </a:lnTo>
                    <a:lnTo>
                      <a:pt x="360" y="426"/>
                    </a:lnTo>
                    <a:lnTo>
                      <a:pt x="366" y="426"/>
                    </a:lnTo>
                    <a:lnTo>
                      <a:pt x="360" y="426"/>
                    </a:lnTo>
                    <a:lnTo>
                      <a:pt x="366" y="426"/>
                    </a:lnTo>
                    <a:lnTo>
                      <a:pt x="360" y="426"/>
                    </a:lnTo>
                    <a:lnTo>
                      <a:pt x="360" y="432"/>
                    </a:lnTo>
                    <a:lnTo>
                      <a:pt x="354" y="438"/>
                    </a:lnTo>
                    <a:lnTo>
                      <a:pt x="354" y="444"/>
                    </a:lnTo>
                    <a:lnTo>
                      <a:pt x="348" y="444"/>
                    </a:lnTo>
                    <a:lnTo>
                      <a:pt x="348" y="450"/>
                    </a:lnTo>
                    <a:lnTo>
                      <a:pt x="342" y="450"/>
                    </a:lnTo>
                    <a:lnTo>
                      <a:pt x="342" y="456"/>
                    </a:lnTo>
                    <a:lnTo>
                      <a:pt x="342" y="462"/>
                    </a:lnTo>
                    <a:lnTo>
                      <a:pt x="336" y="462"/>
                    </a:lnTo>
                    <a:lnTo>
                      <a:pt x="336" y="468"/>
                    </a:lnTo>
                    <a:lnTo>
                      <a:pt x="330" y="468"/>
                    </a:lnTo>
                    <a:lnTo>
                      <a:pt x="330" y="474"/>
                    </a:lnTo>
                    <a:lnTo>
                      <a:pt x="330" y="480"/>
                    </a:lnTo>
                    <a:lnTo>
                      <a:pt x="324" y="480"/>
                    </a:lnTo>
                    <a:lnTo>
                      <a:pt x="324" y="486"/>
                    </a:lnTo>
                    <a:lnTo>
                      <a:pt x="324" y="492"/>
                    </a:lnTo>
                    <a:lnTo>
                      <a:pt x="318" y="492"/>
                    </a:lnTo>
                    <a:lnTo>
                      <a:pt x="318" y="498"/>
                    </a:lnTo>
                    <a:lnTo>
                      <a:pt x="324" y="498"/>
                    </a:lnTo>
                    <a:lnTo>
                      <a:pt x="324" y="504"/>
                    </a:lnTo>
                    <a:lnTo>
                      <a:pt x="330" y="504"/>
                    </a:lnTo>
                    <a:lnTo>
                      <a:pt x="330" y="510"/>
                    </a:lnTo>
                    <a:lnTo>
                      <a:pt x="336" y="510"/>
                    </a:lnTo>
                    <a:lnTo>
                      <a:pt x="336" y="516"/>
                    </a:lnTo>
                    <a:lnTo>
                      <a:pt x="342" y="516"/>
                    </a:lnTo>
                    <a:lnTo>
                      <a:pt x="348" y="516"/>
                    </a:lnTo>
                    <a:lnTo>
                      <a:pt x="354" y="516"/>
                    </a:lnTo>
                    <a:lnTo>
                      <a:pt x="354" y="522"/>
                    </a:lnTo>
                    <a:lnTo>
                      <a:pt x="348" y="522"/>
                    </a:lnTo>
                    <a:lnTo>
                      <a:pt x="342" y="522"/>
                    </a:lnTo>
                    <a:lnTo>
                      <a:pt x="336" y="522"/>
                    </a:lnTo>
                    <a:lnTo>
                      <a:pt x="330" y="522"/>
                    </a:lnTo>
                    <a:lnTo>
                      <a:pt x="324" y="522"/>
                    </a:lnTo>
                    <a:lnTo>
                      <a:pt x="318" y="522"/>
                    </a:lnTo>
                    <a:lnTo>
                      <a:pt x="312" y="522"/>
                    </a:lnTo>
                    <a:lnTo>
                      <a:pt x="306" y="522"/>
                    </a:lnTo>
                    <a:lnTo>
                      <a:pt x="306" y="528"/>
                    </a:lnTo>
                    <a:lnTo>
                      <a:pt x="300" y="528"/>
                    </a:lnTo>
                    <a:lnTo>
                      <a:pt x="294" y="528"/>
                    </a:lnTo>
                    <a:lnTo>
                      <a:pt x="288" y="534"/>
                    </a:lnTo>
                    <a:lnTo>
                      <a:pt x="294" y="534"/>
                    </a:lnTo>
                    <a:lnTo>
                      <a:pt x="288" y="534"/>
                    </a:lnTo>
                    <a:lnTo>
                      <a:pt x="282" y="534"/>
                    </a:lnTo>
                    <a:lnTo>
                      <a:pt x="282" y="540"/>
                    </a:lnTo>
                    <a:lnTo>
                      <a:pt x="282" y="534"/>
                    </a:lnTo>
                    <a:lnTo>
                      <a:pt x="276" y="534"/>
                    </a:lnTo>
                    <a:lnTo>
                      <a:pt x="276" y="540"/>
                    </a:lnTo>
                    <a:lnTo>
                      <a:pt x="270" y="540"/>
                    </a:lnTo>
                    <a:lnTo>
                      <a:pt x="270" y="534"/>
                    </a:lnTo>
                    <a:lnTo>
                      <a:pt x="270" y="540"/>
                    </a:lnTo>
                    <a:lnTo>
                      <a:pt x="264" y="540"/>
                    </a:lnTo>
                    <a:lnTo>
                      <a:pt x="258" y="540"/>
                    </a:lnTo>
                    <a:lnTo>
                      <a:pt x="258" y="546"/>
                    </a:lnTo>
                    <a:lnTo>
                      <a:pt x="258" y="540"/>
                    </a:lnTo>
                    <a:lnTo>
                      <a:pt x="258" y="546"/>
                    </a:lnTo>
                    <a:lnTo>
                      <a:pt x="252" y="546"/>
                    </a:lnTo>
                    <a:lnTo>
                      <a:pt x="252" y="552"/>
                    </a:lnTo>
                    <a:lnTo>
                      <a:pt x="246" y="552"/>
                    </a:lnTo>
                    <a:lnTo>
                      <a:pt x="240" y="552"/>
                    </a:lnTo>
                    <a:lnTo>
                      <a:pt x="240" y="558"/>
                    </a:lnTo>
                    <a:lnTo>
                      <a:pt x="234" y="558"/>
                    </a:lnTo>
                    <a:lnTo>
                      <a:pt x="234" y="564"/>
                    </a:lnTo>
                    <a:lnTo>
                      <a:pt x="234" y="570"/>
                    </a:lnTo>
                    <a:lnTo>
                      <a:pt x="234" y="576"/>
                    </a:lnTo>
                    <a:lnTo>
                      <a:pt x="234" y="582"/>
                    </a:lnTo>
                    <a:lnTo>
                      <a:pt x="240" y="582"/>
                    </a:lnTo>
                    <a:lnTo>
                      <a:pt x="234" y="582"/>
                    </a:lnTo>
                    <a:lnTo>
                      <a:pt x="240" y="582"/>
                    </a:lnTo>
                    <a:lnTo>
                      <a:pt x="234" y="582"/>
                    </a:lnTo>
                    <a:lnTo>
                      <a:pt x="234" y="576"/>
                    </a:lnTo>
                    <a:lnTo>
                      <a:pt x="240" y="576"/>
                    </a:lnTo>
                    <a:lnTo>
                      <a:pt x="240" y="582"/>
                    </a:lnTo>
                    <a:lnTo>
                      <a:pt x="234" y="582"/>
                    </a:lnTo>
                    <a:lnTo>
                      <a:pt x="234" y="588"/>
                    </a:lnTo>
                    <a:lnTo>
                      <a:pt x="228" y="588"/>
                    </a:lnTo>
                    <a:lnTo>
                      <a:pt x="228" y="594"/>
                    </a:lnTo>
                    <a:lnTo>
                      <a:pt x="228" y="600"/>
                    </a:lnTo>
                    <a:lnTo>
                      <a:pt x="228" y="606"/>
                    </a:lnTo>
                    <a:lnTo>
                      <a:pt x="228" y="600"/>
                    </a:lnTo>
                    <a:lnTo>
                      <a:pt x="228" y="606"/>
                    </a:lnTo>
                    <a:lnTo>
                      <a:pt x="228" y="612"/>
                    </a:lnTo>
                    <a:lnTo>
                      <a:pt x="228" y="618"/>
                    </a:lnTo>
                    <a:lnTo>
                      <a:pt x="222" y="618"/>
                    </a:lnTo>
                    <a:lnTo>
                      <a:pt x="222" y="624"/>
                    </a:lnTo>
                    <a:lnTo>
                      <a:pt x="222" y="630"/>
                    </a:lnTo>
                    <a:lnTo>
                      <a:pt x="216" y="630"/>
                    </a:lnTo>
                    <a:lnTo>
                      <a:pt x="222" y="630"/>
                    </a:lnTo>
                    <a:lnTo>
                      <a:pt x="216" y="630"/>
                    </a:lnTo>
                    <a:lnTo>
                      <a:pt x="210" y="630"/>
                    </a:lnTo>
                    <a:lnTo>
                      <a:pt x="210" y="636"/>
                    </a:lnTo>
                    <a:lnTo>
                      <a:pt x="204" y="636"/>
                    </a:lnTo>
                    <a:lnTo>
                      <a:pt x="204" y="642"/>
                    </a:lnTo>
                    <a:lnTo>
                      <a:pt x="198" y="642"/>
                    </a:lnTo>
                    <a:lnTo>
                      <a:pt x="192" y="642"/>
                    </a:lnTo>
                    <a:lnTo>
                      <a:pt x="192" y="648"/>
                    </a:lnTo>
                    <a:lnTo>
                      <a:pt x="186" y="648"/>
                    </a:lnTo>
                    <a:lnTo>
                      <a:pt x="186" y="654"/>
                    </a:lnTo>
                    <a:lnTo>
                      <a:pt x="180" y="654"/>
                    </a:lnTo>
                    <a:lnTo>
                      <a:pt x="174" y="654"/>
                    </a:lnTo>
                    <a:lnTo>
                      <a:pt x="168" y="654"/>
                    </a:lnTo>
                    <a:lnTo>
                      <a:pt x="162" y="654"/>
                    </a:lnTo>
                    <a:lnTo>
                      <a:pt x="162" y="660"/>
                    </a:lnTo>
                    <a:lnTo>
                      <a:pt x="162" y="666"/>
                    </a:lnTo>
                    <a:lnTo>
                      <a:pt x="156" y="666"/>
                    </a:lnTo>
                    <a:lnTo>
                      <a:pt x="150" y="666"/>
                    </a:lnTo>
                    <a:lnTo>
                      <a:pt x="150" y="660"/>
                    </a:lnTo>
                    <a:lnTo>
                      <a:pt x="144" y="660"/>
                    </a:lnTo>
                    <a:lnTo>
                      <a:pt x="138" y="660"/>
                    </a:lnTo>
                    <a:lnTo>
                      <a:pt x="132" y="660"/>
                    </a:lnTo>
                    <a:lnTo>
                      <a:pt x="132" y="654"/>
                    </a:lnTo>
                    <a:lnTo>
                      <a:pt x="126" y="654"/>
                    </a:lnTo>
                    <a:lnTo>
                      <a:pt x="120" y="654"/>
                    </a:lnTo>
                    <a:lnTo>
                      <a:pt x="120" y="648"/>
                    </a:lnTo>
                    <a:lnTo>
                      <a:pt x="114" y="648"/>
                    </a:lnTo>
                    <a:lnTo>
                      <a:pt x="114" y="642"/>
                    </a:lnTo>
                    <a:lnTo>
                      <a:pt x="114" y="648"/>
                    </a:lnTo>
                    <a:lnTo>
                      <a:pt x="114" y="642"/>
                    </a:lnTo>
                    <a:lnTo>
                      <a:pt x="108" y="642"/>
                    </a:lnTo>
                    <a:close/>
                    <a:moveTo>
                      <a:pt x="408" y="198"/>
                    </a:moveTo>
                    <a:lnTo>
                      <a:pt x="414" y="198"/>
                    </a:lnTo>
                    <a:lnTo>
                      <a:pt x="408" y="198"/>
                    </a:lnTo>
                    <a:lnTo>
                      <a:pt x="408" y="192"/>
                    </a:lnTo>
                    <a:lnTo>
                      <a:pt x="408" y="186"/>
                    </a:lnTo>
                    <a:lnTo>
                      <a:pt x="414" y="186"/>
                    </a:lnTo>
                    <a:lnTo>
                      <a:pt x="408" y="186"/>
                    </a:lnTo>
                    <a:lnTo>
                      <a:pt x="408" y="192"/>
                    </a:lnTo>
                    <a:lnTo>
                      <a:pt x="408" y="198"/>
                    </a:lnTo>
                    <a:lnTo>
                      <a:pt x="408" y="204"/>
                    </a:lnTo>
                    <a:lnTo>
                      <a:pt x="408" y="198"/>
                    </a:lnTo>
                    <a:close/>
                    <a:moveTo>
                      <a:pt x="414" y="186"/>
                    </a:moveTo>
                    <a:lnTo>
                      <a:pt x="420" y="186"/>
                    </a:lnTo>
                    <a:lnTo>
                      <a:pt x="420" y="192"/>
                    </a:lnTo>
                    <a:lnTo>
                      <a:pt x="414" y="192"/>
                    </a:lnTo>
                    <a:lnTo>
                      <a:pt x="414" y="186"/>
                    </a:lnTo>
                    <a:close/>
                    <a:moveTo>
                      <a:pt x="408" y="204"/>
                    </a:moveTo>
                    <a:lnTo>
                      <a:pt x="414" y="204"/>
                    </a:lnTo>
                    <a:lnTo>
                      <a:pt x="414" y="210"/>
                    </a:lnTo>
                    <a:lnTo>
                      <a:pt x="408" y="210"/>
                    </a:lnTo>
                    <a:lnTo>
                      <a:pt x="408" y="204"/>
                    </a:lnTo>
                    <a:close/>
                    <a:moveTo>
                      <a:pt x="408" y="210"/>
                    </a:moveTo>
                    <a:lnTo>
                      <a:pt x="414" y="210"/>
                    </a:lnTo>
                    <a:lnTo>
                      <a:pt x="408" y="210"/>
                    </a:lnTo>
                    <a:close/>
                    <a:moveTo>
                      <a:pt x="414" y="192"/>
                    </a:moveTo>
                    <a:lnTo>
                      <a:pt x="414" y="198"/>
                    </a:lnTo>
                    <a:lnTo>
                      <a:pt x="415" y="198"/>
                    </a:lnTo>
                    <a:lnTo>
                      <a:pt x="414" y="192"/>
                    </a:lnTo>
                    <a:close/>
                    <a:moveTo>
                      <a:pt x="414" y="210"/>
                    </a:moveTo>
                    <a:lnTo>
                      <a:pt x="414" y="216"/>
                    </a:lnTo>
                    <a:lnTo>
                      <a:pt x="415" y="216"/>
                    </a:lnTo>
                    <a:lnTo>
                      <a:pt x="414" y="210"/>
                    </a:lnTo>
                    <a:close/>
                    <a:moveTo>
                      <a:pt x="426" y="186"/>
                    </a:moveTo>
                    <a:lnTo>
                      <a:pt x="432" y="186"/>
                    </a:lnTo>
                    <a:lnTo>
                      <a:pt x="426" y="186"/>
                    </a:lnTo>
                    <a:close/>
                    <a:moveTo>
                      <a:pt x="414" y="204"/>
                    </a:moveTo>
                    <a:lnTo>
                      <a:pt x="420" y="204"/>
                    </a:lnTo>
                    <a:lnTo>
                      <a:pt x="414" y="204"/>
                    </a:lnTo>
                    <a:close/>
                    <a:moveTo>
                      <a:pt x="366" y="522"/>
                    </a:moveTo>
                    <a:lnTo>
                      <a:pt x="360" y="522"/>
                    </a:lnTo>
                    <a:lnTo>
                      <a:pt x="360" y="516"/>
                    </a:lnTo>
                    <a:lnTo>
                      <a:pt x="366" y="516"/>
                    </a:lnTo>
                    <a:lnTo>
                      <a:pt x="372" y="516"/>
                    </a:lnTo>
                    <a:lnTo>
                      <a:pt x="372" y="522"/>
                    </a:lnTo>
                    <a:lnTo>
                      <a:pt x="378" y="522"/>
                    </a:lnTo>
                    <a:lnTo>
                      <a:pt x="378" y="528"/>
                    </a:lnTo>
                    <a:lnTo>
                      <a:pt x="384" y="528"/>
                    </a:lnTo>
                    <a:lnTo>
                      <a:pt x="384" y="534"/>
                    </a:lnTo>
                    <a:lnTo>
                      <a:pt x="378" y="528"/>
                    </a:lnTo>
                    <a:lnTo>
                      <a:pt x="372" y="528"/>
                    </a:lnTo>
                    <a:lnTo>
                      <a:pt x="372" y="522"/>
                    </a:lnTo>
                    <a:lnTo>
                      <a:pt x="366" y="522"/>
                    </a:lnTo>
                    <a:close/>
                    <a:moveTo>
                      <a:pt x="396" y="396"/>
                    </a:moveTo>
                    <a:lnTo>
                      <a:pt x="402" y="396"/>
                    </a:lnTo>
                    <a:lnTo>
                      <a:pt x="408" y="396"/>
                    </a:lnTo>
                    <a:lnTo>
                      <a:pt x="414" y="396"/>
                    </a:lnTo>
                    <a:lnTo>
                      <a:pt x="408" y="396"/>
                    </a:lnTo>
                    <a:lnTo>
                      <a:pt x="402" y="396"/>
                    </a:lnTo>
                    <a:lnTo>
                      <a:pt x="396" y="396"/>
                    </a:lnTo>
                    <a:close/>
                    <a:moveTo>
                      <a:pt x="426" y="198"/>
                    </a:moveTo>
                    <a:lnTo>
                      <a:pt x="426" y="204"/>
                    </a:lnTo>
                    <a:lnTo>
                      <a:pt x="427" y="204"/>
                    </a:lnTo>
                    <a:lnTo>
                      <a:pt x="426" y="198"/>
                    </a:lnTo>
                    <a:close/>
                    <a:moveTo>
                      <a:pt x="414" y="396"/>
                    </a:moveTo>
                    <a:lnTo>
                      <a:pt x="420" y="396"/>
                    </a:lnTo>
                    <a:lnTo>
                      <a:pt x="414" y="396"/>
                    </a:lnTo>
                    <a:close/>
                    <a:moveTo>
                      <a:pt x="420" y="396"/>
                    </a:moveTo>
                    <a:lnTo>
                      <a:pt x="426" y="396"/>
                    </a:lnTo>
                    <a:lnTo>
                      <a:pt x="420" y="396"/>
                    </a:lnTo>
                    <a:close/>
                    <a:moveTo>
                      <a:pt x="348" y="528"/>
                    </a:moveTo>
                    <a:lnTo>
                      <a:pt x="354" y="528"/>
                    </a:lnTo>
                    <a:lnTo>
                      <a:pt x="348" y="528"/>
                    </a:lnTo>
                    <a:close/>
                    <a:moveTo>
                      <a:pt x="318" y="528"/>
                    </a:moveTo>
                    <a:lnTo>
                      <a:pt x="324" y="528"/>
                    </a:lnTo>
                    <a:lnTo>
                      <a:pt x="324" y="534"/>
                    </a:lnTo>
                    <a:lnTo>
                      <a:pt x="318" y="534"/>
                    </a:lnTo>
                    <a:lnTo>
                      <a:pt x="318" y="528"/>
                    </a:lnTo>
                    <a:close/>
                    <a:moveTo>
                      <a:pt x="354" y="522"/>
                    </a:moveTo>
                    <a:lnTo>
                      <a:pt x="360" y="522"/>
                    </a:lnTo>
                    <a:lnTo>
                      <a:pt x="354" y="522"/>
                    </a:lnTo>
                    <a:close/>
                    <a:moveTo>
                      <a:pt x="414" y="396"/>
                    </a:moveTo>
                    <a:lnTo>
                      <a:pt x="420" y="396"/>
                    </a:lnTo>
                    <a:lnTo>
                      <a:pt x="414" y="396"/>
                    </a:lnTo>
                    <a:close/>
                    <a:moveTo>
                      <a:pt x="390" y="390"/>
                    </a:moveTo>
                    <a:lnTo>
                      <a:pt x="396" y="390"/>
                    </a:lnTo>
                    <a:lnTo>
                      <a:pt x="396" y="396"/>
                    </a:lnTo>
                    <a:lnTo>
                      <a:pt x="390" y="396"/>
                    </a:lnTo>
                    <a:lnTo>
                      <a:pt x="390" y="390"/>
                    </a:lnTo>
                    <a:close/>
                    <a:moveTo>
                      <a:pt x="222" y="624"/>
                    </a:moveTo>
                    <a:lnTo>
                      <a:pt x="222" y="630"/>
                    </a:lnTo>
                    <a:lnTo>
                      <a:pt x="223" y="630"/>
                    </a:lnTo>
                    <a:lnTo>
                      <a:pt x="222" y="624"/>
                    </a:lnTo>
                    <a:close/>
                    <a:moveTo>
                      <a:pt x="390" y="390"/>
                    </a:moveTo>
                    <a:lnTo>
                      <a:pt x="390" y="396"/>
                    </a:lnTo>
                    <a:lnTo>
                      <a:pt x="391" y="396"/>
                    </a:lnTo>
                    <a:lnTo>
                      <a:pt x="390" y="390"/>
                    </a:lnTo>
                    <a:close/>
                    <a:moveTo>
                      <a:pt x="420" y="396"/>
                    </a:moveTo>
                    <a:lnTo>
                      <a:pt x="426" y="396"/>
                    </a:lnTo>
                    <a:lnTo>
                      <a:pt x="420" y="396"/>
                    </a:lnTo>
                    <a:close/>
                    <a:moveTo>
                      <a:pt x="270" y="534"/>
                    </a:moveTo>
                    <a:lnTo>
                      <a:pt x="270" y="540"/>
                    </a:lnTo>
                    <a:lnTo>
                      <a:pt x="271" y="540"/>
                    </a:lnTo>
                    <a:lnTo>
                      <a:pt x="270" y="534"/>
                    </a:lnTo>
                    <a:close/>
                    <a:moveTo>
                      <a:pt x="240" y="570"/>
                    </a:moveTo>
                    <a:lnTo>
                      <a:pt x="240" y="576"/>
                    </a:lnTo>
                    <a:lnTo>
                      <a:pt x="241" y="576"/>
                    </a:lnTo>
                    <a:lnTo>
                      <a:pt x="240" y="570"/>
                    </a:lnTo>
                    <a:close/>
                    <a:moveTo>
                      <a:pt x="324" y="528"/>
                    </a:moveTo>
                    <a:lnTo>
                      <a:pt x="324" y="534"/>
                    </a:lnTo>
                    <a:lnTo>
                      <a:pt x="325" y="534"/>
                    </a:lnTo>
                    <a:lnTo>
                      <a:pt x="324" y="528"/>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US" sz="800" dirty="0">
                  <a:solidFill>
                    <a:srgbClr val="000000"/>
                  </a:solidFill>
                </a:endParaRPr>
              </a:p>
            </p:txBody>
          </p:sp>
          <p:sp>
            <p:nvSpPr>
              <p:cNvPr id="57" name="Freeform 63"/>
              <p:cNvSpPr>
                <a:spLocks noEditPoints="1"/>
              </p:cNvSpPr>
              <p:nvPr/>
            </p:nvSpPr>
            <p:spPr bwMode="gray">
              <a:xfrm>
                <a:off x="3097312" y="5110555"/>
                <a:ext cx="393729" cy="703265"/>
              </a:xfrm>
              <a:custGeom>
                <a:avLst/>
                <a:gdLst>
                  <a:gd name="T0" fmla="*/ 78 w 306"/>
                  <a:gd name="T1" fmla="*/ 132 h 552"/>
                  <a:gd name="T2" fmla="*/ 60 w 306"/>
                  <a:gd name="T3" fmla="*/ 114 h 552"/>
                  <a:gd name="T4" fmla="*/ 54 w 306"/>
                  <a:gd name="T5" fmla="*/ 102 h 552"/>
                  <a:gd name="T6" fmla="*/ 36 w 306"/>
                  <a:gd name="T7" fmla="*/ 84 h 552"/>
                  <a:gd name="T8" fmla="*/ 24 w 306"/>
                  <a:gd name="T9" fmla="*/ 54 h 552"/>
                  <a:gd name="T10" fmla="*/ 18 w 306"/>
                  <a:gd name="T11" fmla="*/ 42 h 552"/>
                  <a:gd name="T12" fmla="*/ 6 w 306"/>
                  <a:gd name="T13" fmla="*/ 18 h 552"/>
                  <a:gd name="T14" fmla="*/ 18 w 306"/>
                  <a:gd name="T15" fmla="*/ 12 h 552"/>
                  <a:gd name="T16" fmla="*/ 42 w 306"/>
                  <a:gd name="T17" fmla="*/ 30 h 552"/>
                  <a:gd name="T18" fmla="*/ 48 w 306"/>
                  <a:gd name="T19" fmla="*/ 30 h 552"/>
                  <a:gd name="T20" fmla="*/ 66 w 306"/>
                  <a:gd name="T21" fmla="*/ 42 h 552"/>
                  <a:gd name="T22" fmla="*/ 66 w 306"/>
                  <a:gd name="T23" fmla="*/ 60 h 552"/>
                  <a:gd name="T24" fmla="*/ 84 w 306"/>
                  <a:gd name="T25" fmla="*/ 72 h 552"/>
                  <a:gd name="T26" fmla="*/ 102 w 306"/>
                  <a:gd name="T27" fmla="*/ 84 h 552"/>
                  <a:gd name="T28" fmla="*/ 126 w 306"/>
                  <a:gd name="T29" fmla="*/ 108 h 552"/>
                  <a:gd name="T30" fmla="*/ 150 w 306"/>
                  <a:gd name="T31" fmla="*/ 114 h 552"/>
                  <a:gd name="T32" fmla="*/ 186 w 306"/>
                  <a:gd name="T33" fmla="*/ 126 h 552"/>
                  <a:gd name="T34" fmla="*/ 174 w 306"/>
                  <a:gd name="T35" fmla="*/ 150 h 552"/>
                  <a:gd name="T36" fmla="*/ 180 w 306"/>
                  <a:gd name="T37" fmla="*/ 162 h 552"/>
                  <a:gd name="T38" fmla="*/ 198 w 306"/>
                  <a:gd name="T39" fmla="*/ 180 h 552"/>
                  <a:gd name="T40" fmla="*/ 198 w 306"/>
                  <a:gd name="T41" fmla="*/ 198 h 552"/>
                  <a:gd name="T42" fmla="*/ 228 w 306"/>
                  <a:gd name="T43" fmla="*/ 210 h 552"/>
                  <a:gd name="T44" fmla="*/ 222 w 306"/>
                  <a:gd name="T45" fmla="*/ 234 h 552"/>
                  <a:gd name="T46" fmla="*/ 240 w 306"/>
                  <a:gd name="T47" fmla="*/ 258 h 552"/>
                  <a:gd name="T48" fmla="*/ 234 w 306"/>
                  <a:gd name="T49" fmla="*/ 270 h 552"/>
                  <a:gd name="T50" fmla="*/ 234 w 306"/>
                  <a:gd name="T51" fmla="*/ 294 h 552"/>
                  <a:gd name="T52" fmla="*/ 246 w 306"/>
                  <a:gd name="T53" fmla="*/ 312 h 552"/>
                  <a:gd name="T54" fmla="*/ 276 w 306"/>
                  <a:gd name="T55" fmla="*/ 300 h 552"/>
                  <a:gd name="T56" fmla="*/ 288 w 306"/>
                  <a:gd name="T57" fmla="*/ 318 h 552"/>
                  <a:gd name="T58" fmla="*/ 288 w 306"/>
                  <a:gd name="T59" fmla="*/ 348 h 552"/>
                  <a:gd name="T60" fmla="*/ 282 w 306"/>
                  <a:gd name="T61" fmla="*/ 384 h 552"/>
                  <a:gd name="T62" fmla="*/ 300 w 306"/>
                  <a:gd name="T63" fmla="*/ 396 h 552"/>
                  <a:gd name="T64" fmla="*/ 300 w 306"/>
                  <a:gd name="T65" fmla="*/ 414 h 552"/>
                  <a:gd name="T66" fmla="*/ 282 w 306"/>
                  <a:gd name="T67" fmla="*/ 450 h 552"/>
                  <a:gd name="T68" fmla="*/ 288 w 306"/>
                  <a:gd name="T69" fmla="*/ 486 h 552"/>
                  <a:gd name="T70" fmla="*/ 282 w 306"/>
                  <a:gd name="T71" fmla="*/ 510 h 552"/>
                  <a:gd name="T72" fmla="*/ 276 w 306"/>
                  <a:gd name="T73" fmla="*/ 546 h 552"/>
                  <a:gd name="T74" fmla="*/ 246 w 306"/>
                  <a:gd name="T75" fmla="*/ 522 h 552"/>
                  <a:gd name="T76" fmla="*/ 216 w 306"/>
                  <a:gd name="T77" fmla="*/ 492 h 552"/>
                  <a:gd name="T78" fmla="*/ 210 w 306"/>
                  <a:gd name="T79" fmla="*/ 468 h 552"/>
                  <a:gd name="T80" fmla="*/ 216 w 306"/>
                  <a:gd name="T81" fmla="*/ 468 h 552"/>
                  <a:gd name="T82" fmla="*/ 216 w 306"/>
                  <a:gd name="T83" fmla="*/ 462 h 552"/>
                  <a:gd name="T84" fmla="*/ 210 w 306"/>
                  <a:gd name="T85" fmla="*/ 462 h 552"/>
                  <a:gd name="T86" fmla="*/ 198 w 306"/>
                  <a:gd name="T87" fmla="*/ 468 h 552"/>
                  <a:gd name="T88" fmla="*/ 186 w 306"/>
                  <a:gd name="T89" fmla="*/ 432 h 552"/>
                  <a:gd name="T90" fmla="*/ 186 w 306"/>
                  <a:gd name="T91" fmla="*/ 426 h 552"/>
                  <a:gd name="T92" fmla="*/ 174 w 306"/>
                  <a:gd name="T93" fmla="*/ 384 h 552"/>
                  <a:gd name="T94" fmla="*/ 168 w 306"/>
                  <a:gd name="T95" fmla="*/ 348 h 552"/>
                  <a:gd name="T96" fmla="*/ 168 w 306"/>
                  <a:gd name="T97" fmla="*/ 342 h 552"/>
                  <a:gd name="T98" fmla="*/ 156 w 306"/>
                  <a:gd name="T99" fmla="*/ 324 h 552"/>
                  <a:gd name="T100" fmla="*/ 144 w 306"/>
                  <a:gd name="T101" fmla="*/ 294 h 552"/>
                  <a:gd name="T102" fmla="*/ 138 w 306"/>
                  <a:gd name="T103" fmla="*/ 276 h 552"/>
                  <a:gd name="T104" fmla="*/ 132 w 306"/>
                  <a:gd name="T105" fmla="*/ 240 h 552"/>
                  <a:gd name="T106" fmla="*/ 120 w 306"/>
                  <a:gd name="T107" fmla="*/ 216 h 552"/>
                  <a:gd name="T108" fmla="*/ 108 w 306"/>
                  <a:gd name="T109" fmla="*/ 192 h 552"/>
                  <a:gd name="T110" fmla="*/ 102 w 306"/>
                  <a:gd name="T111" fmla="*/ 168 h 552"/>
                  <a:gd name="T112" fmla="*/ 84 w 306"/>
                  <a:gd name="T113" fmla="*/ 144 h 552"/>
                  <a:gd name="T114" fmla="*/ 133 w 306"/>
                  <a:gd name="T115" fmla="*/ 246 h 552"/>
                  <a:gd name="T116" fmla="*/ 120 w 306"/>
                  <a:gd name="T117" fmla="*/ 204 h 552"/>
                  <a:gd name="T118" fmla="*/ 204 w 306"/>
                  <a:gd name="T119" fmla="*/ 468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6" h="552">
                    <a:moveTo>
                      <a:pt x="84" y="138"/>
                    </a:moveTo>
                    <a:lnTo>
                      <a:pt x="84" y="132"/>
                    </a:lnTo>
                    <a:lnTo>
                      <a:pt x="84" y="126"/>
                    </a:lnTo>
                    <a:lnTo>
                      <a:pt x="84" y="132"/>
                    </a:lnTo>
                    <a:lnTo>
                      <a:pt x="78" y="132"/>
                    </a:lnTo>
                    <a:lnTo>
                      <a:pt x="84" y="132"/>
                    </a:lnTo>
                    <a:lnTo>
                      <a:pt x="84" y="138"/>
                    </a:lnTo>
                    <a:lnTo>
                      <a:pt x="78" y="138"/>
                    </a:lnTo>
                    <a:lnTo>
                      <a:pt x="78" y="132"/>
                    </a:lnTo>
                    <a:lnTo>
                      <a:pt x="72" y="126"/>
                    </a:lnTo>
                    <a:lnTo>
                      <a:pt x="78" y="126"/>
                    </a:lnTo>
                    <a:lnTo>
                      <a:pt x="72" y="126"/>
                    </a:lnTo>
                    <a:lnTo>
                      <a:pt x="78" y="126"/>
                    </a:lnTo>
                    <a:lnTo>
                      <a:pt x="72" y="126"/>
                    </a:lnTo>
                    <a:lnTo>
                      <a:pt x="72" y="120"/>
                    </a:lnTo>
                    <a:lnTo>
                      <a:pt x="66" y="120"/>
                    </a:lnTo>
                    <a:lnTo>
                      <a:pt x="66" y="114"/>
                    </a:lnTo>
                    <a:lnTo>
                      <a:pt x="60" y="114"/>
                    </a:lnTo>
                    <a:lnTo>
                      <a:pt x="60" y="120"/>
                    </a:lnTo>
                    <a:lnTo>
                      <a:pt x="60" y="114"/>
                    </a:lnTo>
                    <a:lnTo>
                      <a:pt x="54" y="114"/>
                    </a:lnTo>
                    <a:lnTo>
                      <a:pt x="54" y="108"/>
                    </a:lnTo>
                    <a:lnTo>
                      <a:pt x="60" y="108"/>
                    </a:lnTo>
                    <a:lnTo>
                      <a:pt x="54" y="108"/>
                    </a:lnTo>
                    <a:lnTo>
                      <a:pt x="54" y="102"/>
                    </a:lnTo>
                    <a:lnTo>
                      <a:pt x="54" y="108"/>
                    </a:lnTo>
                    <a:lnTo>
                      <a:pt x="54" y="102"/>
                    </a:lnTo>
                    <a:lnTo>
                      <a:pt x="48" y="102"/>
                    </a:lnTo>
                    <a:lnTo>
                      <a:pt x="54" y="102"/>
                    </a:lnTo>
                    <a:lnTo>
                      <a:pt x="54" y="108"/>
                    </a:lnTo>
                    <a:lnTo>
                      <a:pt x="54" y="102"/>
                    </a:lnTo>
                    <a:lnTo>
                      <a:pt x="48" y="102"/>
                    </a:lnTo>
                    <a:lnTo>
                      <a:pt x="48" y="96"/>
                    </a:lnTo>
                    <a:lnTo>
                      <a:pt x="42" y="96"/>
                    </a:lnTo>
                    <a:lnTo>
                      <a:pt x="36" y="90"/>
                    </a:lnTo>
                    <a:lnTo>
                      <a:pt x="36" y="84"/>
                    </a:lnTo>
                    <a:lnTo>
                      <a:pt x="36" y="78"/>
                    </a:lnTo>
                    <a:lnTo>
                      <a:pt x="30" y="78"/>
                    </a:lnTo>
                    <a:lnTo>
                      <a:pt x="30" y="72"/>
                    </a:lnTo>
                    <a:lnTo>
                      <a:pt x="36" y="72"/>
                    </a:lnTo>
                    <a:lnTo>
                      <a:pt x="30" y="72"/>
                    </a:lnTo>
                    <a:lnTo>
                      <a:pt x="30" y="66"/>
                    </a:lnTo>
                    <a:lnTo>
                      <a:pt x="30" y="60"/>
                    </a:lnTo>
                    <a:lnTo>
                      <a:pt x="24" y="60"/>
                    </a:lnTo>
                    <a:lnTo>
                      <a:pt x="24" y="54"/>
                    </a:lnTo>
                    <a:lnTo>
                      <a:pt x="24" y="48"/>
                    </a:lnTo>
                    <a:lnTo>
                      <a:pt x="18" y="48"/>
                    </a:lnTo>
                    <a:lnTo>
                      <a:pt x="18" y="42"/>
                    </a:lnTo>
                    <a:lnTo>
                      <a:pt x="18" y="48"/>
                    </a:lnTo>
                    <a:lnTo>
                      <a:pt x="18" y="42"/>
                    </a:lnTo>
                    <a:lnTo>
                      <a:pt x="18" y="36"/>
                    </a:lnTo>
                    <a:lnTo>
                      <a:pt x="18" y="42"/>
                    </a:lnTo>
                    <a:lnTo>
                      <a:pt x="18" y="36"/>
                    </a:lnTo>
                    <a:lnTo>
                      <a:pt x="18" y="42"/>
                    </a:lnTo>
                    <a:lnTo>
                      <a:pt x="18" y="36"/>
                    </a:lnTo>
                    <a:lnTo>
                      <a:pt x="18" y="42"/>
                    </a:lnTo>
                    <a:lnTo>
                      <a:pt x="12" y="36"/>
                    </a:lnTo>
                    <a:lnTo>
                      <a:pt x="12" y="30"/>
                    </a:lnTo>
                    <a:lnTo>
                      <a:pt x="12" y="24"/>
                    </a:lnTo>
                    <a:lnTo>
                      <a:pt x="12" y="30"/>
                    </a:lnTo>
                    <a:lnTo>
                      <a:pt x="12" y="24"/>
                    </a:lnTo>
                    <a:lnTo>
                      <a:pt x="6" y="24"/>
                    </a:lnTo>
                    <a:lnTo>
                      <a:pt x="6" y="18"/>
                    </a:lnTo>
                    <a:lnTo>
                      <a:pt x="6" y="12"/>
                    </a:lnTo>
                    <a:lnTo>
                      <a:pt x="0" y="12"/>
                    </a:lnTo>
                    <a:lnTo>
                      <a:pt x="0" y="6"/>
                    </a:lnTo>
                    <a:lnTo>
                      <a:pt x="6" y="6"/>
                    </a:lnTo>
                    <a:lnTo>
                      <a:pt x="12" y="6"/>
                    </a:lnTo>
                    <a:lnTo>
                      <a:pt x="18" y="6"/>
                    </a:lnTo>
                    <a:lnTo>
                      <a:pt x="18" y="0"/>
                    </a:lnTo>
                    <a:lnTo>
                      <a:pt x="18" y="6"/>
                    </a:lnTo>
                    <a:lnTo>
                      <a:pt x="18" y="12"/>
                    </a:lnTo>
                    <a:lnTo>
                      <a:pt x="24" y="12"/>
                    </a:lnTo>
                    <a:lnTo>
                      <a:pt x="24" y="18"/>
                    </a:lnTo>
                    <a:lnTo>
                      <a:pt x="30" y="18"/>
                    </a:lnTo>
                    <a:lnTo>
                      <a:pt x="30" y="12"/>
                    </a:lnTo>
                    <a:lnTo>
                      <a:pt x="30" y="18"/>
                    </a:lnTo>
                    <a:lnTo>
                      <a:pt x="36" y="18"/>
                    </a:lnTo>
                    <a:lnTo>
                      <a:pt x="36" y="24"/>
                    </a:lnTo>
                    <a:lnTo>
                      <a:pt x="42" y="24"/>
                    </a:lnTo>
                    <a:lnTo>
                      <a:pt x="42" y="30"/>
                    </a:lnTo>
                    <a:lnTo>
                      <a:pt x="42" y="24"/>
                    </a:lnTo>
                    <a:lnTo>
                      <a:pt x="42" y="30"/>
                    </a:lnTo>
                    <a:lnTo>
                      <a:pt x="48" y="30"/>
                    </a:lnTo>
                    <a:lnTo>
                      <a:pt x="48" y="24"/>
                    </a:lnTo>
                    <a:lnTo>
                      <a:pt x="54" y="24"/>
                    </a:lnTo>
                    <a:lnTo>
                      <a:pt x="60" y="24"/>
                    </a:lnTo>
                    <a:lnTo>
                      <a:pt x="60" y="30"/>
                    </a:lnTo>
                    <a:lnTo>
                      <a:pt x="54" y="30"/>
                    </a:lnTo>
                    <a:lnTo>
                      <a:pt x="48" y="30"/>
                    </a:lnTo>
                    <a:lnTo>
                      <a:pt x="48" y="36"/>
                    </a:lnTo>
                    <a:lnTo>
                      <a:pt x="54" y="36"/>
                    </a:lnTo>
                    <a:lnTo>
                      <a:pt x="60" y="36"/>
                    </a:lnTo>
                    <a:lnTo>
                      <a:pt x="60" y="42"/>
                    </a:lnTo>
                    <a:lnTo>
                      <a:pt x="60" y="36"/>
                    </a:lnTo>
                    <a:lnTo>
                      <a:pt x="66" y="36"/>
                    </a:lnTo>
                    <a:lnTo>
                      <a:pt x="66" y="42"/>
                    </a:lnTo>
                    <a:lnTo>
                      <a:pt x="72" y="42"/>
                    </a:lnTo>
                    <a:lnTo>
                      <a:pt x="66" y="42"/>
                    </a:lnTo>
                    <a:lnTo>
                      <a:pt x="60" y="42"/>
                    </a:lnTo>
                    <a:lnTo>
                      <a:pt x="60" y="48"/>
                    </a:lnTo>
                    <a:lnTo>
                      <a:pt x="66" y="48"/>
                    </a:lnTo>
                    <a:lnTo>
                      <a:pt x="66" y="54"/>
                    </a:lnTo>
                    <a:lnTo>
                      <a:pt x="66" y="60"/>
                    </a:lnTo>
                    <a:lnTo>
                      <a:pt x="72" y="60"/>
                    </a:lnTo>
                    <a:lnTo>
                      <a:pt x="66" y="60"/>
                    </a:lnTo>
                    <a:lnTo>
                      <a:pt x="66" y="66"/>
                    </a:lnTo>
                    <a:lnTo>
                      <a:pt x="66" y="60"/>
                    </a:lnTo>
                    <a:lnTo>
                      <a:pt x="72" y="60"/>
                    </a:lnTo>
                    <a:lnTo>
                      <a:pt x="72" y="66"/>
                    </a:lnTo>
                    <a:lnTo>
                      <a:pt x="72" y="60"/>
                    </a:lnTo>
                    <a:lnTo>
                      <a:pt x="72" y="66"/>
                    </a:lnTo>
                    <a:lnTo>
                      <a:pt x="78" y="66"/>
                    </a:lnTo>
                    <a:lnTo>
                      <a:pt x="78" y="72"/>
                    </a:lnTo>
                    <a:lnTo>
                      <a:pt x="84" y="72"/>
                    </a:lnTo>
                    <a:lnTo>
                      <a:pt x="78" y="72"/>
                    </a:lnTo>
                    <a:lnTo>
                      <a:pt x="84" y="72"/>
                    </a:lnTo>
                    <a:lnTo>
                      <a:pt x="84" y="78"/>
                    </a:lnTo>
                    <a:lnTo>
                      <a:pt x="84" y="72"/>
                    </a:lnTo>
                    <a:lnTo>
                      <a:pt x="84" y="78"/>
                    </a:lnTo>
                    <a:lnTo>
                      <a:pt x="90" y="78"/>
                    </a:lnTo>
                    <a:lnTo>
                      <a:pt x="96" y="78"/>
                    </a:lnTo>
                    <a:lnTo>
                      <a:pt x="96" y="84"/>
                    </a:lnTo>
                    <a:lnTo>
                      <a:pt x="96" y="90"/>
                    </a:lnTo>
                    <a:lnTo>
                      <a:pt x="96" y="84"/>
                    </a:lnTo>
                    <a:lnTo>
                      <a:pt x="102" y="84"/>
                    </a:lnTo>
                    <a:lnTo>
                      <a:pt x="102" y="90"/>
                    </a:lnTo>
                    <a:lnTo>
                      <a:pt x="108" y="90"/>
                    </a:lnTo>
                    <a:lnTo>
                      <a:pt x="114" y="90"/>
                    </a:lnTo>
                    <a:lnTo>
                      <a:pt x="114" y="96"/>
                    </a:lnTo>
                    <a:lnTo>
                      <a:pt x="114" y="102"/>
                    </a:lnTo>
                    <a:lnTo>
                      <a:pt x="120" y="102"/>
                    </a:lnTo>
                    <a:lnTo>
                      <a:pt x="120" y="108"/>
                    </a:lnTo>
                    <a:lnTo>
                      <a:pt x="126" y="102"/>
                    </a:lnTo>
                    <a:lnTo>
                      <a:pt x="126" y="108"/>
                    </a:lnTo>
                    <a:lnTo>
                      <a:pt x="132" y="108"/>
                    </a:lnTo>
                    <a:lnTo>
                      <a:pt x="138" y="108"/>
                    </a:lnTo>
                    <a:lnTo>
                      <a:pt x="144" y="108"/>
                    </a:lnTo>
                    <a:lnTo>
                      <a:pt x="144" y="102"/>
                    </a:lnTo>
                    <a:lnTo>
                      <a:pt x="150" y="102"/>
                    </a:lnTo>
                    <a:lnTo>
                      <a:pt x="150" y="108"/>
                    </a:lnTo>
                    <a:lnTo>
                      <a:pt x="150" y="114"/>
                    </a:lnTo>
                    <a:lnTo>
                      <a:pt x="150" y="120"/>
                    </a:lnTo>
                    <a:lnTo>
                      <a:pt x="150" y="114"/>
                    </a:lnTo>
                    <a:lnTo>
                      <a:pt x="156" y="114"/>
                    </a:lnTo>
                    <a:lnTo>
                      <a:pt x="162" y="114"/>
                    </a:lnTo>
                    <a:lnTo>
                      <a:pt x="162" y="120"/>
                    </a:lnTo>
                    <a:lnTo>
                      <a:pt x="168" y="120"/>
                    </a:lnTo>
                    <a:lnTo>
                      <a:pt x="174" y="126"/>
                    </a:lnTo>
                    <a:lnTo>
                      <a:pt x="174" y="132"/>
                    </a:lnTo>
                    <a:lnTo>
                      <a:pt x="180" y="132"/>
                    </a:lnTo>
                    <a:lnTo>
                      <a:pt x="186" y="132"/>
                    </a:lnTo>
                    <a:lnTo>
                      <a:pt x="186" y="126"/>
                    </a:lnTo>
                    <a:lnTo>
                      <a:pt x="186" y="132"/>
                    </a:lnTo>
                    <a:lnTo>
                      <a:pt x="186" y="126"/>
                    </a:lnTo>
                    <a:lnTo>
                      <a:pt x="186" y="132"/>
                    </a:lnTo>
                    <a:lnTo>
                      <a:pt x="186" y="138"/>
                    </a:lnTo>
                    <a:lnTo>
                      <a:pt x="192" y="144"/>
                    </a:lnTo>
                    <a:lnTo>
                      <a:pt x="186" y="144"/>
                    </a:lnTo>
                    <a:lnTo>
                      <a:pt x="180" y="144"/>
                    </a:lnTo>
                    <a:lnTo>
                      <a:pt x="180" y="150"/>
                    </a:lnTo>
                    <a:lnTo>
                      <a:pt x="174" y="150"/>
                    </a:lnTo>
                    <a:lnTo>
                      <a:pt x="168" y="150"/>
                    </a:lnTo>
                    <a:lnTo>
                      <a:pt x="162" y="150"/>
                    </a:lnTo>
                    <a:lnTo>
                      <a:pt x="168" y="150"/>
                    </a:lnTo>
                    <a:lnTo>
                      <a:pt x="168" y="156"/>
                    </a:lnTo>
                    <a:lnTo>
                      <a:pt x="168" y="162"/>
                    </a:lnTo>
                    <a:lnTo>
                      <a:pt x="174" y="162"/>
                    </a:lnTo>
                    <a:lnTo>
                      <a:pt x="174" y="168"/>
                    </a:lnTo>
                    <a:lnTo>
                      <a:pt x="174" y="162"/>
                    </a:lnTo>
                    <a:lnTo>
                      <a:pt x="180" y="162"/>
                    </a:lnTo>
                    <a:lnTo>
                      <a:pt x="180" y="168"/>
                    </a:lnTo>
                    <a:lnTo>
                      <a:pt x="186" y="168"/>
                    </a:lnTo>
                    <a:lnTo>
                      <a:pt x="192" y="174"/>
                    </a:lnTo>
                    <a:lnTo>
                      <a:pt x="198" y="174"/>
                    </a:lnTo>
                    <a:lnTo>
                      <a:pt x="198" y="180"/>
                    </a:lnTo>
                    <a:lnTo>
                      <a:pt x="198" y="174"/>
                    </a:lnTo>
                    <a:lnTo>
                      <a:pt x="204" y="174"/>
                    </a:lnTo>
                    <a:lnTo>
                      <a:pt x="204" y="180"/>
                    </a:lnTo>
                    <a:lnTo>
                      <a:pt x="198" y="180"/>
                    </a:lnTo>
                    <a:lnTo>
                      <a:pt x="198" y="186"/>
                    </a:lnTo>
                    <a:lnTo>
                      <a:pt x="204" y="186"/>
                    </a:lnTo>
                    <a:lnTo>
                      <a:pt x="198" y="186"/>
                    </a:lnTo>
                    <a:lnTo>
                      <a:pt x="198" y="192"/>
                    </a:lnTo>
                    <a:lnTo>
                      <a:pt x="192" y="192"/>
                    </a:lnTo>
                    <a:lnTo>
                      <a:pt x="192" y="198"/>
                    </a:lnTo>
                    <a:lnTo>
                      <a:pt x="192" y="192"/>
                    </a:lnTo>
                    <a:lnTo>
                      <a:pt x="198" y="192"/>
                    </a:lnTo>
                    <a:lnTo>
                      <a:pt x="198" y="198"/>
                    </a:lnTo>
                    <a:lnTo>
                      <a:pt x="204" y="198"/>
                    </a:lnTo>
                    <a:lnTo>
                      <a:pt x="210" y="198"/>
                    </a:lnTo>
                    <a:lnTo>
                      <a:pt x="216" y="198"/>
                    </a:lnTo>
                    <a:lnTo>
                      <a:pt x="216" y="192"/>
                    </a:lnTo>
                    <a:lnTo>
                      <a:pt x="222" y="192"/>
                    </a:lnTo>
                    <a:lnTo>
                      <a:pt x="222" y="198"/>
                    </a:lnTo>
                    <a:lnTo>
                      <a:pt x="222" y="204"/>
                    </a:lnTo>
                    <a:lnTo>
                      <a:pt x="228" y="204"/>
                    </a:lnTo>
                    <a:lnTo>
                      <a:pt x="228" y="210"/>
                    </a:lnTo>
                    <a:lnTo>
                      <a:pt x="228" y="216"/>
                    </a:lnTo>
                    <a:lnTo>
                      <a:pt x="234" y="216"/>
                    </a:lnTo>
                    <a:lnTo>
                      <a:pt x="228" y="216"/>
                    </a:lnTo>
                    <a:lnTo>
                      <a:pt x="222" y="216"/>
                    </a:lnTo>
                    <a:lnTo>
                      <a:pt x="222" y="222"/>
                    </a:lnTo>
                    <a:lnTo>
                      <a:pt x="216" y="222"/>
                    </a:lnTo>
                    <a:lnTo>
                      <a:pt x="216" y="228"/>
                    </a:lnTo>
                    <a:lnTo>
                      <a:pt x="216" y="234"/>
                    </a:lnTo>
                    <a:lnTo>
                      <a:pt x="222" y="234"/>
                    </a:lnTo>
                    <a:lnTo>
                      <a:pt x="228" y="234"/>
                    </a:lnTo>
                    <a:lnTo>
                      <a:pt x="234" y="234"/>
                    </a:lnTo>
                    <a:lnTo>
                      <a:pt x="234" y="240"/>
                    </a:lnTo>
                    <a:lnTo>
                      <a:pt x="240" y="240"/>
                    </a:lnTo>
                    <a:lnTo>
                      <a:pt x="240" y="246"/>
                    </a:lnTo>
                    <a:lnTo>
                      <a:pt x="246" y="246"/>
                    </a:lnTo>
                    <a:lnTo>
                      <a:pt x="246" y="252"/>
                    </a:lnTo>
                    <a:lnTo>
                      <a:pt x="246" y="258"/>
                    </a:lnTo>
                    <a:lnTo>
                      <a:pt x="240" y="258"/>
                    </a:lnTo>
                    <a:lnTo>
                      <a:pt x="240" y="252"/>
                    </a:lnTo>
                    <a:lnTo>
                      <a:pt x="240" y="258"/>
                    </a:lnTo>
                    <a:lnTo>
                      <a:pt x="240" y="264"/>
                    </a:lnTo>
                    <a:lnTo>
                      <a:pt x="246" y="264"/>
                    </a:lnTo>
                    <a:lnTo>
                      <a:pt x="240" y="264"/>
                    </a:lnTo>
                    <a:lnTo>
                      <a:pt x="234" y="264"/>
                    </a:lnTo>
                    <a:lnTo>
                      <a:pt x="234" y="270"/>
                    </a:lnTo>
                    <a:lnTo>
                      <a:pt x="240" y="270"/>
                    </a:lnTo>
                    <a:lnTo>
                      <a:pt x="234" y="270"/>
                    </a:lnTo>
                    <a:lnTo>
                      <a:pt x="240" y="270"/>
                    </a:lnTo>
                    <a:lnTo>
                      <a:pt x="234" y="270"/>
                    </a:lnTo>
                    <a:lnTo>
                      <a:pt x="234" y="276"/>
                    </a:lnTo>
                    <a:lnTo>
                      <a:pt x="240" y="276"/>
                    </a:lnTo>
                    <a:lnTo>
                      <a:pt x="234" y="276"/>
                    </a:lnTo>
                    <a:lnTo>
                      <a:pt x="240" y="276"/>
                    </a:lnTo>
                    <a:lnTo>
                      <a:pt x="234" y="282"/>
                    </a:lnTo>
                    <a:lnTo>
                      <a:pt x="234" y="288"/>
                    </a:lnTo>
                    <a:lnTo>
                      <a:pt x="234" y="294"/>
                    </a:lnTo>
                    <a:lnTo>
                      <a:pt x="240" y="294"/>
                    </a:lnTo>
                    <a:lnTo>
                      <a:pt x="234" y="294"/>
                    </a:lnTo>
                    <a:lnTo>
                      <a:pt x="240" y="294"/>
                    </a:lnTo>
                    <a:lnTo>
                      <a:pt x="240" y="300"/>
                    </a:lnTo>
                    <a:lnTo>
                      <a:pt x="234" y="300"/>
                    </a:lnTo>
                    <a:lnTo>
                      <a:pt x="234" y="306"/>
                    </a:lnTo>
                    <a:lnTo>
                      <a:pt x="240" y="306"/>
                    </a:lnTo>
                    <a:lnTo>
                      <a:pt x="240" y="312"/>
                    </a:lnTo>
                    <a:lnTo>
                      <a:pt x="246" y="312"/>
                    </a:lnTo>
                    <a:lnTo>
                      <a:pt x="252" y="312"/>
                    </a:lnTo>
                    <a:lnTo>
                      <a:pt x="252" y="318"/>
                    </a:lnTo>
                    <a:lnTo>
                      <a:pt x="252" y="312"/>
                    </a:lnTo>
                    <a:lnTo>
                      <a:pt x="258" y="312"/>
                    </a:lnTo>
                    <a:lnTo>
                      <a:pt x="264" y="312"/>
                    </a:lnTo>
                    <a:lnTo>
                      <a:pt x="264" y="306"/>
                    </a:lnTo>
                    <a:lnTo>
                      <a:pt x="270" y="306"/>
                    </a:lnTo>
                    <a:lnTo>
                      <a:pt x="270" y="300"/>
                    </a:lnTo>
                    <a:lnTo>
                      <a:pt x="276" y="300"/>
                    </a:lnTo>
                    <a:lnTo>
                      <a:pt x="282" y="300"/>
                    </a:lnTo>
                    <a:lnTo>
                      <a:pt x="282" y="306"/>
                    </a:lnTo>
                    <a:lnTo>
                      <a:pt x="288" y="306"/>
                    </a:lnTo>
                    <a:lnTo>
                      <a:pt x="282" y="306"/>
                    </a:lnTo>
                    <a:lnTo>
                      <a:pt x="288" y="306"/>
                    </a:lnTo>
                    <a:lnTo>
                      <a:pt x="288" y="312"/>
                    </a:lnTo>
                    <a:lnTo>
                      <a:pt x="294" y="312"/>
                    </a:lnTo>
                    <a:lnTo>
                      <a:pt x="294" y="318"/>
                    </a:lnTo>
                    <a:lnTo>
                      <a:pt x="288" y="318"/>
                    </a:lnTo>
                    <a:lnTo>
                      <a:pt x="288" y="324"/>
                    </a:lnTo>
                    <a:lnTo>
                      <a:pt x="288" y="330"/>
                    </a:lnTo>
                    <a:lnTo>
                      <a:pt x="288" y="324"/>
                    </a:lnTo>
                    <a:lnTo>
                      <a:pt x="282" y="324"/>
                    </a:lnTo>
                    <a:lnTo>
                      <a:pt x="282" y="330"/>
                    </a:lnTo>
                    <a:lnTo>
                      <a:pt x="282" y="336"/>
                    </a:lnTo>
                    <a:lnTo>
                      <a:pt x="288" y="336"/>
                    </a:lnTo>
                    <a:lnTo>
                      <a:pt x="288" y="342"/>
                    </a:lnTo>
                    <a:lnTo>
                      <a:pt x="288" y="348"/>
                    </a:lnTo>
                    <a:lnTo>
                      <a:pt x="282" y="348"/>
                    </a:lnTo>
                    <a:lnTo>
                      <a:pt x="282" y="354"/>
                    </a:lnTo>
                    <a:lnTo>
                      <a:pt x="282" y="360"/>
                    </a:lnTo>
                    <a:lnTo>
                      <a:pt x="282" y="366"/>
                    </a:lnTo>
                    <a:lnTo>
                      <a:pt x="288" y="366"/>
                    </a:lnTo>
                    <a:lnTo>
                      <a:pt x="282" y="366"/>
                    </a:lnTo>
                    <a:lnTo>
                      <a:pt x="282" y="372"/>
                    </a:lnTo>
                    <a:lnTo>
                      <a:pt x="282" y="378"/>
                    </a:lnTo>
                    <a:lnTo>
                      <a:pt x="282" y="384"/>
                    </a:lnTo>
                    <a:lnTo>
                      <a:pt x="276" y="384"/>
                    </a:lnTo>
                    <a:lnTo>
                      <a:pt x="276" y="390"/>
                    </a:lnTo>
                    <a:lnTo>
                      <a:pt x="282" y="390"/>
                    </a:lnTo>
                    <a:lnTo>
                      <a:pt x="288" y="390"/>
                    </a:lnTo>
                    <a:lnTo>
                      <a:pt x="288" y="396"/>
                    </a:lnTo>
                    <a:lnTo>
                      <a:pt x="288" y="390"/>
                    </a:lnTo>
                    <a:lnTo>
                      <a:pt x="294" y="390"/>
                    </a:lnTo>
                    <a:lnTo>
                      <a:pt x="294" y="396"/>
                    </a:lnTo>
                    <a:lnTo>
                      <a:pt x="300" y="396"/>
                    </a:lnTo>
                    <a:lnTo>
                      <a:pt x="300" y="390"/>
                    </a:lnTo>
                    <a:lnTo>
                      <a:pt x="300" y="396"/>
                    </a:lnTo>
                    <a:lnTo>
                      <a:pt x="300" y="402"/>
                    </a:lnTo>
                    <a:lnTo>
                      <a:pt x="306" y="402"/>
                    </a:lnTo>
                    <a:lnTo>
                      <a:pt x="306" y="408"/>
                    </a:lnTo>
                    <a:lnTo>
                      <a:pt x="300" y="408"/>
                    </a:lnTo>
                    <a:lnTo>
                      <a:pt x="300" y="414"/>
                    </a:lnTo>
                    <a:lnTo>
                      <a:pt x="294" y="414"/>
                    </a:lnTo>
                    <a:lnTo>
                      <a:pt x="300" y="414"/>
                    </a:lnTo>
                    <a:lnTo>
                      <a:pt x="294" y="414"/>
                    </a:lnTo>
                    <a:lnTo>
                      <a:pt x="294" y="420"/>
                    </a:lnTo>
                    <a:lnTo>
                      <a:pt x="294" y="426"/>
                    </a:lnTo>
                    <a:lnTo>
                      <a:pt x="288" y="426"/>
                    </a:lnTo>
                    <a:lnTo>
                      <a:pt x="288" y="432"/>
                    </a:lnTo>
                    <a:lnTo>
                      <a:pt x="288" y="438"/>
                    </a:lnTo>
                    <a:lnTo>
                      <a:pt x="288" y="444"/>
                    </a:lnTo>
                    <a:lnTo>
                      <a:pt x="288" y="450"/>
                    </a:lnTo>
                    <a:lnTo>
                      <a:pt x="282" y="450"/>
                    </a:lnTo>
                    <a:lnTo>
                      <a:pt x="282" y="456"/>
                    </a:lnTo>
                    <a:lnTo>
                      <a:pt x="276" y="456"/>
                    </a:lnTo>
                    <a:lnTo>
                      <a:pt x="276" y="462"/>
                    </a:lnTo>
                    <a:lnTo>
                      <a:pt x="276" y="468"/>
                    </a:lnTo>
                    <a:lnTo>
                      <a:pt x="282" y="468"/>
                    </a:lnTo>
                    <a:lnTo>
                      <a:pt x="282" y="474"/>
                    </a:lnTo>
                    <a:lnTo>
                      <a:pt x="282" y="480"/>
                    </a:lnTo>
                    <a:lnTo>
                      <a:pt x="288" y="480"/>
                    </a:lnTo>
                    <a:lnTo>
                      <a:pt x="288" y="486"/>
                    </a:lnTo>
                    <a:lnTo>
                      <a:pt x="282" y="486"/>
                    </a:lnTo>
                    <a:lnTo>
                      <a:pt x="282" y="492"/>
                    </a:lnTo>
                    <a:lnTo>
                      <a:pt x="282" y="498"/>
                    </a:lnTo>
                    <a:lnTo>
                      <a:pt x="282" y="492"/>
                    </a:lnTo>
                    <a:lnTo>
                      <a:pt x="282" y="498"/>
                    </a:lnTo>
                    <a:lnTo>
                      <a:pt x="276" y="498"/>
                    </a:lnTo>
                    <a:lnTo>
                      <a:pt x="276" y="504"/>
                    </a:lnTo>
                    <a:lnTo>
                      <a:pt x="282" y="504"/>
                    </a:lnTo>
                    <a:lnTo>
                      <a:pt x="282" y="510"/>
                    </a:lnTo>
                    <a:lnTo>
                      <a:pt x="288" y="510"/>
                    </a:lnTo>
                    <a:lnTo>
                      <a:pt x="288" y="516"/>
                    </a:lnTo>
                    <a:lnTo>
                      <a:pt x="288" y="522"/>
                    </a:lnTo>
                    <a:lnTo>
                      <a:pt x="288" y="528"/>
                    </a:lnTo>
                    <a:lnTo>
                      <a:pt x="282" y="528"/>
                    </a:lnTo>
                    <a:lnTo>
                      <a:pt x="282" y="534"/>
                    </a:lnTo>
                    <a:lnTo>
                      <a:pt x="282" y="540"/>
                    </a:lnTo>
                    <a:lnTo>
                      <a:pt x="276" y="540"/>
                    </a:lnTo>
                    <a:lnTo>
                      <a:pt x="276" y="546"/>
                    </a:lnTo>
                    <a:lnTo>
                      <a:pt x="270" y="546"/>
                    </a:lnTo>
                    <a:lnTo>
                      <a:pt x="270" y="552"/>
                    </a:lnTo>
                    <a:lnTo>
                      <a:pt x="264" y="546"/>
                    </a:lnTo>
                    <a:lnTo>
                      <a:pt x="258" y="546"/>
                    </a:lnTo>
                    <a:lnTo>
                      <a:pt x="258" y="540"/>
                    </a:lnTo>
                    <a:lnTo>
                      <a:pt x="252" y="540"/>
                    </a:lnTo>
                    <a:lnTo>
                      <a:pt x="252" y="534"/>
                    </a:lnTo>
                    <a:lnTo>
                      <a:pt x="246" y="528"/>
                    </a:lnTo>
                    <a:lnTo>
                      <a:pt x="246" y="522"/>
                    </a:lnTo>
                    <a:lnTo>
                      <a:pt x="240" y="522"/>
                    </a:lnTo>
                    <a:lnTo>
                      <a:pt x="240" y="516"/>
                    </a:lnTo>
                    <a:lnTo>
                      <a:pt x="234" y="516"/>
                    </a:lnTo>
                    <a:lnTo>
                      <a:pt x="234" y="510"/>
                    </a:lnTo>
                    <a:lnTo>
                      <a:pt x="228" y="510"/>
                    </a:lnTo>
                    <a:lnTo>
                      <a:pt x="228" y="504"/>
                    </a:lnTo>
                    <a:lnTo>
                      <a:pt x="222" y="498"/>
                    </a:lnTo>
                    <a:lnTo>
                      <a:pt x="222" y="492"/>
                    </a:lnTo>
                    <a:lnTo>
                      <a:pt x="216" y="492"/>
                    </a:lnTo>
                    <a:lnTo>
                      <a:pt x="216" y="486"/>
                    </a:lnTo>
                    <a:lnTo>
                      <a:pt x="210" y="486"/>
                    </a:lnTo>
                    <a:lnTo>
                      <a:pt x="210" y="480"/>
                    </a:lnTo>
                    <a:lnTo>
                      <a:pt x="204" y="480"/>
                    </a:lnTo>
                    <a:lnTo>
                      <a:pt x="204" y="474"/>
                    </a:lnTo>
                    <a:lnTo>
                      <a:pt x="198" y="474"/>
                    </a:lnTo>
                    <a:lnTo>
                      <a:pt x="204" y="474"/>
                    </a:lnTo>
                    <a:lnTo>
                      <a:pt x="210" y="474"/>
                    </a:lnTo>
                    <a:lnTo>
                      <a:pt x="210" y="468"/>
                    </a:lnTo>
                    <a:lnTo>
                      <a:pt x="210" y="474"/>
                    </a:lnTo>
                    <a:lnTo>
                      <a:pt x="210" y="468"/>
                    </a:lnTo>
                    <a:lnTo>
                      <a:pt x="204" y="468"/>
                    </a:lnTo>
                    <a:lnTo>
                      <a:pt x="210" y="468"/>
                    </a:lnTo>
                    <a:lnTo>
                      <a:pt x="210" y="474"/>
                    </a:lnTo>
                    <a:lnTo>
                      <a:pt x="204" y="474"/>
                    </a:lnTo>
                    <a:lnTo>
                      <a:pt x="204" y="468"/>
                    </a:lnTo>
                    <a:lnTo>
                      <a:pt x="210" y="468"/>
                    </a:lnTo>
                    <a:lnTo>
                      <a:pt x="216" y="468"/>
                    </a:lnTo>
                    <a:lnTo>
                      <a:pt x="210" y="468"/>
                    </a:lnTo>
                    <a:lnTo>
                      <a:pt x="216" y="468"/>
                    </a:lnTo>
                    <a:lnTo>
                      <a:pt x="210" y="468"/>
                    </a:lnTo>
                    <a:lnTo>
                      <a:pt x="216" y="468"/>
                    </a:lnTo>
                    <a:lnTo>
                      <a:pt x="210" y="468"/>
                    </a:lnTo>
                    <a:lnTo>
                      <a:pt x="216" y="468"/>
                    </a:lnTo>
                    <a:lnTo>
                      <a:pt x="210" y="468"/>
                    </a:lnTo>
                    <a:lnTo>
                      <a:pt x="216" y="468"/>
                    </a:lnTo>
                    <a:lnTo>
                      <a:pt x="216" y="462"/>
                    </a:lnTo>
                    <a:lnTo>
                      <a:pt x="216" y="468"/>
                    </a:lnTo>
                    <a:lnTo>
                      <a:pt x="216" y="462"/>
                    </a:lnTo>
                    <a:lnTo>
                      <a:pt x="216" y="468"/>
                    </a:lnTo>
                    <a:lnTo>
                      <a:pt x="216" y="462"/>
                    </a:lnTo>
                    <a:lnTo>
                      <a:pt x="210" y="462"/>
                    </a:lnTo>
                    <a:lnTo>
                      <a:pt x="216" y="462"/>
                    </a:lnTo>
                    <a:lnTo>
                      <a:pt x="210" y="462"/>
                    </a:lnTo>
                    <a:lnTo>
                      <a:pt x="210" y="468"/>
                    </a:lnTo>
                    <a:lnTo>
                      <a:pt x="210" y="462"/>
                    </a:lnTo>
                    <a:lnTo>
                      <a:pt x="210" y="468"/>
                    </a:lnTo>
                    <a:lnTo>
                      <a:pt x="210" y="462"/>
                    </a:lnTo>
                    <a:lnTo>
                      <a:pt x="204" y="462"/>
                    </a:lnTo>
                    <a:lnTo>
                      <a:pt x="204" y="468"/>
                    </a:lnTo>
                    <a:lnTo>
                      <a:pt x="198" y="468"/>
                    </a:lnTo>
                    <a:lnTo>
                      <a:pt x="204" y="468"/>
                    </a:lnTo>
                    <a:lnTo>
                      <a:pt x="204" y="474"/>
                    </a:lnTo>
                    <a:lnTo>
                      <a:pt x="198" y="474"/>
                    </a:lnTo>
                    <a:lnTo>
                      <a:pt x="198" y="468"/>
                    </a:lnTo>
                    <a:lnTo>
                      <a:pt x="198" y="462"/>
                    </a:lnTo>
                    <a:lnTo>
                      <a:pt x="198" y="456"/>
                    </a:lnTo>
                    <a:lnTo>
                      <a:pt x="192" y="450"/>
                    </a:lnTo>
                    <a:lnTo>
                      <a:pt x="192" y="444"/>
                    </a:lnTo>
                    <a:lnTo>
                      <a:pt x="198" y="444"/>
                    </a:lnTo>
                    <a:lnTo>
                      <a:pt x="192" y="444"/>
                    </a:lnTo>
                    <a:lnTo>
                      <a:pt x="192" y="438"/>
                    </a:lnTo>
                    <a:lnTo>
                      <a:pt x="192" y="432"/>
                    </a:lnTo>
                    <a:lnTo>
                      <a:pt x="186" y="432"/>
                    </a:lnTo>
                    <a:lnTo>
                      <a:pt x="186" y="438"/>
                    </a:lnTo>
                    <a:lnTo>
                      <a:pt x="192" y="438"/>
                    </a:lnTo>
                    <a:lnTo>
                      <a:pt x="192" y="444"/>
                    </a:lnTo>
                    <a:lnTo>
                      <a:pt x="192" y="438"/>
                    </a:lnTo>
                    <a:lnTo>
                      <a:pt x="186" y="438"/>
                    </a:lnTo>
                    <a:lnTo>
                      <a:pt x="186" y="432"/>
                    </a:lnTo>
                    <a:lnTo>
                      <a:pt x="186" y="426"/>
                    </a:lnTo>
                    <a:lnTo>
                      <a:pt x="180" y="426"/>
                    </a:lnTo>
                    <a:lnTo>
                      <a:pt x="186" y="426"/>
                    </a:lnTo>
                    <a:lnTo>
                      <a:pt x="180" y="426"/>
                    </a:lnTo>
                    <a:lnTo>
                      <a:pt x="180" y="420"/>
                    </a:lnTo>
                    <a:lnTo>
                      <a:pt x="180" y="414"/>
                    </a:lnTo>
                    <a:lnTo>
                      <a:pt x="174" y="414"/>
                    </a:lnTo>
                    <a:lnTo>
                      <a:pt x="174" y="408"/>
                    </a:lnTo>
                    <a:lnTo>
                      <a:pt x="174" y="402"/>
                    </a:lnTo>
                    <a:lnTo>
                      <a:pt x="174" y="396"/>
                    </a:lnTo>
                    <a:lnTo>
                      <a:pt x="174" y="390"/>
                    </a:lnTo>
                    <a:lnTo>
                      <a:pt x="174" y="384"/>
                    </a:lnTo>
                    <a:lnTo>
                      <a:pt x="174" y="378"/>
                    </a:lnTo>
                    <a:lnTo>
                      <a:pt x="168" y="378"/>
                    </a:lnTo>
                    <a:lnTo>
                      <a:pt x="168" y="372"/>
                    </a:lnTo>
                    <a:lnTo>
                      <a:pt x="174" y="372"/>
                    </a:lnTo>
                    <a:lnTo>
                      <a:pt x="168" y="372"/>
                    </a:lnTo>
                    <a:lnTo>
                      <a:pt x="168" y="366"/>
                    </a:lnTo>
                    <a:lnTo>
                      <a:pt x="168" y="360"/>
                    </a:lnTo>
                    <a:lnTo>
                      <a:pt x="168" y="354"/>
                    </a:lnTo>
                    <a:lnTo>
                      <a:pt x="168" y="348"/>
                    </a:lnTo>
                    <a:lnTo>
                      <a:pt x="168" y="354"/>
                    </a:lnTo>
                    <a:lnTo>
                      <a:pt x="174" y="354"/>
                    </a:lnTo>
                    <a:lnTo>
                      <a:pt x="174" y="348"/>
                    </a:lnTo>
                    <a:lnTo>
                      <a:pt x="174" y="354"/>
                    </a:lnTo>
                    <a:lnTo>
                      <a:pt x="174" y="348"/>
                    </a:lnTo>
                    <a:lnTo>
                      <a:pt x="168" y="348"/>
                    </a:lnTo>
                    <a:lnTo>
                      <a:pt x="168" y="342"/>
                    </a:lnTo>
                    <a:lnTo>
                      <a:pt x="162" y="342"/>
                    </a:lnTo>
                    <a:lnTo>
                      <a:pt x="168" y="342"/>
                    </a:lnTo>
                    <a:lnTo>
                      <a:pt x="168" y="348"/>
                    </a:lnTo>
                    <a:lnTo>
                      <a:pt x="168" y="342"/>
                    </a:lnTo>
                    <a:lnTo>
                      <a:pt x="168" y="348"/>
                    </a:lnTo>
                    <a:lnTo>
                      <a:pt x="162" y="348"/>
                    </a:lnTo>
                    <a:lnTo>
                      <a:pt x="162" y="342"/>
                    </a:lnTo>
                    <a:lnTo>
                      <a:pt x="162" y="336"/>
                    </a:lnTo>
                    <a:lnTo>
                      <a:pt x="162" y="330"/>
                    </a:lnTo>
                    <a:lnTo>
                      <a:pt x="156" y="330"/>
                    </a:lnTo>
                    <a:lnTo>
                      <a:pt x="156" y="324"/>
                    </a:lnTo>
                    <a:lnTo>
                      <a:pt x="156" y="318"/>
                    </a:lnTo>
                    <a:lnTo>
                      <a:pt x="162" y="318"/>
                    </a:lnTo>
                    <a:lnTo>
                      <a:pt x="156" y="318"/>
                    </a:lnTo>
                    <a:lnTo>
                      <a:pt x="156" y="312"/>
                    </a:lnTo>
                    <a:lnTo>
                      <a:pt x="150" y="312"/>
                    </a:lnTo>
                    <a:lnTo>
                      <a:pt x="150" y="306"/>
                    </a:lnTo>
                    <a:lnTo>
                      <a:pt x="150" y="300"/>
                    </a:lnTo>
                    <a:lnTo>
                      <a:pt x="150" y="294"/>
                    </a:lnTo>
                    <a:lnTo>
                      <a:pt x="144" y="294"/>
                    </a:lnTo>
                    <a:lnTo>
                      <a:pt x="144" y="288"/>
                    </a:lnTo>
                    <a:lnTo>
                      <a:pt x="144" y="282"/>
                    </a:lnTo>
                    <a:lnTo>
                      <a:pt x="144" y="276"/>
                    </a:lnTo>
                    <a:lnTo>
                      <a:pt x="138" y="276"/>
                    </a:lnTo>
                    <a:lnTo>
                      <a:pt x="144" y="276"/>
                    </a:lnTo>
                    <a:lnTo>
                      <a:pt x="138" y="276"/>
                    </a:lnTo>
                    <a:lnTo>
                      <a:pt x="138" y="282"/>
                    </a:lnTo>
                    <a:lnTo>
                      <a:pt x="144" y="282"/>
                    </a:lnTo>
                    <a:lnTo>
                      <a:pt x="138" y="276"/>
                    </a:lnTo>
                    <a:lnTo>
                      <a:pt x="138" y="270"/>
                    </a:lnTo>
                    <a:lnTo>
                      <a:pt x="138" y="264"/>
                    </a:lnTo>
                    <a:lnTo>
                      <a:pt x="132" y="264"/>
                    </a:lnTo>
                    <a:lnTo>
                      <a:pt x="132" y="258"/>
                    </a:lnTo>
                    <a:lnTo>
                      <a:pt x="132" y="252"/>
                    </a:lnTo>
                    <a:lnTo>
                      <a:pt x="126" y="252"/>
                    </a:lnTo>
                    <a:lnTo>
                      <a:pt x="126" y="246"/>
                    </a:lnTo>
                    <a:lnTo>
                      <a:pt x="132" y="246"/>
                    </a:lnTo>
                    <a:lnTo>
                      <a:pt x="132" y="240"/>
                    </a:lnTo>
                    <a:lnTo>
                      <a:pt x="132" y="246"/>
                    </a:lnTo>
                    <a:lnTo>
                      <a:pt x="126" y="246"/>
                    </a:lnTo>
                    <a:lnTo>
                      <a:pt x="126" y="240"/>
                    </a:lnTo>
                    <a:lnTo>
                      <a:pt x="126" y="246"/>
                    </a:lnTo>
                    <a:lnTo>
                      <a:pt x="126" y="240"/>
                    </a:lnTo>
                    <a:lnTo>
                      <a:pt x="126" y="234"/>
                    </a:lnTo>
                    <a:lnTo>
                      <a:pt x="120" y="228"/>
                    </a:lnTo>
                    <a:lnTo>
                      <a:pt x="120" y="222"/>
                    </a:lnTo>
                    <a:lnTo>
                      <a:pt x="120" y="216"/>
                    </a:lnTo>
                    <a:lnTo>
                      <a:pt x="120" y="210"/>
                    </a:lnTo>
                    <a:lnTo>
                      <a:pt x="114" y="210"/>
                    </a:lnTo>
                    <a:lnTo>
                      <a:pt x="114" y="204"/>
                    </a:lnTo>
                    <a:lnTo>
                      <a:pt x="120" y="204"/>
                    </a:lnTo>
                    <a:lnTo>
                      <a:pt x="114" y="204"/>
                    </a:lnTo>
                    <a:lnTo>
                      <a:pt x="114" y="198"/>
                    </a:lnTo>
                    <a:lnTo>
                      <a:pt x="114" y="204"/>
                    </a:lnTo>
                    <a:lnTo>
                      <a:pt x="114" y="198"/>
                    </a:lnTo>
                    <a:lnTo>
                      <a:pt x="108" y="192"/>
                    </a:lnTo>
                    <a:lnTo>
                      <a:pt x="114" y="192"/>
                    </a:lnTo>
                    <a:lnTo>
                      <a:pt x="108" y="192"/>
                    </a:lnTo>
                    <a:lnTo>
                      <a:pt x="108" y="186"/>
                    </a:lnTo>
                    <a:lnTo>
                      <a:pt x="108" y="180"/>
                    </a:lnTo>
                    <a:lnTo>
                      <a:pt x="108" y="174"/>
                    </a:lnTo>
                    <a:lnTo>
                      <a:pt x="108" y="180"/>
                    </a:lnTo>
                    <a:lnTo>
                      <a:pt x="102" y="180"/>
                    </a:lnTo>
                    <a:lnTo>
                      <a:pt x="102" y="174"/>
                    </a:lnTo>
                    <a:lnTo>
                      <a:pt x="102" y="168"/>
                    </a:lnTo>
                    <a:lnTo>
                      <a:pt x="96" y="168"/>
                    </a:lnTo>
                    <a:lnTo>
                      <a:pt x="96" y="162"/>
                    </a:lnTo>
                    <a:lnTo>
                      <a:pt x="90" y="162"/>
                    </a:lnTo>
                    <a:lnTo>
                      <a:pt x="90" y="156"/>
                    </a:lnTo>
                    <a:lnTo>
                      <a:pt x="90" y="150"/>
                    </a:lnTo>
                    <a:lnTo>
                      <a:pt x="90" y="156"/>
                    </a:lnTo>
                    <a:lnTo>
                      <a:pt x="90" y="150"/>
                    </a:lnTo>
                    <a:lnTo>
                      <a:pt x="84" y="150"/>
                    </a:lnTo>
                    <a:lnTo>
                      <a:pt x="84" y="144"/>
                    </a:lnTo>
                    <a:lnTo>
                      <a:pt x="84" y="138"/>
                    </a:lnTo>
                    <a:close/>
                    <a:moveTo>
                      <a:pt x="168" y="348"/>
                    </a:moveTo>
                    <a:lnTo>
                      <a:pt x="174" y="348"/>
                    </a:lnTo>
                    <a:lnTo>
                      <a:pt x="174" y="354"/>
                    </a:lnTo>
                    <a:lnTo>
                      <a:pt x="168" y="354"/>
                    </a:lnTo>
                    <a:lnTo>
                      <a:pt x="168" y="348"/>
                    </a:lnTo>
                    <a:close/>
                    <a:moveTo>
                      <a:pt x="132" y="240"/>
                    </a:moveTo>
                    <a:lnTo>
                      <a:pt x="132" y="246"/>
                    </a:lnTo>
                    <a:lnTo>
                      <a:pt x="133" y="246"/>
                    </a:lnTo>
                    <a:lnTo>
                      <a:pt x="132" y="240"/>
                    </a:lnTo>
                    <a:close/>
                    <a:moveTo>
                      <a:pt x="126" y="246"/>
                    </a:moveTo>
                    <a:lnTo>
                      <a:pt x="132" y="246"/>
                    </a:lnTo>
                    <a:lnTo>
                      <a:pt x="126" y="246"/>
                    </a:lnTo>
                    <a:close/>
                    <a:moveTo>
                      <a:pt x="156" y="318"/>
                    </a:moveTo>
                    <a:lnTo>
                      <a:pt x="162" y="318"/>
                    </a:lnTo>
                    <a:lnTo>
                      <a:pt x="156" y="318"/>
                    </a:lnTo>
                    <a:close/>
                    <a:moveTo>
                      <a:pt x="114" y="204"/>
                    </a:moveTo>
                    <a:lnTo>
                      <a:pt x="120" y="204"/>
                    </a:lnTo>
                    <a:lnTo>
                      <a:pt x="114" y="204"/>
                    </a:lnTo>
                    <a:close/>
                    <a:moveTo>
                      <a:pt x="204" y="468"/>
                    </a:moveTo>
                    <a:lnTo>
                      <a:pt x="204" y="474"/>
                    </a:lnTo>
                    <a:lnTo>
                      <a:pt x="205" y="474"/>
                    </a:lnTo>
                    <a:lnTo>
                      <a:pt x="204" y="468"/>
                    </a:lnTo>
                    <a:close/>
                    <a:moveTo>
                      <a:pt x="204" y="468"/>
                    </a:moveTo>
                    <a:lnTo>
                      <a:pt x="204" y="474"/>
                    </a:lnTo>
                    <a:lnTo>
                      <a:pt x="205" y="474"/>
                    </a:lnTo>
                    <a:lnTo>
                      <a:pt x="204" y="468"/>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US" sz="800" dirty="0">
                  <a:solidFill>
                    <a:srgbClr val="000000"/>
                  </a:solidFill>
                </a:endParaRPr>
              </a:p>
            </p:txBody>
          </p:sp>
          <p:sp>
            <p:nvSpPr>
              <p:cNvPr id="58" name="Freeform 64"/>
              <p:cNvSpPr>
                <a:spLocks noEditPoints="1"/>
              </p:cNvSpPr>
              <p:nvPr/>
            </p:nvSpPr>
            <p:spPr bwMode="gray">
              <a:xfrm>
                <a:off x="2672704" y="5355169"/>
                <a:ext cx="247046" cy="458652"/>
              </a:xfrm>
              <a:custGeom>
                <a:avLst/>
                <a:gdLst>
                  <a:gd name="T0" fmla="*/ 114 w 192"/>
                  <a:gd name="T1" fmla="*/ 354 h 360"/>
                  <a:gd name="T2" fmla="*/ 120 w 192"/>
                  <a:gd name="T3" fmla="*/ 354 h 360"/>
                  <a:gd name="T4" fmla="*/ 120 w 192"/>
                  <a:gd name="T5" fmla="*/ 360 h 360"/>
                  <a:gd name="T6" fmla="*/ 114 w 192"/>
                  <a:gd name="T7" fmla="*/ 360 h 360"/>
                  <a:gd name="T8" fmla="*/ 114 w 192"/>
                  <a:gd name="T9" fmla="*/ 354 h 360"/>
                  <a:gd name="T10" fmla="*/ 180 w 192"/>
                  <a:gd name="T11" fmla="*/ 138 h 360"/>
                  <a:gd name="T12" fmla="*/ 186 w 192"/>
                  <a:gd name="T13" fmla="*/ 138 h 360"/>
                  <a:gd name="T14" fmla="*/ 186 w 192"/>
                  <a:gd name="T15" fmla="*/ 144 h 360"/>
                  <a:gd name="T16" fmla="*/ 180 w 192"/>
                  <a:gd name="T17" fmla="*/ 144 h 360"/>
                  <a:gd name="T18" fmla="*/ 180 w 192"/>
                  <a:gd name="T19" fmla="*/ 138 h 360"/>
                  <a:gd name="T20" fmla="*/ 78 w 192"/>
                  <a:gd name="T21" fmla="*/ 0 h 360"/>
                  <a:gd name="T22" fmla="*/ 84 w 192"/>
                  <a:gd name="T23" fmla="*/ 0 h 360"/>
                  <a:gd name="T24" fmla="*/ 84 w 192"/>
                  <a:gd name="T25" fmla="*/ 6 h 360"/>
                  <a:gd name="T26" fmla="*/ 78 w 192"/>
                  <a:gd name="T27" fmla="*/ 6 h 360"/>
                  <a:gd name="T28" fmla="*/ 78 w 192"/>
                  <a:gd name="T29" fmla="*/ 0 h 360"/>
                  <a:gd name="T30" fmla="*/ 186 w 192"/>
                  <a:gd name="T31" fmla="*/ 48 h 360"/>
                  <a:gd name="T32" fmla="*/ 192 w 192"/>
                  <a:gd name="T33" fmla="*/ 48 h 360"/>
                  <a:gd name="T34" fmla="*/ 186 w 192"/>
                  <a:gd name="T35" fmla="*/ 48 h 360"/>
                  <a:gd name="T36" fmla="*/ 12 w 192"/>
                  <a:gd name="T37" fmla="*/ 42 h 360"/>
                  <a:gd name="T38" fmla="*/ 12 w 192"/>
                  <a:gd name="T39" fmla="*/ 54 h 360"/>
                  <a:gd name="T40" fmla="*/ 13 w 192"/>
                  <a:gd name="T41" fmla="*/ 54 h 360"/>
                  <a:gd name="T42" fmla="*/ 12 w 192"/>
                  <a:gd name="T43" fmla="*/ 42 h 360"/>
                  <a:gd name="T44" fmla="*/ 78 w 192"/>
                  <a:gd name="T45" fmla="*/ 12 h 360"/>
                  <a:gd name="T46" fmla="*/ 78 w 192"/>
                  <a:gd name="T47" fmla="*/ 18 h 360"/>
                  <a:gd name="T48" fmla="*/ 79 w 192"/>
                  <a:gd name="T49" fmla="*/ 18 h 360"/>
                  <a:gd name="T50" fmla="*/ 78 w 192"/>
                  <a:gd name="T51" fmla="*/ 12 h 360"/>
                  <a:gd name="T52" fmla="*/ 66 w 192"/>
                  <a:gd name="T53" fmla="*/ 78 h 360"/>
                  <a:gd name="T54" fmla="*/ 66 w 192"/>
                  <a:gd name="T55" fmla="*/ 84 h 360"/>
                  <a:gd name="T56" fmla="*/ 67 w 192"/>
                  <a:gd name="T57" fmla="*/ 84 h 360"/>
                  <a:gd name="T58" fmla="*/ 66 w 192"/>
                  <a:gd name="T59" fmla="*/ 78 h 360"/>
                  <a:gd name="T60" fmla="*/ 18 w 192"/>
                  <a:gd name="T61" fmla="*/ 144 h 360"/>
                  <a:gd name="T62" fmla="*/ 24 w 192"/>
                  <a:gd name="T63" fmla="*/ 144 h 360"/>
                  <a:gd name="T64" fmla="*/ 18 w 192"/>
                  <a:gd name="T65" fmla="*/ 144 h 360"/>
                  <a:gd name="T66" fmla="*/ 6 w 192"/>
                  <a:gd name="T67" fmla="*/ 54 h 360"/>
                  <a:gd name="T68" fmla="*/ 12 w 192"/>
                  <a:gd name="T69" fmla="*/ 54 h 360"/>
                  <a:gd name="T70" fmla="*/ 6 w 192"/>
                  <a:gd name="T71" fmla="*/ 54 h 360"/>
                  <a:gd name="T72" fmla="*/ 24 w 192"/>
                  <a:gd name="T73" fmla="*/ 132 h 360"/>
                  <a:gd name="T74" fmla="*/ 30 w 192"/>
                  <a:gd name="T75" fmla="*/ 132 h 360"/>
                  <a:gd name="T76" fmla="*/ 24 w 192"/>
                  <a:gd name="T77" fmla="*/ 132 h 360"/>
                  <a:gd name="T78" fmla="*/ 0 w 192"/>
                  <a:gd name="T79" fmla="*/ 6 h 360"/>
                  <a:gd name="T80" fmla="*/ 0 w 192"/>
                  <a:gd name="T81" fmla="*/ 12 h 360"/>
                  <a:gd name="T82" fmla="*/ 1 w 192"/>
                  <a:gd name="T83" fmla="*/ 12 h 360"/>
                  <a:gd name="T84" fmla="*/ 0 w 192"/>
                  <a:gd name="T85" fmla="*/ 6 h 360"/>
                  <a:gd name="T86" fmla="*/ 24 w 192"/>
                  <a:gd name="T87" fmla="*/ 36 h 360"/>
                  <a:gd name="T88" fmla="*/ 30 w 192"/>
                  <a:gd name="T89" fmla="*/ 36 h 360"/>
                  <a:gd name="T90" fmla="*/ 24 w 192"/>
                  <a:gd name="T91" fmla="*/ 3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2" h="360">
                    <a:moveTo>
                      <a:pt x="114" y="354"/>
                    </a:moveTo>
                    <a:lnTo>
                      <a:pt x="120" y="354"/>
                    </a:lnTo>
                    <a:lnTo>
                      <a:pt x="120" y="360"/>
                    </a:lnTo>
                    <a:lnTo>
                      <a:pt x="114" y="360"/>
                    </a:lnTo>
                    <a:lnTo>
                      <a:pt x="114" y="354"/>
                    </a:lnTo>
                    <a:close/>
                    <a:moveTo>
                      <a:pt x="180" y="138"/>
                    </a:moveTo>
                    <a:lnTo>
                      <a:pt x="186" y="138"/>
                    </a:lnTo>
                    <a:lnTo>
                      <a:pt x="186" y="144"/>
                    </a:lnTo>
                    <a:lnTo>
                      <a:pt x="180" y="144"/>
                    </a:lnTo>
                    <a:lnTo>
                      <a:pt x="180" y="138"/>
                    </a:lnTo>
                    <a:close/>
                    <a:moveTo>
                      <a:pt x="78" y="0"/>
                    </a:moveTo>
                    <a:lnTo>
                      <a:pt x="84" y="0"/>
                    </a:lnTo>
                    <a:lnTo>
                      <a:pt x="84" y="6"/>
                    </a:lnTo>
                    <a:lnTo>
                      <a:pt x="78" y="6"/>
                    </a:lnTo>
                    <a:lnTo>
                      <a:pt x="78" y="0"/>
                    </a:lnTo>
                    <a:close/>
                    <a:moveTo>
                      <a:pt x="186" y="48"/>
                    </a:moveTo>
                    <a:lnTo>
                      <a:pt x="192" y="48"/>
                    </a:lnTo>
                    <a:lnTo>
                      <a:pt x="186" y="48"/>
                    </a:lnTo>
                    <a:close/>
                    <a:moveTo>
                      <a:pt x="12" y="42"/>
                    </a:moveTo>
                    <a:lnTo>
                      <a:pt x="12" y="54"/>
                    </a:lnTo>
                    <a:lnTo>
                      <a:pt x="13" y="54"/>
                    </a:lnTo>
                    <a:lnTo>
                      <a:pt x="12" y="42"/>
                    </a:lnTo>
                    <a:close/>
                    <a:moveTo>
                      <a:pt x="78" y="12"/>
                    </a:moveTo>
                    <a:lnTo>
                      <a:pt x="78" y="18"/>
                    </a:lnTo>
                    <a:lnTo>
                      <a:pt x="79" y="18"/>
                    </a:lnTo>
                    <a:lnTo>
                      <a:pt x="78" y="12"/>
                    </a:lnTo>
                    <a:close/>
                    <a:moveTo>
                      <a:pt x="66" y="78"/>
                    </a:moveTo>
                    <a:lnTo>
                      <a:pt x="66" y="84"/>
                    </a:lnTo>
                    <a:lnTo>
                      <a:pt x="67" y="84"/>
                    </a:lnTo>
                    <a:lnTo>
                      <a:pt x="66" y="78"/>
                    </a:lnTo>
                    <a:close/>
                    <a:moveTo>
                      <a:pt x="18" y="144"/>
                    </a:moveTo>
                    <a:lnTo>
                      <a:pt x="24" y="144"/>
                    </a:lnTo>
                    <a:lnTo>
                      <a:pt x="18" y="144"/>
                    </a:lnTo>
                    <a:close/>
                    <a:moveTo>
                      <a:pt x="6" y="54"/>
                    </a:moveTo>
                    <a:lnTo>
                      <a:pt x="12" y="54"/>
                    </a:lnTo>
                    <a:lnTo>
                      <a:pt x="6" y="54"/>
                    </a:lnTo>
                    <a:close/>
                    <a:moveTo>
                      <a:pt x="24" y="132"/>
                    </a:moveTo>
                    <a:lnTo>
                      <a:pt x="30" y="132"/>
                    </a:lnTo>
                    <a:lnTo>
                      <a:pt x="24" y="132"/>
                    </a:lnTo>
                    <a:close/>
                    <a:moveTo>
                      <a:pt x="0" y="6"/>
                    </a:moveTo>
                    <a:lnTo>
                      <a:pt x="0" y="12"/>
                    </a:lnTo>
                    <a:lnTo>
                      <a:pt x="1" y="12"/>
                    </a:lnTo>
                    <a:lnTo>
                      <a:pt x="0" y="6"/>
                    </a:lnTo>
                    <a:close/>
                    <a:moveTo>
                      <a:pt x="24" y="36"/>
                    </a:moveTo>
                    <a:lnTo>
                      <a:pt x="30" y="36"/>
                    </a:lnTo>
                    <a:lnTo>
                      <a:pt x="24" y="36"/>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US" sz="800" dirty="0">
                  <a:solidFill>
                    <a:srgbClr val="000000"/>
                  </a:solidFill>
                </a:endParaRPr>
              </a:p>
            </p:txBody>
          </p:sp>
          <p:sp>
            <p:nvSpPr>
              <p:cNvPr id="59" name="Freeform 65"/>
              <p:cNvSpPr>
                <a:spLocks noEditPoints="1"/>
              </p:cNvSpPr>
              <p:nvPr/>
            </p:nvSpPr>
            <p:spPr bwMode="gray">
              <a:xfrm>
                <a:off x="2912030" y="4644259"/>
                <a:ext cx="108081" cy="137596"/>
              </a:xfrm>
              <a:custGeom>
                <a:avLst/>
                <a:gdLst>
                  <a:gd name="T0" fmla="*/ 6 w 84"/>
                  <a:gd name="T1" fmla="*/ 6 h 108"/>
                  <a:gd name="T2" fmla="*/ 18 w 84"/>
                  <a:gd name="T3" fmla="*/ 6 h 108"/>
                  <a:gd name="T4" fmla="*/ 24 w 84"/>
                  <a:gd name="T5" fmla="*/ 0 h 108"/>
                  <a:gd name="T6" fmla="*/ 30 w 84"/>
                  <a:gd name="T7" fmla="*/ 6 h 108"/>
                  <a:gd name="T8" fmla="*/ 36 w 84"/>
                  <a:gd name="T9" fmla="*/ 12 h 108"/>
                  <a:gd name="T10" fmla="*/ 42 w 84"/>
                  <a:gd name="T11" fmla="*/ 18 h 108"/>
                  <a:gd name="T12" fmla="*/ 48 w 84"/>
                  <a:gd name="T13" fmla="*/ 18 h 108"/>
                  <a:gd name="T14" fmla="*/ 60 w 84"/>
                  <a:gd name="T15" fmla="*/ 18 h 108"/>
                  <a:gd name="T16" fmla="*/ 66 w 84"/>
                  <a:gd name="T17" fmla="*/ 12 h 108"/>
                  <a:gd name="T18" fmla="*/ 66 w 84"/>
                  <a:gd name="T19" fmla="*/ 12 h 108"/>
                  <a:gd name="T20" fmla="*/ 72 w 84"/>
                  <a:gd name="T21" fmla="*/ 18 h 108"/>
                  <a:gd name="T22" fmla="*/ 72 w 84"/>
                  <a:gd name="T23" fmla="*/ 30 h 108"/>
                  <a:gd name="T24" fmla="*/ 72 w 84"/>
                  <a:gd name="T25" fmla="*/ 36 h 108"/>
                  <a:gd name="T26" fmla="*/ 78 w 84"/>
                  <a:gd name="T27" fmla="*/ 42 h 108"/>
                  <a:gd name="T28" fmla="*/ 72 w 84"/>
                  <a:gd name="T29" fmla="*/ 48 h 108"/>
                  <a:gd name="T30" fmla="*/ 72 w 84"/>
                  <a:gd name="T31" fmla="*/ 48 h 108"/>
                  <a:gd name="T32" fmla="*/ 78 w 84"/>
                  <a:gd name="T33" fmla="*/ 54 h 108"/>
                  <a:gd name="T34" fmla="*/ 84 w 84"/>
                  <a:gd name="T35" fmla="*/ 60 h 108"/>
                  <a:gd name="T36" fmla="*/ 72 w 84"/>
                  <a:gd name="T37" fmla="*/ 60 h 108"/>
                  <a:gd name="T38" fmla="*/ 78 w 84"/>
                  <a:gd name="T39" fmla="*/ 66 h 108"/>
                  <a:gd name="T40" fmla="*/ 78 w 84"/>
                  <a:gd name="T41" fmla="*/ 78 h 108"/>
                  <a:gd name="T42" fmla="*/ 72 w 84"/>
                  <a:gd name="T43" fmla="*/ 84 h 108"/>
                  <a:gd name="T44" fmla="*/ 78 w 84"/>
                  <a:gd name="T45" fmla="*/ 90 h 108"/>
                  <a:gd name="T46" fmla="*/ 72 w 84"/>
                  <a:gd name="T47" fmla="*/ 96 h 108"/>
                  <a:gd name="T48" fmla="*/ 66 w 84"/>
                  <a:gd name="T49" fmla="*/ 102 h 108"/>
                  <a:gd name="T50" fmla="*/ 66 w 84"/>
                  <a:gd name="T51" fmla="*/ 102 h 108"/>
                  <a:gd name="T52" fmla="*/ 60 w 84"/>
                  <a:gd name="T53" fmla="*/ 108 h 108"/>
                  <a:gd name="T54" fmla="*/ 48 w 84"/>
                  <a:gd name="T55" fmla="*/ 108 h 108"/>
                  <a:gd name="T56" fmla="*/ 48 w 84"/>
                  <a:gd name="T57" fmla="*/ 96 h 108"/>
                  <a:gd name="T58" fmla="*/ 42 w 84"/>
                  <a:gd name="T59" fmla="*/ 90 h 108"/>
                  <a:gd name="T60" fmla="*/ 36 w 84"/>
                  <a:gd name="T61" fmla="*/ 84 h 108"/>
                  <a:gd name="T62" fmla="*/ 36 w 84"/>
                  <a:gd name="T63" fmla="*/ 84 h 108"/>
                  <a:gd name="T64" fmla="*/ 36 w 84"/>
                  <a:gd name="T65" fmla="*/ 84 h 108"/>
                  <a:gd name="T66" fmla="*/ 36 w 84"/>
                  <a:gd name="T67" fmla="*/ 72 h 108"/>
                  <a:gd name="T68" fmla="*/ 36 w 84"/>
                  <a:gd name="T69" fmla="*/ 72 h 108"/>
                  <a:gd name="T70" fmla="*/ 36 w 84"/>
                  <a:gd name="T71" fmla="*/ 72 h 108"/>
                  <a:gd name="T72" fmla="*/ 36 w 84"/>
                  <a:gd name="T73" fmla="*/ 72 h 108"/>
                  <a:gd name="T74" fmla="*/ 30 w 84"/>
                  <a:gd name="T75" fmla="*/ 66 h 108"/>
                  <a:gd name="T76" fmla="*/ 30 w 84"/>
                  <a:gd name="T77" fmla="*/ 54 h 108"/>
                  <a:gd name="T78" fmla="*/ 24 w 84"/>
                  <a:gd name="T79" fmla="*/ 48 h 108"/>
                  <a:gd name="T80" fmla="*/ 24 w 84"/>
                  <a:gd name="T81" fmla="*/ 48 h 108"/>
                  <a:gd name="T82" fmla="*/ 24 w 84"/>
                  <a:gd name="T83" fmla="*/ 48 h 108"/>
                  <a:gd name="T84" fmla="*/ 36 w 84"/>
                  <a:gd name="T85" fmla="*/ 48 h 108"/>
                  <a:gd name="T86" fmla="*/ 30 w 84"/>
                  <a:gd name="T87" fmla="*/ 42 h 108"/>
                  <a:gd name="T88" fmla="*/ 30 w 84"/>
                  <a:gd name="T89" fmla="*/ 42 h 108"/>
                  <a:gd name="T90" fmla="*/ 30 w 84"/>
                  <a:gd name="T91" fmla="*/ 42 h 108"/>
                  <a:gd name="T92" fmla="*/ 18 w 84"/>
                  <a:gd name="T93" fmla="*/ 42 h 108"/>
                  <a:gd name="T94" fmla="*/ 18 w 84"/>
                  <a:gd name="T95" fmla="*/ 42 h 108"/>
                  <a:gd name="T96" fmla="*/ 24 w 84"/>
                  <a:gd name="T97" fmla="*/ 36 h 108"/>
                  <a:gd name="T98" fmla="*/ 12 w 84"/>
                  <a:gd name="T99" fmla="*/ 36 h 108"/>
                  <a:gd name="T100" fmla="*/ 12 w 84"/>
                  <a:gd name="T101" fmla="*/ 24 h 108"/>
                  <a:gd name="T102" fmla="*/ 6 w 84"/>
                  <a:gd name="T103" fmla="*/ 18 h 108"/>
                  <a:gd name="T104" fmla="*/ 6 w 84"/>
                  <a:gd name="T105" fmla="*/ 6 h 108"/>
                  <a:gd name="T106" fmla="*/ 36 w 84"/>
                  <a:gd name="T107" fmla="*/ 72 h 108"/>
                  <a:gd name="T108" fmla="*/ 36 w 84"/>
                  <a:gd name="T109" fmla="*/ 72 h 108"/>
                  <a:gd name="T110" fmla="*/ 18 w 84"/>
                  <a:gd name="T111" fmla="*/ 54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4" h="108">
                    <a:moveTo>
                      <a:pt x="0" y="6"/>
                    </a:moveTo>
                    <a:lnTo>
                      <a:pt x="6" y="6"/>
                    </a:lnTo>
                    <a:lnTo>
                      <a:pt x="12" y="6"/>
                    </a:lnTo>
                    <a:lnTo>
                      <a:pt x="18" y="6"/>
                    </a:lnTo>
                    <a:lnTo>
                      <a:pt x="24" y="6"/>
                    </a:lnTo>
                    <a:lnTo>
                      <a:pt x="24" y="0"/>
                    </a:lnTo>
                    <a:lnTo>
                      <a:pt x="30" y="0"/>
                    </a:lnTo>
                    <a:lnTo>
                      <a:pt x="30" y="6"/>
                    </a:lnTo>
                    <a:lnTo>
                      <a:pt x="36" y="6"/>
                    </a:lnTo>
                    <a:lnTo>
                      <a:pt x="36" y="12"/>
                    </a:lnTo>
                    <a:lnTo>
                      <a:pt x="36" y="18"/>
                    </a:lnTo>
                    <a:lnTo>
                      <a:pt x="42" y="18"/>
                    </a:lnTo>
                    <a:lnTo>
                      <a:pt x="42" y="24"/>
                    </a:lnTo>
                    <a:lnTo>
                      <a:pt x="48" y="18"/>
                    </a:lnTo>
                    <a:lnTo>
                      <a:pt x="54" y="18"/>
                    </a:lnTo>
                    <a:lnTo>
                      <a:pt x="60" y="18"/>
                    </a:lnTo>
                    <a:lnTo>
                      <a:pt x="60" y="12"/>
                    </a:lnTo>
                    <a:lnTo>
                      <a:pt x="66" y="12"/>
                    </a:lnTo>
                    <a:lnTo>
                      <a:pt x="66" y="18"/>
                    </a:lnTo>
                    <a:lnTo>
                      <a:pt x="66" y="12"/>
                    </a:lnTo>
                    <a:lnTo>
                      <a:pt x="72" y="12"/>
                    </a:lnTo>
                    <a:lnTo>
                      <a:pt x="72" y="18"/>
                    </a:lnTo>
                    <a:lnTo>
                      <a:pt x="72" y="24"/>
                    </a:lnTo>
                    <a:lnTo>
                      <a:pt x="72" y="30"/>
                    </a:lnTo>
                    <a:lnTo>
                      <a:pt x="78" y="30"/>
                    </a:lnTo>
                    <a:lnTo>
                      <a:pt x="72" y="36"/>
                    </a:lnTo>
                    <a:lnTo>
                      <a:pt x="72" y="42"/>
                    </a:lnTo>
                    <a:lnTo>
                      <a:pt x="78" y="42"/>
                    </a:lnTo>
                    <a:lnTo>
                      <a:pt x="72" y="42"/>
                    </a:lnTo>
                    <a:lnTo>
                      <a:pt x="72" y="48"/>
                    </a:lnTo>
                    <a:lnTo>
                      <a:pt x="78" y="48"/>
                    </a:lnTo>
                    <a:lnTo>
                      <a:pt x="72" y="48"/>
                    </a:lnTo>
                    <a:lnTo>
                      <a:pt x="78" y="48"/>
                    </a:lnTo>
                    <a:lnTo>
                      <a:pt x="78" y="54"/>
                    </a:lnTo>
                    <a:lnTo>
                      <a:pt x="78" y="60"/>
                    </a:lnTo>
                    <a:lnTo>
                      <a:pt x="84" y="60"/>
                    </a:lnTo>
                    <a:lnTo>
                      <a:pt x="78" y="60"/>
                    </a:lnTo>
                    <a:lnTo>
                      <a:pt x="72" y="60"/>
                    </a:lnTo>
                    <a:lnTo>
                      <a:pt x="72" y="66"/>
                    </a:lnTo>
                    <a:lnTo>
                      <a:pt x="78" y="66"/>
                    </a:lnTo>
                    <a:lnTo>
                      <a:pt x="78" y="72"/>
                    </a:lnTo>
                    <a:lnTo>
                      <a:pt x="78" y="78"/>
                    </a:lnTo>
                    <a:lnTo>
                      <a:pt x="78" y="84"/>
                    </a:lnTo>
                    <a:lnTo>
                      <a:pt x="72" y="84"/>
                    </a:lnTo>
                    <a:lnTo>
                      <a:pt x="78" y="84"/>
                    </a:lnTo>
                    <a:lnTo>
                      <a:pt x="78" y="90"/>
                    </a:lnTo>
                    <a:lnTo>
                      <a:pt x="78" y="96"/>
                    </a:lnTo>
                    <a:lnTo>
                      <a:pt x="72" y="96"/>
                    </a:lnTo>
                    <a:lnTo>
                      <a:pt x="72" y="102"/>
                    </a:lnTo>
                    <a:lnTo>
                      <a:pt x="66" y="102"/>
                    </a:lnTo>
                    <a:lnTo>
                      <a:pt x="66" y="108"/>
                    </a:lnTo>
                    <a:lnTo>
                      <a:pt x="66" y="102"/>
                    </a:lnTo>
                    <a:lnTo>
                      <a:pt x="60" y="102"/>
                    </a:lnTo>
                    <a:lnTo>
                      <a:pt x="60" y="108"/>
                    </a:lnTo>
                    <a:lnTo>
                      <a:pt x="54" y="108"/>
                    </a:lnTo>
                    <a:lnTo>
                      <a:pt x="48" y="108"/>
                    </a:lnTo>
                    <a:lnTo>
                      <a:pt x="48" y="102"/>
                    </a:lnTo>
                    <a:lnTo>
                      <a:pt x="48" y="96"/>
                    </a:lnTo>
                    <a:lnTo>
                      <a:pt x="42" y="96"/>
                    </a:lnTo>
                    <a:lnTo>
                      <a:pt x="42" y="90"/>
                    </a:lnTo>
                    <a:lnTo>
                      <a:pt x="36" y="90"/>
                    </a:lnTo>
                    <a:lnTo>
                      <a:pt x="36" y="84"/>
                    </a:lnTo>
                    <a:lnTo>
                      <a:pt x="30" y="84"/>
                    </a:lnTo>
                    <a:lnTo>
                      <a:pt x="36" y="84"/>
                    </a:lnTo>
                    <a:lnTo>
                      <a:pt x="30" y="84"/>
                    </a:lnTo>
                    <a:lnTo>
                      <a:pt x="36" y="84"/>
                    </a:lnTo>
                    <a:lnTo>
                      <a:pt x="36" y="78"/>
                    </a:lnTo>
                    <a:lnTo>
                      <a:pt x="36" y="72"/>
                    </a:lnTo>
                    <a:lnTo>
                      <a:pt x="42" y="72"/>
                    </a:lnTo>
                    <a:lnTo>
                      <a:pt x="36" y="72"/>
                    </a:lnTo>
                    <a:lnTo>
                      <a:pt x="36" y="66"/>
                    </a:lnTo>
                    <a:lnTo>
                      <a:pt x="36" y="72"/>
                    </a:lnTo>
                    <a:lnTo>
                      <a:pt x="36" y="78"/>
                    </a:lnTo>
                    <a:lnTo>
                      <a:pt x="36" y="72"/>
                    </a:lnTo>
                    <a:lnTo>
                      <a:pt x="36" y="66"/>
                    </a:lnTo>
                    <a:lnTo>
                      <a:pt x="30" y="66"/>
                    </a:lnTo>
                    <a:lnTo>
                      <a:pt x="30" y="60"/>
                    </a:lnTo>
                    <a:lnTo>
                      <a:pt x="30" y="54"/>
                    </a:lnTo>
                    <a:lnTo>
                      <a:pt x="30" y="48"/>
                    </a:lnTo>
                    <a:lnTo>
                      <a:pt x="24" y="48"/>
                    </a:lnTo>
                    <a:lnTo>
                      <a:pt x="24" y="54"/>
                    </a:lnTo>
                    <a:lnTo>
                      <a:pt x="24" y="48"/>
                    </a:lnTo>
                    <a:lnTo>
                      <a:pt x="18" y="48"/>
                    </a:lnTo>
                    <a:lnTo>
                      <a:pt x="24" y="48"/>
                    </a:lnTo>
                    <a:lnTo>
                      <a:pt x="30" y="48"/>
                    </a:lnTo>
                    <a:lnTo>
                      <a:pt x="36" y="48"/>
                    </a:lnTo>
                    <a:lnTo>
                      <a:pt x="30" y="48"/>
                    </a:lnTo>
                    <a:lnTo>
                      <a:pt x="30" y="42"/>
                    </a:lnTo>
                    <a:lnTo>
                      <a:pt x="36" y="42"/>
                    </a:lnTo>
                    <a:lnTo>
                      <a:pt x="30" y="42"/>
                    </a:lnTo>
                    <a:lnTo>
                      <a:pt x="30" y="48"/>
                    </a:lnTo>
                    <a:lnTo>
                      <a:pt x="30" y="42"/>
                    </a:lnTo>
                    <a:lnTo>
                      <a:pt x="24" y="42"/>
                    </a:lnTo>
                    <a:lnTo>
                      <a:pt x="18" y="42"/>
                    </a:lnTo>
                    <a:lnTo>
                      <a:pt x="18" y="36"/>
                    </a:lnTo>
                    <a:lnTo>
                      <a:pt x="18" y="42"/>
                    </a:lnTo>
                    <a:lnTo>
                      <a:pt x="18" y="36"/>
                    </a:lnTo>
                    <a:lnTo>
                      <a:pt x="24" y="36"/>
                    </a:lnTo>
                    <a:lnTo>
                      <a:pt x="18" y="36"/>
                    </a:lnTo>
                    <a:lnTo>
                      <a:pt x="12" y="36"/>
                    </a:lnTo>
                    <a:lnTo>
                      <a:pt x="12" y="30"/>
                    </a:lnTo>
                    <a:lnTo>
                      <a:pt x="12" y="24"/>
                    </a:lnTo>
                    <a:lnTo>
                      <a:pt x="12" y="18"/>
                    </a:lnTo>
                    <a:lnTo>
                      <a:pt x="6" y="18"/>
                    </a:lnTo>
                    <a:lnTo>
                      <a:pt x="6" y="12"/>
                    </a:lnTo>
                    <a:lnTo>
                      <a:pt x="6" y="6"/>
                    </a:lnTo>
                    <a:lnTo>
                      <a:pt x="0" y="6"/>
                    </a:lnTo>
                    <a:close/>
                    <a:moveTo>
                      <a:pt x="36" y="72"/>
                    </a:moveTo>
                    <a:lnTo>
                      <a:pt x="42" y="72"/>
                    </a:lnTo>
                    <a:lnTo>
                      <a:pt x="36" y="72"/>
                    </a:lnTo>
                    <a:close/>
                    <a:moveTo>
                      <a:pt x="12" y="54"/>
                    </a:moveTo>
                    <a:lnTo>
                      <a:pt x="18" y="54"/>
                    </a:lnTo>
                    <a:lnTo>
                      <a:pt x="12" y="54"/>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US" sz="800" dirty="0">
                  <a:solidFill>
                    <a:srgbClr val="000000"/>
                  </a:solidFill>
                </a:endParaRPr>
              </a:p>
            </p:txBody>
          </p:sp>
          <p:sp>
            <p:nvSpPr>
              <p:cNvPr id="60" name="Freeform 66"/>
              <p:cNvSpPr>
                <a:spLocks noEditPoints="1"/>
              </p:cNvSpPr>
              <p:nvPr/>
            </p:nvSpPr>
            <p:spPr bwMode="gray">
              <a:xfrm>
                <a:off x="2981511" y="4216185"/>
                <a:ext cx="687096" cy="1085476"/>
              </a:xfrm>
              <a:custGeom>
                <a:avLst/>
                <a:gdLst>
                  <a:gd name="T0" fmla="*/ 420 w 534"/>
                  <a:gd name="T1" fmla="*/ 66 h 852"/>
                  <a:gd name="T2" fmla="*/ 402 w 534"/>
                  <a:gd name="T3" fmla="*/ 108 h 852"/>
                  <a:gd name="T4" fmla="*/ 402 w 534"/>
                  <a:gd name="T5" fmla="*/ 144 h 852"/>
                  <a:gd name="T6" fmla="*/ 402 w 534"/>
                  <a:gd name="T7" fmla="*/ 192 h 852"/>
                  <a:gd name="T8" fmla="*/ 384 w 534"/>
                  <a:gd name="T9" fmla="*/ 252 h 852"/>
                  <a:gd name="T10" fmla="*/ 414 w 534"/>
                  <a:gd name="T11" fmla="*/ 270 h 852"/>
                  <a:gd name="T12" fmla="*/ 390 w 534"/>
                  <a:gd name="T13" fmla="*/ 312 h 852"/>
                  <a:gd name="T14" fmla="*/ 360 w 534"/>
                  <a:gd name="T15" fmla="*/ 348 h 852"/>
                  <a:gd name="T16" fmla="*/ 366 w 534"/>
                  <a:gd name="T17" fmla="*/ 396 h 852"/>
                  <a:gd name="T18" fmla="*/ 342 w 534"/>
                  <a:gd name="T19" fmla="*/ 426 h 852"/>
                  <a:gd name="T20" fmla="*/ 318 w 534"/>
                  <a:gd name="T21" fmla="*/ 456 h 852"/>
                  <a:gd name="T22" fmla="*/ 330 w 534"/>
                  <a:gd name="T23" fmla="*/ 510 h 852"/>
                  <a:gd name="T24" fmla="*/ 390 w 534"/>
                  <a:gd name="T25" fmla="*/ 522 h 852"/>
                  <a:gd name="T26" fmla="*/ 390 w 534"/>
                  <a:gd name="T27" fmla="*/ 540 h 852"/>
                  <a:gd name="T28" fmla="*/ 378 w 534"/>
                  <a:gd name="T29" fmla="*/ 552 h 852"/>
                  <a:gd name="T30" fmla="*/ 336 w 534"/>
                  <a:gd name="T31" fmla="*/ 540 h 852"/>
                  <a:gd name="T32" fmla="*/ 348 w 534"/>
                  <a:gd name="T33" fmla="*/ 582 h 852"/>
                  <a:gd name="T34" fmla="*/ 372 w 534"/>
                  <a:gd name="T35" fmla="*/ 576 h 852"/>
                  <a:gd name="T36" fmla="*/ 414 w 534"/>
                  <a:gd name="T37" fmla="*/ 588 h 852"/>
                  <a:gd name="T38" fmla="*/ 456 w 534"/>
                  <a:gd name="T39" fmla="*/ 564 h 852"/>
                  <a:gd name="T40" fmla="*/ 480 w 534"/>
                  <a:gd name="T41" fmla="*/ 594 h 852"/>
                  <a:gd name="T42" fmla="*/ 510 w 534"/>
                  <a:gd name="T43" fmla="*/ 612 h 852"/>
                  <a:gd name="T44" fmla="*/ 534 w 534"/>
                  <a:gd name="T45" fmla="*/ 660 h 852"/>
                  <a:gd name="T46" fmla="*/ 510 w 534"/>
                  <a:gd name="T47" fmla="*/ 690 h 852"/>
                  <a:gd name="T48" fmla="*/ 456 w 534"/>
                  <a:gd name="T49" fmla="*/ 702 h 852"/>
                  <a:gd name="T50" fmla="*/ 414 w 534"/>
                  <a:gd name="T51" fmla="*/ 726 h 852"/>
                  <a:gd name="T52" fmla="*/ 408 w 534"/>
                  <a:gd name="T53" fmla="*/ 774 h 852"/>
                  <a:gd name="T54" fmla="*/ 420 w 534"/>
                  <a:gd name="T55" fmla="*/ 810 h 852"/>
                  <a:gd name="T56" fmla="*/ 372 w 534"/>
                  <a:gd name="T57" fmla="*/ 828 h 852"/>
                  <a:gd name="T58" fmla="*/ 330 w 534"/>
                  <a:gd name="T59" fmla="*/ 852 h 852"/>
                  <a:gd name="T60" fmla="*/ 276 w 534"/>
                  <a:gd name="T61" fmla="*/ 828 h 852"/>
                  <a:gd name="T62" fmla="*/ 222 w 534"/>
                  <a:gd name="T63" fmla="*/ 810 h 852"/>
                  <a:gd name="T64" fmla="*/ 174 w 534"/>
                  <a:gd name="T65" fmla="*/ 774 h 852"/>
                  <a:gd name="T66" fmla="*/ 156 w 534"/>
                  <a:gd name="T67" fmla="*/ 750 h 852"/>
                  <a:gd name="T68" fmla="*/ 138 w 534"/>
                  <a:gd name="T69" fmla="*/ 726 h 852"/>
                  <a:gd name="T70" fmla="*/ 102 w 534"/>
                  <a:gd name="T71" fmla="*/ 708 h 852"/>
                  <a:gd name="T72" fmla="*/ 84 w 534"/>
                  <a:gd name="T73" fmla="*/ 684 h 852"/>
                  <a:gd name="T74" fmla="*/ 72 w 534"/>
                  <a:gd name="T75" fmla="*/ 630 h 852"/>
                  <a:gd name="T76" fmla="*/ 66 w 534"/>
                  <a:gd name="T77" fmla="*/ 594 h 852"/>
                  <a:gd name="T78" fmla="*/ 42 w 534"/>
                  <a:gd name="T79" fmla="*/ 534 h 852"/>
                  <a:gd name="T80" fmla="*/ 36 w 534"/>
                  <a:gd name="T81" fmla="*/ 522 h 852"/>
                  <a:gd name="T82" fmla="*/ 24 w 534"/>
                  <a:gd name="T83" fmla="*/ 486 h 852"/>
                  <a:gd name="T84" fmla="*/ 0 w 534"/>
                  <a:gd name="T85" fmla="*/ 462 h 852"/>
                  <a:gd name="T86" fmla="*/ 12 w 534"/>
                  <a:gd name="T87" fmla="*/ 444 h 852"/>
                  <a:gd name="T88" fmla="*/ 24 w 534"/>
                  <a:gd name="T89" fmla="*/ 390 h 852"/>
                  <a:gd name="T90" fmla="*/ 6 w 534"/>
                  <a:gd name="T91" fmla="*/ 348 h 852"/>
                  <a:gd name="T92" fmla="*/ 36 w 534"/>
                  <a:gd name="T93" fmla="*/ 312 h 852"/>
                  <a:gd name="T94" fmla="*/ 48 w 534"/>
                  <a:gd name="T95" fmla="*/ 282 h 852"/>
                  <a:gd name="T96" fmla="*/ 24 w 534"/>
                  <a:gd name="T97" fmla="*/ 264 h 852"/>
                  <a:gd name="T98" fmla="*/ 42 w 534"/>
                  <a:gd name="T99" fmla="*/ 234 h 852"/>
                  <a:gd name="T100" fmla="*/ 84 w 534"/>
                  <a:gd name="T101" fmla="*/ 216 h 852"/>
                  <a:gd name="T102" fmla="*/ 132 w 534"/>
                  <a:gd name="T103" fmla="*/ 198 h 852"/>
                  <a:gd name="T104" fmla="*/ 168 w 534"/>
                  <a:gd name="T105" fmla="*/ 192 h 852"/>
                  <a:gd name="T106" fmla="*/ 180 w 534"/>
                  <a:gd name="T107" fmla="*/ 150 h 852"/>
                  <a:gd name="T108" fmla="*/ 216 w 534"/>
                  <a:gd name="T109" fmla="*/ 132 h 852"/>
                  <a:gd name="T110" fmla="*/ 270 w 534"/>
                  <a:gd name="T111" fmla="*/ 144 h 852"/>
                  <a:gd name="T112" fmla="*/ 288 w 534"/>
                  <a:gd name="T113" fmla="*/ 96 h 852"/>
                  <a:gd name="T114" fmla="*/ 330 w 534"/>
                  <a:gd name="T115" fmla="*/ 72 h 852"/>
                  <a:gd name="T116" fmla="*/ 360 w 534"/>
                  <a:gd name="T117" fmla="*/ 36 h 852"/>
                  <a:gd name="T118" fmla="*/ 396 w 534"/>
                  <a:gd name="T119" fmla="*/ 6 h 852"/>
                  <a:gd name="T120" fmla="*/ 90 w 534"/>
                  <a:gd name="T121" fmla="*/ 696 h 8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34" h="852">
                    <a:moveTo>
                      <a:pt x="414" y="24"/>
                    </a:moveTo>
                    <a:lnTo>
                      <a:pt x="420" y="24"/>
                    </a:lnTo>
                    <a:lnTo>
                      <a:pt x="414" y="24"/>
                    </a:lnTo>
                    <a:lnTo>
                      <a:pt x="414" y="30"/>
                    </a:lnTo>
                    <a:lnTo>
                      <a:pt x="414" y="36"/>
                    </a:lnTo>
                    <a:lnTo>
                      <a:pt x="414" y="42"/>
                    </a:lnTo>
                    <a:lnTo>
                      <a:pt x="420" y="42"/>
                    </a:lnTo>
                    <a:lnTo>
                      <a:pt x="420" y="48"/>
                    </a:lnTo>
                    <a:lnTo>
                      <a:pt x="414" y="48"/>
                    </a:lnTo>
                    <a:lnTo>
                      <a:pt x="414" y="54"/>
                    </a:lnTo>
                    <a:lnTo>
                      <a:pt x="414" y="60"/>
                    </a:lnTo>
                    <a:lnTo>
                      <a:pt x="420" y="60"/>
                    </a:lnTo>
                    <a:lnTo>
                      <a:pt x="420" y="54"/>
                    </a:lnTo>
                    <a:lnTo>
                      <a:pt x="420" y="60"/>
                    </a:lnTo>
                    <a:lnTo>
                      <a:pt x="426" y="60"/>
                    </a:lnTo>
                    <a:lnTo>
                      <a:pt x="426" y="66"/>
                    </a:lnTo>
                    <a:lnTo>
                      <a:pt x="420" y="66"/>
                    </a:lnTo>
                    <a:lnTo>
                      <a:pt x="420" y="72"/>
                    </a:lnTo>
                    <a:lnTo>
                      <a:pt x="414" y="72"/>
                    </a:lnTo>
                    <a:lnTo>
                      <a:pt x="420" y="72"/>
                    </a:lnTo>
                    <a:lnTo>
                      <a:pt x="414" y="72"/>
                    </a:lnTo>
                    <a:lnTo>
                      <a:pt x="414" y="78"/>
                    </a:lnTo>
                    <a:lnTo>
                      <a:pt x="414" y="84"/>
                    </a:lnTo>
                    <a:lnTo>
                      <a:pt x="414" y="78"/>
                    </a:lnTo>
                    <a:lnTo>
                      <a:pt x="408" y="78"/>
                    </a:lnTo>
                    <a:lnTo>
                      <a:pt x="408" y="84"/>
                    </a:lnTo>
                    <a:lnTo>
                      <a:pt x="414" y="90"/>
                    </a:lnTo>
                    <a:lnTo>
                      <a:pt x="414" y="96"/>
                    </a:lnTo>
                    <a:lnTo>
                      <a:pt x="414" y="90"/>
                    </a:lnTo>
                    <a:lnTo>
                      <a:pt x="408" y="90"/>
                    </a:lnTo>
                    <a:lnTo>
                      <a:pt x="408" y="96"/>
                    </a:lnTo>
                    <a:lnTo>
                      <a:pt x="402" y="96"/>
                    </a:lnTo>
                    <a:lnTo>
                      <a:pt x="402" y="102"/>
                    </a:lnTo>
                    <a:lnTo>
                      <a:pt x="402" y="108"/>
                    </a:lnTo>
                    <a:lnTo>
                      <a:pt x="402" y="114"/>
                    </a:lnTo>
                    <a:lnTo>
                      <a:pt x="408" y="114"/>
                    </a:lnTo>
                    <a:lnTo>
                      <a:pt x="414" y="114"/>
                    </a:lnTo>
                    <a:lnTo>
                      <a:pt x="420" y="114"/>
                    </a:lnTo>
                    <a:lnTo>
                      <a:pt x="420" y="120"/>
                    </a:lnTo>
                    <a:lnTo>
                      <a:pt x="426" y="120"/>
                    </a:lnTo>
                    <a:lnTo>
                      <a:pt x="426" y="126"/>
                    </a:lnTo>
                    <a:lnTo>
                      <a:pt x="426" y="120"/>
                    </a:lnTo>
                    <a:lnTo>
                      <a:pt x="426" y="126"/>
                    </a:lnTo>
                    <a:lnTo>
                      <a:pt x="420" y="126"/>
                    </a:lnTo>
                    <a:lnTo>
                      <a:pt x="414" y="126"/>
                    </a:lnTo>
                    <a:lnTo>
                      <a:pt x="414" y="132"/>
                    </a:lnTo>
                    <a:lnTo>
                      <a:pt x="408" y="126"/>
                    </a:lnTo>
                    <a:lnTo>
                      <a:pt x="408" y="132"/>
                    </a:lnTo>
                    <a:lnTo>
                      <a:pt x="408" y="138"/>
                    </a:lnTo>
                    <a:lnTo>
                      <a:pt x="402" y="138"/>
                    </a:lnTo>
                    <a:lnTo>
                      <a:pt x="402" y="144"/>
                    </a:lnTo>
                    <a:lnTo>
                      <a:pt x="396" y="144"/>
                    </a:lnTo>
                    <a:lnTo>
                      <a:pt x="396" y="150"/>
                    </a:lnTo>
                    <a:lnTo>
                      <a:pt x="402" y="150"/>
                    </a:lnTo>
                    <a:lnTo>
                      <a:pt x="396" y="150"/>
                    </a:lnTo>
                    <a:lnTo>
                      <a:pt x="396" y="156"/>
                    </a:lnTo>
                    <a:lnTo>
                      <a:pt x="390" y="156"/>
                    </a:lnTo>
                    <a:lnTo>
                      <a:pt x="396" y="156"/>
                    </a:lnTo>
                    <a:lnTo>
                      <a:pt x="396" y="162"/>
                    </a:lnTo>
                    <a:lnTo>
                      <a:pt x="390" y="162"/>
                    </a:lnTo>
                    <a:lnTo>
                      <a:pt x="390" y="168"/>
                    </a:lnTo>
                    <a:lnTo>
                      <a:pt x="396" y="168"/>
                    </a:lnTo>
                    <a:lnTo>
                      <a:pt x="402" y="168"/>
                    </a:lnTo>
                    <a:lnTo>
                      <a:pt x="402" y="174"/>
                    </a:lnTo>
                    <a:lnTo>
                      <a:pt x="402" y="180"/>
                    </a:lnTo>
                    <a:lnTo>
                      <a:pt x="408" y="180"/>
                    </a:lnTo>
                    <a:lnTo>
                      <a:pt x="402" y="186"/>
                    </a:lnTo>
                    <a:lnTo>
                      <a:pt x="402" y="192"/>
                    </a:lnTo>
                    <a:lnTo>
                      <a:pt x="402" y="198"/>
                    </a:lnTo>
                    <a:lnTo>
                      <a:pt x="402" y="204"/>
                    </a:lnTo>
                    <a:lnTo>
                      <a:pt x="402" y="210"/>
                    </a:lnTo>
                    <a:lnTo>
                      <a:pt x="396" y="210"/>
                    </a:lnTo>
                    <a:lnTo>
                      <a:pt x="396" y="216"/>
                    </a:lnTo>
                    <a:lnTo>
                      <a:pt x="396" y="222"/>
                    </a:lnTo>
                    <a:lnTo>
                      <a:pt x="402" y="222"/>
                    </a:lnTo>
                    <a:lnTo>
                      <a:pt x="396" y="222"/>
                    </a:lnTo>
                    <a:lnTo>
                      <a:pt x="396" y="228"/>
                    </a:lnTo>
                    <a:lnTo>
                      <a:pt x="402" y="228"/>
                    </a:lnTo>
                    <a:lnTo>
                      <a:pt x="402" y="234"/>
                    </a:lnTo>
                    <a:lnTo>
                      <a:pt x="396" y="234"/>
                    </a:lnTo>
                    <a:lnTo>
                      <a:pt x="396" y="240"/>
                    </a:lnTo>
                    <a:lnTo>
                      <a:pt x="396" y="246"/>
                    </a:lnTo>
                    <a:lnTo>
                      <a:pt x="390" y="246"/>
                    </a:lnTo>
                    <a:lnTo>
                      <a:pt x="384" y="246"/>
                    </a:lnTo>
                    <a:lnTo>
                      <a:pt x="384" y="252"/>
                    </a:lnTo>
                    <a:lnTo>
                      <a:pt x="378" y="252"/>
                    </a:lnTo>
                    <a:lnTo>
                      <a:pt x="378" y="246"/>
                    </a:lnTo>
                    <a:lnTo>
                      <a:pt x="372" y="252"/>
                    </a:lnTo>
                    <a:lnTo>
                      <a:pt x="378" y="252"/>
                    </a:lnTo>
                    <a:lnTo>
                      <a:pt x="378" y="258"/>
                    </a:lnTo>
                    <a:lnTo>
                      <a:pt x="384" y="258"/>
                    </a:lnTo>
                    <a:lnTo>
                      <a:pt x="390" y="258"/>
                    </a:lnTo>
                    <a:lnTo>
                      <a:pt x="390" y="264"/>
                    </a:lnTo>
                    <a:lnTo>
                      <a:pt x="396" y="264"/>
                    </a:lnTo>
                    <a:lnTo>
                      <a:pt x="402" y="264"/>
                    </a:lnTo>
                    <a:lnTo>
                      <a:pt x="402" y="258"/>
                    </a:lnTo>
                    <a:lnTo>
                      <a:pt x="402" y="264"/>
                    </a:lnTo>
                    <a:lnTo>
                      <a:pt x="408" y="264"/>
                    </a:lnTo>
                    <a:lnTo>
                      <a:pt x="414" y="264"/>
                    </a:lnTo>
                    <a:lnTo>
                      <a:pt x="414" y="270"/>
                    </a:lnTo>
                    <a:lnTo>
                      <a:pt x="420" y="270"/>
                    </a:lnTo>
                    <a:lnTo>
                      <a:pt x="414" y="270"/>
                    </a:lnTo>
                    <a:lnTo>
                      <a:pt x="408" y="270"/>
                    </a:lnTo>
                    <a:lnTo>
                      <a:pt x="408" y="276"/>
                    </a:lnTo>
                    <a:lnTo>
                      <a:pt x="408" y="282"/>
                    </a:lnTo>
                    <a:lnTo>
                      <a:pt x="408" y="288"/>
                    </a:lnTo>
                    <a:lnTo>
                      <a:pt x="402" y="288"/>
                    </a:lnTo>
                    <a:lnTo>
                      <a:pt x="408" y="288"/>
                    </a:lnTo>
                    <a:lnTo>
                      <a:pt x="402" y="294"/>
                    </a:lnTo>
                    <a:lnTo>
                      <a:pt x="408" y="294"/>
                    </a:lnTo>
                    <a:lnTo>
                      <a:pt x="408" y="300"/>
                    </a:lnTo>
                    <a:lnTo>
                      <a:pt x="408" y="306"/>
                    </a:lnTo>
                    <a:lnTo>
                      <a:pt x="408" y="312"/>
                    </a:lnTo>
                    <a:lnTo>
                      <a:pt x="408" y="318"/>
                    </a:lnTo>
                    <a:lnTo>
                      <a:pt x="402" y="318"/>
                    </a:lnTo>
                    <a:lnTo>
                      <a:pt x="396" y="312"/>
                    </a:lnTo>
                    <a:lnTo>
                      <a:pt x="396" y="318"/>
                    </a:lnTo>
                    <a:lnTo>
                      <a:pt x="390" y="318"/>
                    </a:lnTo>
                    <a:lnTo>
                      <a:pt x="390" y="312"/>
                    </a:lnTo>
                    <a:lnTo>
                      <a:pt x="384" y="312"/>
                    </a:lnTo>
                    <a:lnTo>
                      <a:pt x="378" y="312"/>
                    </a:lnTo>
                    <a:lnTo>
                      <a:pt x="372" y="312"/>
                    </a:lnTo>
                    <a:lnTo>
                      <a:pt x="366" y="312"/>
                    </a:lnTo>
                    <a:lnTo>
                      <a:pt x="366" y="318"/>
                    </a:lnTo>
                    <a:lnTo>
                      <a:pt x="360" y="318"/>
                    </a:lnTo>
                    <a:lnTo>
                      <a:pt x="354" y="318"/>
                    </a:lnTo>
                    <a:lnTo>
                      <a:pt x="354" y="324"/>
                    </a:lnTo>
                    <a:lnTo>
                      <a:pt x="348" y="324"/>
                    </a:lnTo>
                    <a:lnTo>
                      <a:pt x="348" y="330"/>
                    </a:lnTo>
                    <a:lnTo>
                      <a:pt x="354" y="330"/>
                    </a:lnTo>
                    <a:lnTo>
                      <a:pt x="354" y="336"/>
                    </a:lnTo>
                    <a:lnTo>
                      <a:pt x="354" y="342"/>
                    </a:lnTo>
                    <a:lnTo>
                      <a:pt x="354" y="336"/>
                    </a:lnTo>
                    <a:lnTo>
                      <a:pt x="354" y="342"/>
                    </a:lnTo>
                    <a:lnTo>
                      <a:pt x="354" y="348"/>
                    </a:lnTo>
                    <a:lnTo>
                      <a:pt x="360" y="348"/>
                    </a:lnTo>
                    <a:lnTo>
                      <a:pt x="360" y="354"/>
                    </a:lnTo>
                    <a:lnTo>
                      <a:pt x="354" y="354"/>
                    </a:lnTo>
                    <a:lnTo>
                      <a:pt x="354" y="348"/>
                    </a:lnTo>
                    <a:lnTo>
                      <a:pt x="354" y="354"/>
                    </a:lnTo>
                    <a:lnTo>
                      <a:pt x="348" y="354"/>
                    </a:lnTo>
                    <a:lnTo>
                      <a:pt x="348" y="360"/>
                    </a:lnTo>
                    <a:lnTo>
                      <a:pt x="348" y="366"/>
                    </a:lnTo>
                    <a:lnTo>
                      <a:pt x="348" y="372"/>
                    </a:lnTo>
                    <a:lnTo>
                      <a:pt x="342" y="372"/>
                    </a:lnTo>
                    <a:lnTo>
                      <a:pt x="348" y="372"/>
                    </a:lnTo>
                    <a:lnTo>
                      <a:pt x="348" y="378"/>
                    </a:lnTo>
                    <a:lnTo>
                      <a:pt x="348" y="384"/>
                    </a:lnTo>
                    <a:lnTo>
                      <a:pt x="354" y="384"/>
                    </a:lnTo>
                    <a:lnTo>
                      <a:pt x="354" y="390"/>
                    </a:lnTo>
                    <a:lnTo>
                      <a:pt x="360" y="390"/>
                    </a:lnTo>
                    <a:lnTo>
                      <a:pt x="360" y="396"/>
                    </a:lnTo>
                    <a:lnTo>
                      <a:pt x="366" y="396"/>
                    </a:lnTo>
                    <a:lnTo>
                      <a:pt x="366" y="402"/>
                    </a:lnTo>
                    <a:lnTo>
                      <a:pt x="360" y="402"/>
                    </a:lnTo>
                    <a:lnTo>
                      <a:pt x="366" y="402"/>
                    </a:lnTo>
                    <a:lnTo>
                      <a:pt x="366" y="408"/>
                    </a:lnTo>
                    <a:lnTo>
                      <a:pt x="366" y="414"/>
                    </a:lnTo>
                    <a:lnTo>
                      <a:pt x="360" y="414"/>
                    </a:lnTo>
                    <a:lnTo>
                      <a:pt x="366" y="414"/>
                    </a:lnTo>
                    <a:lnTo>
                      <a:pt x="366" y="420"/>
                    </a:lnTo>
                    <a:lnTo>
                      <a:pt x="360" y="420"/>
                    </a:lnTo>
                    <a:lnTo>
                      <a:pt x="360" y="426"/>
                    </a:lnTo>
                    <a:lnTo>
                      <a:pt x="354" y="426"/>
                    </a:lnTo>
                    <a:lnTo>
                      <a:pt x="354" y="432"/>
                    </a:lnTo>
                    <a:lnTo>
                      <a:pt x="354" y="426"/>
                    </a:lnTo>
                    <a:lnTo>
                      <a:pt x="348" y="426"/>
                    </a:lnTo>
                    <a:lnTo>
                      <a:pt x="348" y="432"/>
                    </a:lnTo>
                    <a:lnTo>
                      <a:pt x="342" y="432"/>
                    </a:lnTo>
                    <a:lnTo>
                      <a:pt x="342" y="426"/>
                    </a:lnTo>
                    <a:lnTo>
                      <a:pt x="336" y="426"/>
                    </a:lnTo>
                    <a:lnTo>
                      <a:pt x="330" y="426"/>
                    </a:lnTo>
                    <a:lnTo>
                      <a:pt x="324" y="420"/>
                    </a:lnTo>
                    <a:lnTo>
                      <a:pt x="318" y="420"/>
                    </a:lnTo>
                    <a:lnTo>
                      <a:pt x="318" y="426"/>
                    </a:lnTo>
                    <a:lnTo>
                      <a:pt x="324" y="432"/>
                    </a:lnTo>
                    <a:lnTo>
                      <a:pt x="318" y="432"/>
                    </a:lnTo>
                    <a:lnTo>
                      <a:pt x="318" y="438"/>
                    </a:lnTo>
                    <a:lnTo>
                      <a:pt x="324" y="438"/>
                    </a:lnTo>
                    <a:lnTo>
                      <a:pt x="330" y="438"/>
                    </a:lnTo>
                    <a:lnTo>
                      <a:pt x="330" y="444"/>
                    </a:lnTo>
                    <a:lnTo>
                      <a:pt x="330" y="450"/>
                    </a:lnTo>
                    <a:lnTo>
                      <a:pt x="330" y="456"/>
                    </a:lnTo>
                    <a:lnTo>
                      <a:pt x="324" y="456"/>
                    </a:lnTo>
                    <a:lnTo>
                      <a:pt x="330" y="456"/>
                    </a:lnTo>
                    <a:lnTo>
                      <a:pt x="324" y="456"/>
                    </a:lnTo>
                    <a:lnTo>
                      <a:pt x="318" y="456"/>
                    </a:lnTo>
                    <a:lnTo>
                      <a:pt x="318" y="462"/>
                    </a:lnTo>
                    <a:lnTo>
                      <a:pt x="324" y="462"/>
                    </a:lnTo>
                    <a:lnTo>
                      <a:pt x="324" y="468"/>
                    </a:lnTo>
                    <a:lnTo>
                      <a:pt x="318" y="468"/>
                    </a:lnTo>
                    <a:lnTo>
                      <a:pt x="318" y="474"/>
                    </a:lnTo>
                    <a:lnTo>
                      <a:pt x="318" y="480"/>
                    </a:lnTo>
                    <a:lnTo>
                      <a:pt x="318" y="486"/>
                    </a:lnTo>
                    <a:lnTo>
                      <a:pt x="324" y="486"/>
                    </a:lnTo>
                    <a:lnTo>
                      <a:pt x="324" y="492"/>
                    </a:lnTo>
                    <a:lnTo>
                      <a:pt x="330" y="492"/>
                    </a:lnTo>
                    <a:lnTo>
                      <a:pt x="330" y="498"/>
                    </a:lnTo>
                    <a:lnTo>
                      <a:pt x="336" y="498"/>
                    </a:lnTo>
                    <a:lnTo>
                      <a:pt x="342" y="498"/>
                    </a:lnTo>
                    <a:lnTo>
                      <a:pt x="342" y="504"/>
                    </a:lnTo>
                    <a:lnTo>
                      <a:pt x="336" y="504"/>
                    </a:lnTo>
                    <a:lnTo>
                      <a:pt x="330" y="504"/>
                    </a:lnTo>
                    <a:lnTo>
                      <a:pt x="330" y="510"/>
                    </a:lnTo>
                    <a:lnTo>
                      <a:pt x="336" y="516"/>
                    </a:lnTo>
                    <a:lnTo>
                      <a:pt x="342" y="516"/>
                    </a:lnTo>
                    <a:lnTo>
                      <a:pt x="342" y="522"/>
                    </a:lnTo>
                    <a:lnTo>
                      <a:pt x="336" y="522"/>
                    </a:lnTo>
                    <a:lnTo>
                      <a:pt x="342" y="522"/>
                    </a:lnTo>
                    <a:lnTo>
                      <a:pt x="342" y="528"/>
                    </a:lnTo>
                    <a:lnTo>
                      <a:pt x="348" y="528"/>
                    </a:lnTo>
                    <a:lnTo>
                      <a:pt x="354" y="528"/>
                    </a:lnTo>
                    <a:lnTo>
                      <a:pt x="360" y="528"/>
                    </a:lnTo>
                    <a:lnTo>
                      <a:pt x="360" y="522"/>
                    </a:lnTo>
                    <a:lnTo>
                      <a:pt x="360" y="516"/>
                    </a:lnTo>
                    <a:lnTo>
                      <a:pt x="366" y="516"/>
                    </a:lnTo>
                    <a:lnTo>
                      <a:pt x="372" y="516"/>
                    </a:lnTo>
                    <a:lnTo>
                      <a:pt x="378" y="516"/>
                    </a:lnTo>
                    <a:lnTo>
                      <a:pt x="378" y="522"/>
                    </a:lnTo>
                    <a:lnTo>
                      <a:pt x="384" y="522"/>
                    </a:lnTo>
                    <a:lnTo>
                      <a:pt x="390" y="522"/>
                    </a:lnTo>
                    <a:lnTo>
                      <a:pt x="390" y="528"/>
                    </a:lnTo>
                    <a:lnTo>
                      <a:pt x="390" y="534"/>
                    </a:lnTo>
                    <a:lnTo>
                      <a:pt x="396" y="534"/>
                    </a:lnTo>
                    <a:lnTo>
                      <a:pt x="396" y="528"/>
                    </a:lnTo>
                    <a:lnTo>
                      <a:pt x="396" y="522"/>
                    </a:lnTo>
                    <a:lnTo>
                      <a:pt x="390" y="522"/>
                    </a:lnTo>
                    <a:lnTo>
                      <a:pt x="390" y="516"/>
                    </a:lnTo>
                    <a:lnTo>
                      <a:pt x="396" y="516"/>
                    </a:lnTo>
                    <a:lnTo>
                      <a:pt x="402" y="516"/>
                    </a:lnTo>
                    <a:lnTo>
                      <a:pt x="402" y="522"/>
                    </a:lnTo>
                    <a:lnTo>
                      <a:pt x="408" y="522"/>
                    </a:lnTo>
                    <a:lnTo>
                      <a:pt x="408" y="528"/>
                    </a:lnTo>
                    <a:lnTo>
                      <a:pt x="408" y="534"/>
                    </a:lnTo>
                    <a:lnTo>
                      <a:pt x="402" y="534"/>
                    </a:lnTo>
                    <a:lnTo>
                      <a:pt x="396" y="534"/>
                    </a:lnTo>
                    <a:lnTo>
                      <a:pt x="390" y="534"/>
                    </a:lnTo>
                    <a:lnTo>
                      <a:pt x="390" y="540"/>
                    </a:lnTo>
                    <a:lnTo>
                      <a:pt x="390" y="546"/>
                    </a:lnTo>
                    <a:lnTo>
                      <a:pt x="390" y="540"/>
                    </a:lnTo>
                    <a:lnTo>
                      <a:pt x="396" y="540"/>
                    </a:lnTo>
                    <a:lnTo>
                      <a:pt x="396" y="546"/>
                    </a:lnTo>
                    <a:lnTo>
                      <a:pt x="390" y="546"/>
                    </a:lnTo>
                    <a:lnTo>
                      <a:pt x="384" y="552"/>
                    </a:lnTo>
                    <a:lnTo>
                      <a:pt x="390" y="552"/>
                    </a:lnTo>
                    <a:lnTo>
                      <a:pt x="390" y="558"/>
                    </a:lnTo>
                    <a:lnTo>
                      <a:pt x="396" y="558"/>
                    </a:lnTo>
                    <a:lnTo>
                      <a:pt x="396" y="564"/>
                    </a:lnTo>
                    <a:lnTo>
                      <a:pt x="396" y="570"/>
                    </a:lnTo>
                    <a:lnTo>
                      <a:pt x="390" y="570"/>
                    </a:lnTo>
                    <a:lnTo>
                      <a:pt x="390" y="564"/>
                    </a:lnTo>
                    <a:lnTo>
                      <a:pt x="390" y="558"/>
                    </a:lnTo>
                    <a:lnTo>
                      <a:pt x="384" y="558"/>
                    </a:lnTo>
                    <a:lnTo>
                      <a:pt x="384" y="552"/>
                    </a:lnTo>
                    <a:lnTo>
                      <a:pt x="378" y="552"/>
                    </a:lnTo>
                    <a:lnTo>
                      <a:pt x="378" y="558"/>
                    </a:lnTo>
                    <a:lnTo>
                      <a:pt x="378" y="552"/>
                    </a:lnTo>
                    <a:lnTo>
                      <a:pt x="378" y="558"/>
                    </a:lnTo>
                    <a:lnTo>
                      <a:pt x="372" y="552"/>
                    </a:lnTo>
                    <a:lnTo>
                      <a:pt x="372" y="558"/>
                    </a:lnTo>
                    <a:lnTo>
                      <a:pt x="366" y="552"/>
                    </a:lnTo>
                    <a:lnTo>
                      <a:pt x="366" y="558"/>
                    </a:lnTo>
                    <a:lnTo>
                      <a:pt x="360" y="558"/>
                    </a:lnTo>
                    <a:lnTo>
                      <a:pt x="360" y="552"/>
                    </a:lnTo>
                    <a:lnTo>
                      <a:pt x="354" y="552"/>
                    </a:lnTo>
                    <a:lnTo>
                      <a:pt x="348" y="552"/>
                    </a:lnTo>
                    <a:lnTo>
                      <a:pt x="348" y="546"/>
                    </a:lnTo>
                    <a:lnTo>
                      <a:pt x="348" y="540"/>
                    </a:lnTo>
                    <a:lnTo>
                      <a:pt x="348" y="534"/>
                    </a:lnTo>
                    <a:lnTo>
                      <a:pt x="342" y="534"/>
                    </a:lnTo>
                    <a:lnTo>
                      <a:pt x="336" y="534"/>
                    </a:lnTo>
                    <a:lnTo>
                      <a:pt x="336" y="540"/>
                    </a:lnTo>
                    <a:lnTo>
                      <a:pt x="330" y="540"/>
                    </a:lnTo>
                    <a:lnTo>
                      <a:pt x="336" y="540"/>
                    </a:lnTo>
                    <a:lnTo>
                      <a:pt x="342" y="540"/>
                    </a:lnTo>
                    <a:lnTo>
                      <a:pt x="342" y="546"/>
                    </a:lnTo>
                    <a:lnTo>
                      <a:pt x="342" y="552"/>
                    </a:lnTo>
                    <a:lnTo>
                      <a:pt x="336" y="552"/>
                    </a:lnTo>
                    <a:lnTo>
                      <a:pt x="342" y="552"/>
                    </a:lnTo>
                    <a:lnTo>
                      <a:pt x="342" y="558"/>
                    </a:lnTo>
                    <a:lnTo>
                      <a:pt x="348" y="558"/>
                    </a:lnTo>
                    <a:lnTo>
                      <a:pt x="348" y="564"/>
                    </a:lnTo>
                    <a:lnTo>
                      <a:pt x="354" y="564"/>
                    </a:lnTo>
                    <a:lnTo>
                      <a:pt x="354" y="570"/>
                    </a:lnTo>
                    <a:lnTo>
                      <a:pt x="348" y="570"/>
                    </a:lnTo>
                    <a:lnTo>
                      <a:pt x="348" y="576"/>
                    </a:lnTo>
                    <a:lnTo>
                      <a:pt x="342" y="576"/>
                    </a:lnTo>
                    <a:lnTo>
                      <a:pt x="342" y="582"/>
                    </a:lnTo>
                    <a:lnTo>
                      <a:pt x="348" y="582"/>
                    </a:lnTo>
                    <a:lnTo>
                      <a:pt x="348" y="588"/>
                    </a:lnTo>
                    <a:lnTo>
                      <a:pt x="348" y="582"/>
                    </a:lnTo>
                    <a:lnTo>
                      <a:pt x="354" y="582"/>
                    </a:lnTo>
                    <a:lnTo>
                      <a:pt x="354" y="588"/>
                    </a:lnTo>
                    <a:lnTo>
                      <a:pt x="360" y="588"/>
                    </a:lnTo>
                    <a:lnTo>
                      <a:pt x="366" y="588"/>
                    </a:lnTo>
                    <a:lnTo>
                      <a:pt x="366" y="582"/>
                    </a:lnTo>
                    <a:lnTo>
                      <a:pt x="366" y="576"/>
                    </a:lnTo>
                    <a:lnTo>
                      <a:pt x="360" y="576"/>
                    </a:lnTo>
                    <a:lnTo>
                      <a:pt x="366" y="576"/>
                    </a:lnTo>
                    <a:lnTo>
                      <a:pt x="366" y="570"/>
                    </a:lnTo>
                    <a:lnTo>
                      <a:pt x="366" y="576"/>
                    </a:lnTo>
                    <a:lnTo>
                      <a:pt x="366" y="570"/>
                    </a:lnTo>
                    <a:lnTo>
                      <a:pt x="366" y="564"/>
                    </a:lnTo>
                    <a:lnTo>
                      <a:pt x="366" y="570"/>
                    </a:lnTo>
                    <a:lnTo>
                      <a:pt x="366" y="576"/>
                    </a:lnTo>
                    <a:lnTo>
                      <a:pt x="372" y="576"/>
                    </a:lnTo>
                    <a:lnTo>
                      <a:pt x="372" y="570"/>
                    </a:lnTo>
                    <a:lnTo>
                      <a:pt x="372" y="576"/>
                    </a:lnTo>
                    <a:lnTo>
                      <a:pt x="372" y="570"/>
                    </a:lnTo>
                    <a:lnTo>
                      <a:pt x="378" y="570"/>
                    </a:lnTo>
                    <a:lnTo>
                      <a:pt x="378" y="576"/>
                    </a:lnTo>
                    <a:lnTo>
                      <a:pt x="384" y="576"/>
                    </a:lnTo>
                    <a:lnTo>
                      <a:pt x="390" y="576"/>
                    </a:lnTo>
                    <a:lnTo>
                      <a:pt x="396" y="576"/>
                    </a:lnTo>
                    <a:lnTo>
                      <a:pt x="396" y="582"/>
                    </a:lnTo>
                    <a:lnTo>
                      <a:pt x="402" y="582"/>
                    </a:lnTo>
                    <a:lnTo>
                      <a:pt x="402" y="588"/>
                    </a:lnTo>
                    <a:lnTo>
                      <a:pt x="402" y="594"/>
                    </a:lnTo>
                    <a:lnTo>
                      <a:pt x="408" y="594"/>
                    </a:lnTo>
                    <a:lnTo>
                      <a:pt x="402" y="594"/>
                    </a:lnTo>
                    <a:lnTo>
                      <a:pt x="408" y="594"/>
                    </a:lnTo>
                    <a:lnTo>
                      <a:pt x="408" y="588"/>
                    </a:lnTo>
                    <a:lnTo>
                      <a:pt x="414" y="588"/>
                    </a:lnTo>
                    <a:lnTo>
                      <a:pt x="420" y="588"/>
                    </a:lnTo>
                    <a:lnTo>
                      <a:pt x="426" y="588"/>
                    </a:lnTo>
                    <a:lnTo>
                      <a:pt x="420" y="588"/>
                    </a:lnTo>
                    <a:lnTo>
                      <a:pt x="420" y="582"/>
                    </a:lnTo>
                    <a:lnTo>
                      <a:pt x="426" y="582"/>
                    </a:lnTo>
                    <a:lnTo>
                      <a:pt x="426" y="588"/>
                    </a:lnTo>
                    <a:lnTo>
                      <a:pt x="432" y="588"/>
                    </a:lnTo>
                    <a:lnTo>
                      <a:pt x="432" y="582"/>
                    </a:lnTo>
                    <a:lnTo>
                      <a:pt x="432" y="588"/>
                    </a:lnTo>
                    <a:lnTo>
                      <a:pt x="432" y="582"/>
                    </a:lnTo>
                    <a:lnTo>
                      <a:pt x="438" y="582"/>
                    </a:lnTo>
                    <a:lnTo>
                      <a:pt x="438" y="576"/>
                    </a:lnTo>
                    <a:lnTo>
                      <a:pt x="444" y="576"/>
                    </a:lnTo>
                    <a:lnTo>
                      <a:pt x="444" y="570"/>
                    </a:lnTo>
                    <a:lnTo>
                      <a:pt x="444" y="564"/>
                    </a:lnTo>
                    <a:lnTo>
                      <a:pt x="450" y="564"/>
                    </a:lnTo>
                    <a:lnTo>
                      <a:pt x="456" y="564"/>
                    </a:lnTo>
                    <a:lnTo>
                      <a:pt x="456" y="570"/>
                    </a:lnTo>
                    <a:lnTo>
                      <a:pt x="456" y="564"/>
                    </a:lnTo>
                    <a:lnTo>
                      <a:pt x="462" y="564"/>
                    </a:lnTo>
                    <a:lnTo>
                      <a:pt x="462" y="570"/>
                    </a:lnTo>
                    <a:lnTo>
                      <a:pt x="462" y="576"/>
                    </a:lnTo>
                    <a:lnTo>
                      <a:pt x="462" y="570"/>
                    </a:lnTo>
                    <a:lnTo>
                      <a:pt x="468" y="570"/>
                    </a:lnTo>
                    <a:lnTo>
                      <a:pt x="468" y="576"/>
                    </a:lnTo>
                    <a:lnTo>
                      <a:pt x="474" y="576"/>
                    </a:lnTo>
                    <a:lnTo>
                      <a:pt x="474" y="570"/>
                    </a:lnTo>
                    <a:lnTo>
                      <a:pt x="480" y="570"/>
                    </a:lnTo>
                    <a:lnTo>
                      <a:pt x="480" y="576"/>
                    </a:lnTo>
                    <a:lnTo>
                      <a:pt x="480" y="582"/>
                    </a:lnTo>
                    <a:lnTo>
                      <a:pt x="474" y="582"/>
                    </a:lnTo>
                    <a:lnTo>
                      <a:pt x="474" y="588"/>
                    </a:lnTo>
                    <a:lnTo>
                      <a:pt x="480" y="588"/>
                    </a:lnTo>
                    <a:lnTo>
                      <a:pt x="480" y="594"/>
                    </a:lnTo>
                    <a:lnTo>
                      <a:pt x="474" y="594"/>
                    </a:lnTo>
                    <a:lnTo>
                      <a:pt x="474" y="600"/>
                    </a:lnTo>
                    <a:lnTo>
                      <a:pt x="480" y="600"/>
                    </a:lnTo>
                    <a:lnTo>
                      <a:pt x="480" y="594"/>
                    </a:lnTo>
                    <a:lnTo>
                      <a:pt x="486" y="594"/>
                    </a:lnTo>
                    <a:lnTo>
                      <a:pt x="486" y="600"/>
                    </a:lnTo>
                    <a:lnTo>
                      <a:pt x="492" y="600"/>
                    </a:lnTo>
                    <a:lnTo>
                      <a:pt x="492" y="606"/>
                    </a:lnTo>
                    <a:lnTo>
                      <a:pt x="486" y="606"/>
                    </a:lnTo>
                    <a:lnTo>
                      <a:pt x="486" y="612"/>
                    </a:lnTo>
                    <a:lnTo>
                      <a:pt x="492" y="612"/>
                    </a:lnTo>
                    <a:lnTo>
                      <a:pt x="492" y="606"/>
                    </a:lnTo>
                    <a:lnTo>
                      <a:pt x="498" y="606"/>
                    </a:lnTo>
                    <a:lnTo>
                      <a:pt x="504" y="606"/>
                    </a:lnTo>
                    <a:lnTo>
                      <a:pt x="510" y="606"/>
                    </a:lnTo>
                    <a:lnTo>
                      <a:pt x="516" y="612"/>
                    </a:lnTo>
                    <a:lnTo>
                      <a:pt x="510" y="612"/>
                    </a:lnTo>
                    <a:lnTo>
                      <a:pt x="510" y="618"/>
                    </a:lnTo>
                    <a:lnTo>
                      <a:pt x="510" y="624"/>
                    </a:lnTo>
                    <a:lnTo>
                      <a:pt x="510" y="630"/>
                    </a:lnTo>
                    <a:lnTo>
                      <a:pt x="510" y="636"/>
                    </a:lnTo>
                    <a:lnTo>
                      <a:pt x="516" y="636"/>
                    </a:lnTo>
                    <a:lnTo>
                      <a:pt x="510" y="636"/>
                    </a:lnTo>
                    <a:lnTo>
                      <a:pt x="516" y="642"/>
                    </a:lnTo>
                    <a:lnTo>
                      <a:pt x="516" y="636"/>
                    </a:lnTo>
                    <a:lnTo>
                      <a:pt x="516" y="642"/>
                    </a:lnTo>
                    <a:lnTo>
                      <a:pt x="522" y="642"/>
                    </a:lnTo>
                    <a:lnTo>
                      <a:pt x="528" y="642"/>
                    </a:lnTo>
                    <a:lnTo>
                      <a:pt x="528" y="648"/>
                    </a:lnTo>
                    <a:lnTo>
                      <a:pt x="528" y="642"/>
                    </a:lnTo>
                    <a:lnTo>
                      <a:pt x="534" y="642"/>
                    </a:lnTo>
                    <a:lnTo>
                      <a:pt x="534" y="648"/>
                    </a:lnTo>
                    <a:lnTo>
                      <a:pt x="534" y="654"/>
                    </a:lnTo>
                    <a:lnTo>
                      <a:pt x="534" y="660"/>
                    </a:lnTo>
                    <a:lnTo>
                      <a:pt x="528" y="660"/>
                    </a:lnTo>
                    <a:lnTo>
                      <a:pt x="528" y="666"/>
                    </a:lnTo>
                    <a:lnTo>
                      <a:pt x="528" y="672"/>
                    </a:lnTo>
                    <a:lnTo>
                      <a:pt x="522" y="672"/>
                    </a:lnTo>
                    <a:lnTo>
                      <a:pt x="522" y="678"/>
                    </a:lnTo>
                    <a:lnTo>
                      <a:pt x="522" y="684"/>
                    </a:lnTo>
                    <a:lnTo>
                      <a:pt x="516" y="684"/>
                    </a:lnTo>
                    <a:lnTo>
                      <a:pt x="516" y="678"/>
                    </a:lnTo>
                    <a:lnTo>
                      <a:pt x="516" y="684"/>
                    </a:lnTo>
                    <a:lnTo>
                      <a:pt x="516" y="690"/>
                    </a:lnTo>
                    <a:lnTo>
                      <a:pt x="522" y="690"/>
                    </a:lnTo>
                    <a:lnTo>
                      <a:pt x="522" y="696"/>
                    </a:lnTo>
                    <a:lnTo>
                      <a:pt x="522" y="690"/>
                    </a:lnTo>
                    <a:lnTo>
                      <a:pt x="516" y="690"/>
                    </a:lnTo>
                    <a:lnTo>
                      <a:pt x="510" y="690"/>
                    </a:lnTo>
                    <a:lnTo>
                      <a:pt x="510" y="684"/>
                    </a:lnTo>
                    <a:lnTo>
                      <a:pt x="510" y="690"/>
                    </a:lnTo>
                    <a:lnTo>
                      <a:pt x="504" y="690"/>
                    </a:lnTo>
                    <a:lnTo>
                      <a:pt x="504" y="696"/>
                    </a:lnTo>
                    <a:lnTo>
                      <a:pt x="498" y="696"/>
                    </a:lnTo>
                    <a:lnTo>
                      <a:pt x="498" y="702"/>
                    </a:lnTo>
                    <a:lnTo>
                      <a:pt x="492" y="702"/>
                    </a:lnTo>
                    <a:lnTo>
                      <a:pt x="492" y="708"/>
                    </a:lnTo>
                    <a:lnTo>
                      <a:pt x="486" y="708"/>
                    </a:lnTo>
                    <a:lnTo>
                      <a:pt x="480" y="708"/>
                    </a:lnTo>
                    <a:lnTo>
                      <a:pt x="480" y="702"/>
                    </a:lnTo>
                    <a:lnTo>
                      <a:pt x="474" y="702"/>
                    </a:lnTo>
                    <a:lnTo>
                      <a:pt x="474" y="696"/>
                    </a:lnTo>
                    <a:lnTo>
                      <a:pt x="468" y="696"/>
                    </a:lnTo>
                    <a:lnTo>
                      <a:pt x="468" y="702"/>
                    </a:lnTo>
                    <a:lnTo>
                      <a:pt x="462" y="702"/>
                    </a:lnTo>
                    <a:lnTo>
                      <a:pt x="462" y="696"/>
                    </a:lnTo>
                    <a:lnTo>
                      <a:pt x="456" y="696"/>
                    </a:lnTo>
                    <a:lnTo>
                      <a:pt x="456" y="702"/>
                    </a:lnTo>
                    <a:lnTo>
                      <a:pt x="456" y="696"/>
                    </a:lnTo>
                    <a:lnTo>
                      <a:pt x="456" y="690"/>
                    </a:lnTo>
                    <a:lnTo>
                      <a:pt x="456" y="696"/>
                    </a:lnTo>
                    <a:lnTo>
                      <a:pt x="450" y="696"/>
                    </a:lnTo>
                    <a:lnTo>
                      <a:pt x="444" y="696"/>
                    </a:lnTo>
                    <a:lnTo>
                      <a:pt x="438" y="696"/>
                    </a:lnTo>
                    <a:lnTo>
                      <a:pt x="444" y="696"/>
                    </a:lnTo>
                    <a:lnTo>
                      <a:pt x="444" y="702"/>
                    </a:lnTo>
                    <a:lnTo>
                      <a:pt x="438" y="702"/>
                    </a:lnTo>
                    <a:lnTo>
                      <a:pt x="438" y="708"/>
                    </a:lnTo>
                    <a:lnTo>
                      <a:pt x="438" y="714"/>
                    </a:lnTo>
                    <a:lnTo>
                      <a:pt x="432" y="714"/>
                    </a:lnTo>
                    <a:lnTo>
                      <a:pt x="432" y="720"/>
                    </a:lnTo>
                    <a:lnTo>
                      <a:pt x="426" y="720"/>
                    </a:lnTo>
                    <a:lnTo>
                      <a:pt x="420" y="720"/>
                    </a:lnTo>
                    <a:lnTo>
                      <a:pt x="420" y="726"/>
                    </a:lnTo>
                    <a:lnTo>
                      <a:pt x="414" y="726"/>
                    </a:lnTo>
                    <a:lnTo>
                      <a:pt x="414" y="732"/>
                    </a:lnTo>
                    <a:lnTo>
                      <a:pt x="414" y="738"/>
                    </a:lnTo>
                    <a:lnTo>
                      <a:pt x="420" y="738"/>
                    </a:lnTo>
                    <a:lnTo>
                      <a:pt x="420" y="744"/>
                    </a:lnTo>
                    <a:lnTo>
                      <a:pt x="414" y="744"/>
                    </a:lnTo>
                    <a:lnTo>
                      <a:pt x="420" y="744"/>
                    </a:lnTo>
                    <a:lnTo>
                      <a:pt x="420" y="738"/>
                    </a:lnTo>
                    <a:lnTo>
                      <a:pt x="420" y="744"/>
                    </a:lnTo>
                    <a:lnTo>
                      <a:pt x="420" y="750"/>
                    </a:lnTo>
                    <a:lnTo>
                      <a:pt x="420" y="756"/>
                    </a:lnTo>
                    <a:lnTo>
                      <a:pt x="414" y="756"/>
                    </a:lnTo>
                    <a:lnTo>
                      <a:pt x="414" y="762"/>
                    </a:lnTo>
                    <a:lnTo>
                      <a:pt x="414" y="768"/>
                    </a:lnTo>
                    <a:lnTo>
                      <a:pt x="408" y="768"/>
                    </a:lnTo>
                    <a:lnTo>
                      <a:pt x="402" y="768"/>
                    </a:lnTo>
                    <a:lnTo>
                      <a:pt x="402" y="774"/>
                    </a:lnTo>
                    <a:lnTo>
                      <a:pt x="408" y="774"/>
                    </a:lnTo>
                    <a:lnTo>
                      <a:pt x="408" y="780"/>
                    </a:lnTo>
                    <a:lnTo>
                      <a:pt x="408" y="774"/>
                    </a:lnTo>
                    <a:lnTo>
                      <a:pt x="414" y="774"/>
                    </a:lnTo>
                    <a:lnTo>
                      <a:pt x="420" y="774"/>
                    </a:lnTo>
                    <a:lnTo>
                      <a:pt x="426" y="774"/>
                    </a:lnTo>
                    <a:lnTo>
                      <a:pt x="426" y="780"/>
                    </a:lnTo>
                    <a:lnTo>
                      <a:pt x="432" y="780"/>
                    </a:lnTo>
                    <a:lnTo>
                      <a:pt x="438" y="780"/>
                    </a:lnTo>
                    <a:lnTo>
                      <a:pt x="438" y="786"/>
                    </a:lnTo>
                    <a:lnTo>
                      <a:pt x="438" y="792"/>
                    </a:lnTo>
                    <a:lnTo>
                      <a:pt x="432" y="792"/>
                    </a:lnTo>
                    <a:lnTo>
                      <a:pt x="432" y="798"/>
                    </a:lnTo>
                    <a:lnTo>
                      <a:pt x="426" y="798"/>
                    </a:lnTo>
                    <a:lnTo>
                      <a:pt x="426" y="804"/>
                    </a:lnTo>
                    <a:lnTo>
                      <a:pt x="426" y="810"/>
                    </a:lnTo>
                    <a:lnTo>
                      <a:pt x="426" y="804"/>
                    </a:lnTo>
                    <a:lnTo>
                      <a:pt x="420" y="810"/>
                    </a:lnTo>
                    <a:lnTo>
                      <a:pt x="414" y="810"/>
                    </a:lnTo>
                    <a:lnTo>
                      <a:pt x="408" y="810"/>
                    </a:lnTo>
                    <a:lnTo>
                      <a:pt x="402" y="810"/>
                    </a:lnTo>
                    <a:lnTo>
                      <a:pt x="402" y="816"/>
                    </a:lnTo>
                    <a:lnTo>
                      <a:pt x="402" y="810"/>
                    </a:lnTo>
                    <a:lnTo>
                      <a:pt x="402" y="816"/>
                    </a:lnTo>
                    <a:lnTo>
                      <a:pt x="402" y="822"/>
                    </a:lnTo>
                    <a:lnTo>
                      <a:pt x="402" y="828"/>
                    </a:lnTo>
                    <a:lnTo>
                      <a:pt x="396" y="828"/>
                    </a:lnTo>
                    <a:lnTo>
                      <a:pt x="402" y="828"/>
                    </a:lnTo>
                    <a:lnTo>
                      <a:pt x="396" y="828"/>
                    </a:lnTo>
                    <a:lnTo>
                      <a:pt x="390" y="828"/>
                    </a:lnTo>
                    <a:lnTo>
                      <a:pt x="384" y="828"/>
                    </a:lnTo>
                    <a:lnTo>
                      <a:pt x="378" y="828"/>
                    </a:lnTo>
                    <a:lnTo>
                      <a:pt x="378" y="822"/>
                    </a:lnTo>
                    <a:lnTo>
                      <a:pt x="372" y="822"/>
                    </a:lnTo>
                    <a:lnTo>
                      <a:pt x="372" y="828"/>
                    </a:lnTo>
                    <a:lnTo>
                      <a:pt x="366" y="828"/>
                    </a:lnTo>
                    <a:lnTo>
                      <a:pt x="360" y="828"/>
                    </a:lnTo>
                    <a:lnTo>
                      <a:pt x="360" y="834"/>
                    </a:lnTo>
                    <a:lnTo>
                      <a:pt x="354" y="834"/>
                    </a:lnTo>
                    <a:lnTo>
                      <a:pt x="354" y="828"/>
                    </a:lnTo>
                    <a:lnTo>
                      <a:pt x="348" y="828"/>
                    </a:lnTo>
                    <a:lnTo>
                      <a:pt x="348" y="822"/>
                    </a:lnTo>
                    <a:lnTo>
                      <a:pt x="342" y="822"/>
                    </a:lnTo>
                    <a:lnTo>
                      <a:pt x="342" y="828"/>
                    </a:lnTo>
                    <a:lnTo>
                      <a:pt x="336" y="828"/>
                    </a:lnTo>
                    <a:lnTo>
                      <a:pt x="336" y="834"/>
                    </a:lnTo>
                    <a:lnTo>
                      <a:pt x="330" y="834"/>
                    </a:lnTo>
                    <a:lnTo>
                      <a:pt x="330" y="840"/>
                    </a:lnTo>
                    <a:lnTo>
                      <a:pt x="324" y="840"/>
                    </a:lnTo>
                    <a:lnTo>
                      <a:pt x="324" y="846"/>
                    </a:lnTo>
                    <a:lnTo>
                      <a:pt x="330" y="846"/>
                    </a:lnTo>
                    <a:lnTo>
                      <a:pt x="330" y="852"/>
                    </a:lnTo>
                    <a:lnTo>
                      <a:pt x="324" y="852"/>
                    </a:lnTo>
                    <a:lnTo>
                      <a:pt x="324" y="846"/>
                    </a:lnTo>
                    <a:lnTo>
                      <a:pt x="324" y="852"/>
                    </a:lnTo>
                    <a:lnTo>
                      <a:pt x="324" y="846"/>
                    </a:lnTo>
                    <a:lnTo>
                      <a:pt x="318" y="846"/>
                    </a:lnTo>
                    <a:lnTo>
                      <a:pt x="312" y="846"/>
                    </a:lnTo>
                    <a:lnTo>
                      <a:pt x="306" y="846"/>
                    </a:lnTo>
                    <a:lnTo>
                      <a:pt x="300" y="846"/>
                    </a:lnTo>
                    <a:lnTo>
                      <a:pt x="294" y="846"/>
                    </a:lnTo>
                    <a:lnTo>
                      <a:pt x="294" y="840"/>
                    </a:lnTo>
                    <a:lnTo>
                      <a:pt x="288" y="840"/>
                    </a:lnTo>
                    <a:lnTo>
                      <a:pt x="282" y="840"/>
                    </a:lnTo>
                    <a:lnTo>
                      <a:pt x="276" y="840"/>
                    </a:lnTo>
                    <a:lnTo>
                      <a:pt x="276" y="834"/>
                    </a:lnTo>
                    <a:lnTo>
                      <a:pt x="276" y="828"/>
                    </a:lnTo>
                    <a:lnTo>
                      <a:pt x="276" y="834"/>
                    </a:lnTo>
                    <a:lnTo>
                      <a:pt x="276" y="828"/>
                    </a:lnTo>
                    <a:lnTo>
                      <a:pt x="276" y="834"/>
                    </a:lnTo>
                    <a:lnTo>
                      <a:pt x="270" y="834"/>
                    </a:lnTo>
                    <a:lnTo>
                      <a:pt x="264" y="834"/>
                    </a:lnTo>
                    <a:lnTo>
                      <a:pt x="264" y="828"/>
                    </a:lnTo>
                    <a:lnTo>
                      <a:pt x="258" y="822"/>
                    </a:lnTo>
                    <a:lnTo>
                      <a:pt x="252" y="822"/>
                    </a:lnTo>
                    <a:lnTo>
                      <a:pt x="252" y="816"/>
                    </a:lnTo>
                    <a:lnTo>
                      <a:pt x="246" y="816"/>
                    </a:lnTo>
                    <a:lnTo>
                      <a:pt x="240" y="816"/>
                    </a:lnTo>
                    <a:lnTo>
                      <a:pt x="240" y="822"/>
                    </a:lnTo>
                    <a:lnTo>
                      <a:pt x="240" y="816"/>
                    </a:lnTo>
                    <a:lnTo>
                      <a:pt x="240" y="810"/>
                    </a:lnTo>
                    <a:lnTo>
                      <a:pt x="240" y="804"/>
                    </a:lnTo>
                    <a:lnTo>
                      <a:pt x="234" y="804"/>
                    </a:lnTo>
                    <a:lnTo>
                      <a:pt x="234" y="810"/>
                    </a:lnTo>
                    <a:lnTo>
                      <a:pt x="228" y="810"/>
                    </a:lnTo>
                    <a:lnTo>
                      <a:pt x="222" y="810"/>
                    </a:lnTo>
                    <a:lnTo>
                      <a:pt x="216" y="810"/>
                    </a:lnTo>
                    <a:lnTo>
                      <a:pt x="216" y="804"/>
                    </a:lnTo>
                    <a:lnTo>
                      <a:pt x="210" y="810"/>
                    </a:lnTo>
                    <a:lnTo>
                      <a:pt x="210" y="804"/>
                    </a:lnTo>
                    <a:lnTo>
                      <a:pt x="204" y="804"/>
                    </a:lnTo>
                    <a:lnTo>
                      <a:pt x="204" y="798"/>
                    </a:lnTo>
                    <a:lnTo>
                      <a:pt x="204" y="792"/>
                    </a:lnTo>
                    <a:lnTo>
                      <a:pt x="198" y="792"/>
                    </a:lnTo>
                    <a:lnTo>
                      <a:pt x="192" y="792"/>
                    </a:lnTo>
                    <a:lnTo>
                      <a:pt x="192" y="786"/>
                    </a:lnTo>
                    <a:lnTo>
                      <a:pt x="186" y="786"/>
                    </a:lnTo>
                    <a:lnTo>
                      <a:pt x="186" y="792"/>
                    </a:lnTo>
                    <a:lnTo>
                      <a:pt x="186" y="786"/>
                    </a:lnTo>
                    <a:lnTo>
                      <a:pt x="186" y="780"/>
                    </a:lnTo>
                    <a:lnTo>
                      <a:pt x="180" y="780"/>
                    </a:lnTo>
                    <a:lnTo>
                      <a:pt x="174" y="780"/>
                    </a:lnTo>
                    <a:lnTo>
                      <a:pt x="174" y="774"/>
                    </a:lnTo>
                    <a:lnTo>
                      <a:pt x="174" y="780"/>
                    </a:lnTo>
                    <a:lnTo>
                      <a:pt x="174" y="774"/>
                    </a:lnTo>
                    <a:lnTo>
                      <a:pt x="168" y="774"/>
                    </a:lnTo>
                    <a:lnTo>
                      <a:pt x="174" y="774"/>
                    </a:lnTo>
                    <a:lnTo>
                      <a:pt x="168" y="774"/>
                    </a:lnTo>
                    <a:lnTo>
                      <a:pt x="168" y="768"/>
                    </a:lnTo>
                    <a:lnTo>
                      <a:pt x="162" y="768"/>
                    </a:lnTo>
                    <a:lnTo>
                      <a:pt x="162" y="762"/>
                    </a:lnTo>
                    <a:lnTo>
                      <a:pt x="162" y="768"/>
                    </a:lnTo>
                    <a:lnTo>
                      <a:pt x="162" y="762"/>
                    </a:lnTo>
                    <a:lnTo>
                      <a:pt x="156" y="762"/>
                    </a:lnTo>
                    <a:lnTo>
                      <a:pt x="156" y="768"/>
                    </a:lnTo>
                    <a:lnTo>
                      <a:pt x="156" y="762"/>
                    </a:lnTo>
                    <a:lnTo>
                      <a:pt x="162" y="762"/>
                    </a:lnTo>
                    <a:lnTo>
                      <a:pt x="156" y="762"/>
                    </a:lnTo>
                    <a:lnTo>
                      <a:pt x="156" y="756"/>
                    </a:lnTo>
                    <a:lnTo>
                      <a:pt x="156" y="750"/>
                    </a:lnTo>
                    <a:lnTo>
                      <a:pt x="150" y="750"/>
                    </a:lnTo>
                    <a:lnTo>
                      <a:pt x="150" y="744"/>
                    </a:lnTo>
                    <a:lnTo>
                      <a:pt x="156" y="744"/>
                    </a:lnTo>
                    <a:lnTo>
                      <a:pt x="162" y="744"/>
                    </a:lnTo>
                    <a:lnTo>
                      <a:pt x="156" y="744"/>
                    </a:lnTo>
                    <a:lnTo>
                      <a:pt x="156" y="738"/>
                    </a:lnTo>
                    <a:lnTo>
                      <a:pt x="150" y="738"/>
                    </a:lnTo>
                    <a:lnTo>
                      <a:pt x="150" y="744"/>
                    </a:lnTo>
                    <a:lnTo>
                      <a:pt x="150" y="738"/>
                    </a:lnTo>
                    <a:lnTo>
                      <a:pt x="144" y="738"/>
                    </a:lnTo>
                    <a:lnTo>
                      <a:pt x="138" y="738"/>
                    </a:lnTo>
                    <a:lnTo>
                      <a:pt x="138" y="732"/>
                    </a:lnTo>
                    <a:lnTo>
                      <a:pt x="144" y="732"/>
                    </a:lnTo>
                    <a:lnTo>
                      <a:pt x="150" y="732"/>
                    </a:lnTo>
                    <a:lnTo>
                      <a:pt x="150" y="726"/>
                    </a:lnTo>
                    <a:lnTo>
                      <a:pt x="144" y="726"/>
                    </a:lnTo>
                    <a:lnTo>
                      <a:pt x="138" y="726"/>
                    </a:lnTo>
                    <a:lnTo>
                      <a:pt x="138" y="732"/>
                    </a:lnTo>
                    <a:lnTo>
                      <a:pt x="132" y="732"/>
                    </a:lnTo>
                    <a:lnTo>
                      <a:pt x="132" y="726"/>
                    </a:lnTo>
                    <a:lnTo>
                      <a:pt x="132" y="732"/>
                    </a:lnTo>
                    <a:lnTo>
                      <a:pt x="132" y="726"/>
                    </a:lnTo>
                    <a:lnTo>
                      <a:pt x="126" y="726"/>
                    </a:lnTo>
                    <a:lnTo>
                      <a:pt x="126" y="720"/>
                    </a:lnTo>
                    <a:lnTo>
                      <a:pt x="120" y="720"/>
                    </a:lnTo>
                    <a:lnTo>
                      <a:pt x="120" y="714"/>
                    </a:lnTo>
                    <a:lnTo>
                      <a:pt x="120" y="720"/>
                    </a:lnTo>
                    <a:lnTo>
                      <a:pt x="114" y="720"/>
                    </a:lnTo>
                    <a:lnTo>
                      <a:pt x="114" y="714"/>
                    </a:lnTo>
                    <a:lnTo>
                      <a:pt x="108" y="714"/>
                    </a:lnTo>
                    <a:lnTo>
                      <a:pt x="108" y="708"/>
                    </a:lnTo>
                    <a:lnTo>
                      <a:pt x="108" y="702"/>
                    </a:lnTo>
                    <a:lnTo>
                      <a:pt x="108" y="708"/>
                    </a:lnTo>
                    <a:lnTo>
                      <a:pt x="102" y="708"/>
                    </a:lnTo>
                    <a:lnTo>
                      <a:pt x="96" y="708"/>
                    </a:lnTo>
                    <a:lnTo>
                      <a:pt x="90" y="708"/>
                    </a:lnTo>
                    <a:lnTo>
                      <a:pt x="90" y="702"/>
                    </a:lnTo>
                    <a:lnTo>
                      <a:pt x="90" y="696"/>
                    </a:lnTo>
                    <a:lnTo>
                      <a:pt x="90" y="702"/>
                    </a:lnTo>
                    <a:lnTo>
                      <a:pt x="90" y="696"/>
                    </a:lnTo>
                    <a:lnTo>
                      <a:pt x="90" y="702"/>
                    </a:lnTo>
                    <a:lnTo>
                      <a:pt x="90" y="696"/>
                    </a:lnTo>
                    <a:lnTo>
                      <a:pt x="84" y="696"/>
                    </a:lnTo>
                    <a:lnTo>
                      <a:pt x="84" y="690"/>
                    </a:lnTo>
                    <a:lnTo>
                      <a:pt x="84" y="696"/>
                    </a:lnTo>
                    <a:lnTo>
                      <a:pt x="90" y="696"/>
                    </a:lnTo>
                    <a:lnTo>
                      <a:pt x="84" y="696"/>
                    </a:lnTo>
                    <a:lnTo>
                      <a:pt x="84" y="690"/>
                    </a:lnTo>
                    <a:lnTo>
                      <a:pt x="84" y="684"/>
                    </a:lnTo>
                    <a:lnTo>
                      <a:pt x="84" y="690"/>
                    </a:lnTo>
                    <a:lnTo>
                      <a:pt x="84" y="684"/>
                    </a:lnTo>
                    <a:lnTo>
                      <a:pt x="84" y="678"/>
                    </a:lnTo>
                    <a:lnTo>
                      <a:pt x="84" y="672"/>
                    </a:lnTo>
                    <a:lnTo>
                      <a:pt x="78" y="672"/>
                    </a:lnTo>
                    <a:lnTo>
                      <a:pt x="84" y="672"/>
                    </a:lnTo>
                    <a:lnTo>
                      <a:pt x="84" y="666"/>
                    </a:lnTo>
                    <a:lnTo>
                      <a:pt x="78" y="666"/>
                    </a:lnTo>
                    <a:lnTo>
                      <a:pt x="84" y="666"/>
                    </a:lnTo>
                    <a:lnTo>
                      <a:pt x="78" y="666"/>
                    </a:lnTo>
                    <a:lnTo>
                      <a:pt x="78" y="660"/>
                    </a:lnTo>
                    <a:lnTo>
                      <a:pt x="78" y="654"/>
                    </a:lnTo>
                    <a:lnTo>
                      <a:pt x="78" y="648"/>
                    </a:lnTo>
                    <a:lnTo>
                      <a:pt x="72" y="648"/>
                    </a:lnTo>
                    <a:lnTo>
                      <a:pt x="72" y="642"/>
                    </a:lnTo>
                    <a:lnTo>
                      <a:pt x="72" y="636"/>
                    </a:lnTo>
                    <a:lnTo>
                      <a:pt x="72" y="630"/>
                    </a:lnTo>
                    <a:lnTo>
                      <a:pt x="72" y="624"/>
                    </a:lnTo>
                    <a:lnTo>
                      <a:pt x="72" y="630"/>
                    </a:lnTo>
                    <a:lnTo>
                      <a:pt x="72" y="624"/>
                    </a:lnTo>
                    <a:lnTo>
                      <a:pt x="72" y="618"/>
                    </a:lnTo>
                    <a:lnTo>
                      <a:pt x="72" y="624"/>
                    </a:lnTo>
                    <a:lnTo>
                      <a:pt x="72" y="618"/>
                    </a:lnTo>
                    <a:lnTo>
                      <a:pt x="72" y="612"/>
                    </a:lnTo>
                    <a:lnTo>
                      <a:pt x="72" y="606"/>
                    </a:lnTo>
                    <a:lnTo>
                      <a:pt x="66" y="606"/>
                    </a:lnTo>
                    <a:lnTo>
                      <a:pt x="66" y="600"/>
                    </a:lnTo>
                    <a:lnTo>
                      <a:pt x="66" y="606"/>
                    </a:lnTo>
                    <a:lnTo>
                      <a:pt x="72" y="606"/>
                    </a:lnTo>
                    <a:lnTo>
                      <a:pt x="72" y="600"/>
                    </a:lnTo>
                    <a:lnTo>
                      <a:pt x="66" y="600"/>
                    </a:lnTo>
                    <a:lnTo>
                      <a:pt x="72" y="600"/>
                    </a:lnTo>
                    <a:lnTo>
                      <a:pt x="72" y="594"/>
                    </a:lnTo>
                    <a:lnTo>
                      <a:pt x="72" y="600"/>
                    </a:lnTo>
                    <a:lnTo>
                      <a:pt x="72" y="594"/>
                    </a:lnTo>
                    <a:lnTo>
                      <a:pt x="66" y="594"/>
                    </a:lnTo>
                    <a:lnTo>
                      <a:pt x="66" y="600"/>
                    </a:lnTo>
                    <a:lnTo>
                      <a:pt x="66" y="594"/>
                    </a:lnTo>
                    <a:lnTo>
                      <a:pt x="66" y="588"/>
                    </a:lnTo>
                    <a:lnTo>
                      <a:pt x="66" y="582"/>
                    </a:lnTo>
                    <a:lnTo>
                      <a:pt x="60" y="582"/>
                    </a:lnTo>
                    <a:lnTo>
                      <a:pt x="60" y="576"/>
                    </a:lnTo>
                    <a:lnTo>
                      <a:pt x="60" y="570"/>
                    </a:lnTo>
                    <a:lnTo>
                      <a:pt x="60" y="564"/>
                    </a:lnTo>
                    <a:lnTo>
                      <a:pt x="54" y="564"/>
                    </a:lnTo>
                    <a:lnTo>
                      <a:pt x="54" y="558"/>
                    </a:lnTo>
                    <a:lnTo>
                      <a:pt x="48" y="558"/>
                    </a:lnTo>
                    <a:lnTo>
                      <a:pt x="48" y="552"/>
                    </a:lnTo>
                    <a:lnTo>
                      <a:pt x="54" y="552"/>
                    </a:lnTo>
                    <a:lnTo>
                      <a:pt x="48" y="552"/>
                    </a:lnTo>
                    <a:lnTo>
                      <a:pt x="48" y="546"/>
                    </a:lnTo>
                    <a:lnTo>
                      <a:pt x="48" y="540"/>
                    </a:lnTo>
                    <a:lnTo>
                      <a:pt x="42" y="534"/>
                    </a:lnTo>
                    <a:lnTo>
                      <a:pt x="42" y="528"/>
                    </a:lnTo>
                    <a:lnTo>
                      <a:pt x="42" y="522"/>
                    </a:lnTo>
                    <a:lnTo>
                      <a:pt x="36" y="522"/>
                    </a:lnTo>
                    <a:lnTo>
                      <a:pt x="42" y="522"/>
                    </a:lnTo>
                    <a:lnTo>
                      <a:pt x="36" y="522"/>
                    </a:lnTo>
                    <a:lnTo>
                      <a:pt x="42" y="522"/>
                    </a:lnTo>
                    <a:lnTo>
                      <a:pt x="48" y="522"/>
                    </a:lnTo>
                    <a:lnTo>
                      <a:pt x="48" y="528"/>
                    </a:lnTo>
                    <a:lnTo>
                      <a:pt x="48" y="522"/>
                    </a:lnTo>
                    <a:lnTo>
                      <a:pt x="42" y="522"/>
                    </a:lnTo>
                    <a:lnTo>
                      <a:pt x="48" y="522"/>
                    </a:lnTo>
                    <a:lnTo>
                      <a:pt x="42" y="522"/>
                    </a:lnTo>
                    <a:lnTo>
                      <a:pt x="42" y="516"/>
                    </a:lnTo>
                    <a:lnTo>
                      <a:pt x="36" y="516"/>
                    </a:lnTo>
                    <a:lnTo>
                      <a:pt x="42" y="516"/>
                    </a:lnTo>
                    <a:lnTo>
                      <a:pt x="36" y="516"/>
                    </a:lnTo>
                    <a:lnTo>
                      <a:pt x="36" y="522"/>
                    </a:lnTo>
                    <a:lnTo>
                      <a:pt x="36" y="516"/>
                    </a:lnTo>
                    <a:lnTo>
                      <a:pt x="36" y="510"/>
                    </a:lnTo>
                    <a:lnTo>
                      <a:pt x="36" y="504"/>
                    </a:lnTo>
                    <a:lnTo>
                      <a:pt x="36" y="498"/>
                    </a:lnTo>
                    <a:lnTo>
                      <a:pt x="30" y="498"/>
                    </a:lnTo>
                    <a:lnTo>
                      <a:pt x="30" y="492"/>
                    </a:lnTo>
                    <a:lnTo>
                      <a:pt x="36" y="492"/>
                    </a:lnTo>
                    <a:lnTo>
                      <a:pt x="30" y="492"/>
                    </a:lnTo>
                    <a:lnTo>
                      <a:pt x="36" y="498"/>
                    </a:lnTo>
                    <a:lnTo>
                      <a:pt x="36" y="492"/>
                    </a:lnTo>
                    <a:lnTo>
                      <a:pt x="36" y="486"/>
                    </a:lnTo>
                    <a:lnTo>
                      <a:pt x="30" y="486"/>
                    </a:lnTo>
                    <a:lnTo>
                      <a:pt x="30" y="492"/>
                    </a:lnTo>
                    <a:lnTo>
                      <a:pt x="24" y="492"/>
                    </a:lnTo>
                    <a:lnTo>
                      <a:pt x="24" y="486"/>
                    </a:lnTo>
                    <a:lnTo>
                      <a:pt x="24" y="480"/>
                    </a:lnTo>
                    <a:lnTo>
                      <a:pt x="24" y="486"/>
                    </a:lnTo>
                    <a:lnTo>
                      <a:pt x="24" y="480"/>
                    </a:lnTo>
                    <a:lnTo>
                      <a:pt x="30" y="480"/>
                    </a:lnTo>
                    <a:lnTo>
                      <a:pt x="24" y="480"/>
                    </a:lnTo>
                    <a:lnTo>
                      <a:pt x="18" y="480"/>
                    </a:lnTo>
                    <a:lnTo>
                      <a:pt x="24" y="480"/>
                    </a:lnTo>
                    <a:lnTo>
                      <a:pt x="24" y="474"/>
                    </a:lnTo>
                    <a:lnTo>
                      <a:pt x="18" y="468"/>
                    </a:lnTo>
                    <a:lnTo>
                      <a:pt x="18" y="462"/>
                    </a:lnTo>
                    <a:lnTo>
                      <a:pt x="12" y="462"/>
                    </a:lnTo>
                    <a:lnTo>
                      <a:pt x="12" y="468"/>
                    </a:lnTo>
                    <a:lnTo>
                      <a:pt x="12" y="462"/>
                    </a:lnTo>
                    <a:lnTo>
                      <a:pt x="12" y="468"/>
                    </a:lnTo>
                    <a:lnTo>
                      <a:pt x="12" y="462"/>
                    </a:lnTo>
                    <a:lnTo>
                      <a:pt x="12" y="468"/>
                    </a:lnTo>
                    <a:lnTo>
                      <a:pt x="12" y="462"/>
                    </a:lnTo>
                    <a:lnTo>
                      <a:pt x="6" y="462"/>
                    </a:lnTo>
                    <a:lnTo>
                      <a:pt x="0" y="462"/>
                    </a:lnTo>
                    <a:lnTo>
                      <a:pt x="0" y="456"/>
                    </a:lnTo>
                    <a:lnTo>
                      <a:pt x="0" y="462"/>
                    </a:lnTo>
                    <a:lnTo>
                      <a:pt x="0" y="456"/>
                    </a:lnTo>
                    <a:lnTo>
                      <a:pt x="6" y="456"/>
                    </a:lnTo>
                    <a:lnTo>
                      <a:pt x="0" y="456"/>
                    </a:lnTo>
                    <a:lnTo>
                      <a:pt x="0" y="450"/>
                    </a:lnTo>
                    <a:lnTo>
                      <a:pt x="6" y="450"/>
                    </a:lnTo>
                    <a:lnTo>
                      <a:pt x="6" y="456"/>
                    </a:lnTo>
                    <a:lnTo>
                      <a:pt x="12" y="456"/>
                    </a:lnTo>
                    <a:lnTo>
                      <a:pt x="6" y="456"/>
                    </a:lnTo>
                    <a:lnTo>
                      <a:pt x="6" y="450"/>
                    </a:lnTo>
                    <a:lnTo>
                      <a:pt x="0" y="450"/>
                    </a:lnTo>
                    <a:lnTo>
                      <a:pt x="0" y="444"/>
                    </a:lnTo>
                    <a:lnTo>
                      <a:pt x="6" y="444"/>
                    </a:lnTo>
                    <a:lnTo>
                      <a:pt x="6" y="438"/>
                    </a:lnTo>
                    <a:lnTo>
                      <a:pt x="12" y="438"/>
                    </a:lnTo>
                    <a:lnTo>
                      <a:pt x="12" y="444"/>
                    </a:lnTo>
                    <a:lnTo>
                      <a:pt x="12" y="438"/>
                    </a:lnTo>
                    <a:lnTo>
                      <a:pt x="18" y="438"/>
                    </a:lnTo>
                    <a:lnTo>
                      <a:pt x="18" y="432"/>
                    </a:lnTo>
                    <a:lnTo>
                      <a:pt x="24" y="432"/>
                    </a:lnTo>
                    <a:lnTo>
                      <a:pt x="24" y="426"/>
                    </a:lnTo>
                    <a:lnTo>
                      <a:pt x="24" y="420"/>
                    </a:lnTo>
                    <a:lnTo>
                      <a:pt x="18" y="420"/>
                    </a:lnTo>
                    <a:lnTo>
                      <a:pt x="24" y="420"/>
                    </a:lnTo>
                    <a:lnTo>
                      <a:pt x="24" y="414"/>
                    </a:lnTo>
                    <a:lnTo>
                      <a:pt x="24" y="408"/>
                    </a:lnTo>
                    <a:lnTo>
                      <a:pt x="24" y="402"/>
                    </a:lnTo>
                    <a:lnTo>
                      <a:pt x="18" y="402"/>
                    </a:lnTo>
                    <a:lnTo>
                      <a:pt x="18" y="396"/>
                    </a:lnTo>
                    <a:lnTo>
                      <a:pt x="24" y="396"/>
                    </a:lnTo>
                    <a:lnTo>
                      <a:pt x="30" y="396"/>
                    </a:lnTo>
                    <a:lnTo>
                      <a:pt x="24" y="396"/>
                    </a:lnTo>
                    <a:lnTo>
                      <a:pt x="24" y="390"/>
                    </a:lnTo>
                    <a:lnTo>
                      <a:pt x="24" y="384"/>
                    </a:lnTo>
                    <a:lnTo>
                      <a:pt x="18" y="384"/>
                    </a:lnTo>
                    <a:lnTo>
                      <a:pt x="24" y="384"/>
                    </a:lnTo>
                    <a:lnTo>
                      <a:pt x="18" y="384"/>
                    </a:lnTo>
                    <a:lnTo>
                      <a:pt x="18" y="378"/>
                    </a:lnTo>
                    <a:lnTo>
                      <a:pt x="24" y="378"/>
                    </a:lnTo>
                    <a:lnTo>
                      <a:pt x="18" y="378"/>
                    </a:lnTo>
                    <a:lnTo>
                      <a:pt x="18" y="372"/>
                    </a:lnTo>
                    <a:lnTo>
                      <a:pt x="24" y="366"/>
                    </a:lnTo>
                    <a:lnTo>
                      <a:pt x="18" y="366"/>
                    </a:lnTo>
                    <a:lnTo>
                      <a:pt x="18" y="360"/>
                    </a:lnTo>
                    <a:lnTo>
                      <a:pt x="18" y="354"/>
                    </a:lnTo>
                    <a:lnTo>
                      <a:pt x="18" y="348"/>
                    </a:lnTo>
                    <a:lnTo>
                      <a:pt x="12" y="348"/>
                    </a:lnTo>
                    <a:lnTo>
                      <a:pt x="12" y="354"/>
                    </a:lnTo>
                    <a:lnTo>
                      <a:pt x="12" y="348"/>
                    </a:lnTo>
                    <a:lnTo>
                      <a:pt x="6" y="348"/>
                    </a:lnTo>
                    <a:lnTo>
                      <a:pt x="6" y="354"/>
                    </a:lnTo>
                    <a:lnTo>
                      <a:pt x="0" y="354"/>
                    </a:lnTo>
                    <a:lnTo>
                      <a:pt x="0" y="348"/>
                    </a:lnTo>
                    <a:lnTo>
                      <a:pt x="6" y="348"/>
                    </a:lnTo>
                    <a:lnTo>
                      <a:pt x="6" y="342"/>
                    </a:lnTo>
                    <a:lnTo>
                      <a:pt x="12" y="342"/>
                    </a:lnTo>
                    <a:lnTo>
                      <a:pt x="18" y="342"/>
                    </a:lnTo>
                    <a:lnTo>
                      <a:pt x="24" y="342"/>
                    </a:lnTo>
                    <a:lnTo>
                      <a:pt x="24" y="336"/>
                    </a:lnTo>
                    <a:lnTo>
                      <a:pt x="30" y="336"/>
                    </a:lnTo>
                    <a:lnTo>
                      <a:pt x="30" y="330"/>
                    </a:lnTo>
                    <a:lnTo>
                      <a:pt x="36" y="330"/>
                    </a:lnTo>
                    <a:lnTo>
                      <a:pt x="30" y="330"/>
                    </a:lnTo>
                    <a:lnTo>
                      <a:pt x="30" y="324"/>
                    </a:lnTo>
                    <a:lnTo>
                      <a:pt x="36" y="324"/>
                    </a:lnTo>
                    <a:lnTo>
                      <a:pt x="36" y="318"/>
                    </a:lnTo>
                    <a:lnTo>
                      <a:pt x="36" y="312"/>
                    </a:lnTo>
                    <a:lnTo>
                      <a:pt x="42" y="312"/>
                    </a:lnTo>
                    <a:lnTo>
                      <a:pt x="42" y="306"/>
                    </a:lnTo>
                    <a:lnTo>
                      <a:pt x="42" y="300"/>
                    </a:lnTo>
                    <a:lnTo>
                      <a:pt x="36" y="300"/>
                    </a:lnTo>
                    <a:lnTo>
                      <a:pt x="36" y="306"/>
                    </a:lnTo>
                    <a:lnTo>
                      <a:pt x="30" y="306"/>
                    </a:lnTo>
                    <a:lnTo>
                      <a:pt x="30" y="300"/>
                    </a:lnTo>
                    <a:lnTo>
                      <a:pt x="36" y="300"/>
                    </a:lnTo>
                    <a:lnTo>
                      <a:pt x="30" y="300"/>
                    </a:lnTo>
                    <a:lnTo>
                      <a:pt x="36" y="300"/>
                    </a:lnTo>
                    <a:lnTo>
                      <a:pt x="36" y="294"/>
                    </a:lnTo>
                    <a:lnTo>
                      <a:pt x="42" y="294"/>
                    </a:lnTo>
                    <a:lnTo>
                      <a:pt x="42" y="300"/>
                    </a:lnTo>
                    <a:lnTo>
                      <a:pt x="48" y="300"/>
                    </a:lnTo>
                    <a:lnTo>
                      <a:pt x="48" y="294"/>
                    </a:lnTo>
                    <a:lnTo>
                      <a:pt x="48" y="288"/>
                    </a:lnTo>
                    <a:lnTo>
                      <a:pt x="48" y="282"/>
                    </a:lnTo>
                    <a:lnTo>
                      <a:pt x="48" y="276"/>
                    </a:lnTo>
                    <a:lnTo>
                      <a:pt x="42" y="276"/>
                    </a:lnTo>
                    <a:lnTo>
                      <a:pt x="36" y="276"/>
                    </a:lnTo>
                    <a:lnTo>
                      <a:pt x="36" y="270"/>
                    </a:lnTo>
                    <a:lnTo>
                      <a:pt x="30" y="270"/>
                    </a:lnTo>
                    <a:lnTo>
                      <a:pt x="30" y="276"/>
                    </a:lnTo>
                    <a:lnTo>
                      <a:pt x="24" y="276"/>
                    </a:lnTo>
                    <a:lnTo>
                      <a:pt x="24" y="270"/>
                    </a:lnTo>
                    <a:lnTo>
                      <a:pt x="30" y="270"/>
                    </a:lnTo>
                    <a:lnTo>
                      <a:pt x="24" y="270"/>
                    </a:lnTo>
                    <a:lnTo>
                      <a:pt x="30" y="270"/>
                    </a:lnTo>
                    <a:lnTo>
                      <a:pt x="24" y="270"/>
                    </a:lnTo>
                    <a:lnTo>
                      <a:pt x="24" y="264"/>
                    </a:lnTo>
                    <a:lnTo>
                      <a:pt x="30" y="264"/>
                    </a:lnTo>
                    <a:lnTo>
                      <a:pt x="24" y="264"/>
                    </a:lnTo>
                    <a:lnTo>
                      <a:pt x="30" y="264"/>
                    </a:lnTo>
                    <a:lnTo>
                      <a:pt x="24" y="264"/>
                    </a:lnTo>
                    <a:lnTo>
                      <a:pt x="30" y="258"/>
                    </a:lnTo>
                    <a:lnTo>
                      <a:pt x="30" y="264"/>
                    </a:lnTo>
                    <a:lnTo>
                      <a:pt x="30" y="258"/>
                    </a:lnTo>
                    <a:lnTo>
                      <a:pt x="30" y="252"/>
                    </a:lnTo>
                    <a:lnTo>
                      <a:pt x="24" y="252"/>
                    </a:lnTo>
                    <a:lnTo>
                      <a:pt x="24" y="246"/>
                    </a:lnTo>
                    <a:lnTo>
                      <a:pt x="18" y="246"/>
                    </a:lnTo>
                    <a:lnTo>
                      <a:pt x="24" y="246"/>
                    </a:lnTo>
                    <a:lnTo>
                      <a:pt x="18" y="246"/>
                    </a:lnTo>
                    <a:lnTo>
                      <a:pt x="18" y="240"/>
                    </a:lnTo>
                    <a:lnTo>
                      <a:pt x="24" y="240"/>
                    </a:lnTo>
                    <a:lnTo>
                      <a:pt x="24" y="246"/>
                    </a:lnTo>
                    <a:lnTo>
                      <a:pt x="24" y="240"/>
                    </a:lnTo>
                    <a:lnTo>
                      <a:pt x="30" y="240"/>
                    </a:lnTo>
                    <a:lnTo>
                      <a:pt x="36" y="240"/>
                    </a:lnTo>
                    <a:lnTo>
                      <a:pt x="36" y="234"/>
                    </a:lnTo>
                    <a:lnTo>
                      <a:pt x="42" y="234"/>
                    </a:lnTo>
                    <a:lnTo>
                      <a:pt x="42" y="228"/>
                    </a:lnTo>
                    <a:lnTo>
                      <a:pt x="48" y="228"/>
                    </a:lnTo>
                    <a:lnTo>
                      <a:pt x="54" y="228"/>
                    </a:lnTo>
                    <a:lnTo>
                      <a:pt x="54" y="234"/>
                    </a:lnTo>
                    <a:lnTo>
                      <a:pt x="54" y="240"/>
                    </a:lnTo>
                    <a:lnTo>
                      <a:pt x="60" y="240"/>
                    </a:lnTo>
                    <a:lnTo>
                      <a:pt x="60" y="234"/>
                    </a:lnTo>
                    <a:lnTo>
                      <a:pt x="66" y="234"/>
                    </a:lnTo>
                    <a:lnTo>
                      <a:pt x="72" y="234"/>
                    </a:lnTo>
                    <a:lnTo>
                      <a:pt x="72" y="228"/>
                    </a:lnTo>
                    <a:lnTo>
                      <a:pt x="66" y="228"/>
                    </a:lnTo>
                    <a:lnTo>
                      <a:pt x="66" y="222"/>
                    </a:lnTo>
                    <a:lnTo>
                      <a:pt x="72" y="222"/>
                    </a:lnTo>
                    <a:lnTo>
                      <a:pt x="72" y="216"/>
                    </a:lnTo>
                    <a:lnTo>
                      <a:pt x="72" y="222"/>
                    </a:lnTo>
                    <a:lnTo>
                      <a:pt x="78" y="216"/>
                    </a:lnTo>
                    <a:lnTo>
                      <a:pt x="84" y="216"/>
                    </a:lnTo>
                    <a:lnTo>
                      <a:pt x="90" y="216"/>
                    </a:lnTo>
                    <a:lnTo>
                      <a:pt x="90" y="210"/>
                    </a:lnTo>
                    <a:lnTo>
                      <a:pt x="96" y="210"/>
                    </a:lnTo>
                    <a:lnTo>
                      <a:pt x="96" y="204"/>
                    </a:lnTo>
                    <a:lnTo>
                      <a:pt x="96" y="198"/>
                    </a:lnTo>
                    <a:lnTo>
                      <a:pt x="102" y="198"/>
                    </a:lnTo>
                    <a:lnTo>
                      <a:pt x="102" y="192"/>
                    </a:lnTo>
                    <a:lnTo>
                      <a:pt x="102" y="198"/>
                    </a:lnTo>
                    <a:lnTo>
                      <a:pt x="102" y="192"/>
                    </a:lnTo>
                    <a:lnTo>
                      <a:pt x="96" y="192"/>
                    </a:lnTo>
                    <a:lnTo>
                      <a:pt x="102" y="192"/>
                    </a:lnTo>
                    <a:lnTo>
                      <a:pt x="108" y="192"/>
                    </a:lnTo>
                    <a:lnTo>
                      <a:pt x="114" y="192"/>
                    </a:lnTo>
                    <a:lnTo>
                      <a:pt x="120" y="192"/>
                    </a:lnTo>
                    <a:lnTo>
                      <a:pt x="120" y="198"/>
                    </a:lnTo>
                    <a:lnTo>
                      <a:pt x="126" y="198"/>
                    </a:lnTo>
                    <a:lnTo>
                      <a:pt x="132" y="198"/>
                    </a:lnTo>
                    <a:lnTo>
                      <a:pt x="132" y="204"/>
                    </a:lnTo>
                    <a:lnTo>
                      <a:pt x="126" y="204"/>
                    </a:lnTo>
                    <a:lnTo>
                      <a:pt x="132" y="204"/>
                    </a:lnTo>
                    <a:lnTo>
                      <a:pt x="138" y="204"/>
                    </a:lnTo>
                    <a:lnTo>
                      <a:pt x="138" y="198"/>
                    </a:lnTo>
                    <a:lnTo>
                      <a:pt x="144" y="198"/>
                    </a:lnTo>
                    <a:lnTo>
                      <a:pt x="144" y="192"/>
                    </a:lnTo>
                    <a:lnTo>
                      <a:pt x="138" y="192"/>
                    </a:lnTo>
                    <a:lnTo>
                      <a:pt x="138" y="186"/>
                    </a:lnTo>
                    <a:lnTo>
                      <a:pt x="144" y="186"/>
                    </a:lnTo>
                    <a:lnTo>
                      <a:pt x="144" y="192"/>
                    </a:lnTo>
                    <a:lnTo>
                      <a:pt x="150" y="192"/>
                    </a:lnTo>
                    <a:lnTo>
                      <a:pt x="150" y="186"/>
                    </a:lnTo>
                    <a:lnTo>
                      <a:pt x="156" y="186"/>
                    </a:lnTo>
                    <a:lnTo>
                      <a:pt x="162" y="186"/>
                    </a:lnTo>
                    <a:lnTo>
                      <a:pt x="168" y="186"/>
                    </a:lnTo>
                    <a:lnTo>
                      <a:pt x="168" y="192"/>
                    </a:lnTo>
                    <a:lnTo>
                      <a:pt x="168" y="186"/>
                    </a:lnTo>
                    <a:lnTo>
                      <a:pt x="174" y="186"/>
                    </a:lnTo>
                    <a:lnTo>
                      <a:pt x="174" y="180"/>
                    </a:lnTo>
                    <a:lnTo>
                      <a:pt x="180" y="180"/>
                    </a:lnTo>
                    <a:lnTo>
                      <a:pt x="180" y="186"/>
                    </a:lnTo>
                    <a:lnTo>
                      <a:pt x="186" y="186"/>
                    </a:lnTo>
                    <a:lnTo>
                      <a:pt x="186" y="192"/>
                    </a:lnTo>
                    <a:lnTo>
                      <a:pt x="186" y="186"/>
                    </a:lnTo>
                    <a:lnTo>
                      <a:pt x="186" y="180"/>
                    </a:lnTo>
                    <a:lnTo>
                      <a:pt x="186" y="174"/>
                    </a:lnTo>
                    <a:lnTo>
                      <a:pt x="186" y="168"/>
                    </a:lnTo>
                    <a:lnTo>
                      <a:pt x="186" y="162"/>
                    </a:lnTo>
                    <a:lnTo>
                      <a:pt x="180" y="162"/>
                    </a:lnTo>
                    <a:lnTo>
                      <a:pt x="186" y="162"/>
                    </a:lnTo>
                    <a:lnTo>
                      <a:pt x="186" y="156"/>
                    </a:lnTo>
                    <a:lnTo>
                      <a:pt x="186" y="150"/>
                    </a:lnTo>
                    <a:lnTo>
                      <a:pt x="180" y="150"/>
                    </a:lnTo>
                    <a:lnTo>
                      <a:pt x="180" y="144"/>
                    </a:lnTo>
                    <a:lnTo>
                      <a:pt x="180" y="138"/>
                    </a:lnTo>
                    <a:lnTo>
                      <a:pt x="174" y="138"/>
                    </a:lnTo>
                    <a:lnTo>
                      <a:pt x="180" y="138"/>
                    </a:lnTo>
                    <a:lnTo>
                      <a:pt x="180" y="132"/>
                    </a:lnTo>
                    <a:lnTo>
                      <a:pt x="180" y="126"/>
                    </a:lnTo>
                    <a:lnTo>
                      <a:pt x="186" y="126"/>
                    </a:lnTo>
                    <a:lnTo>
                      <a:pt x="186" y="132"/>
                    </a:lnTo>
                    <a:lnTo>
                      <a:pt x="192" y="132"/>
                    </a:lnTo>
                    <a:lnTo>
                      <a:pt x="198" y="132"/>
                    </a:lnTo>
                    <a:lnTo>
                      <a:pt x="198" y="138"/>
                    </a:lnTo>
                    <a:lnTo>
                      <a:pt x="204" y="138"/>
                    </a:lnTo>
                    <a:lnTo>
                      <a:pt x="204" y="132"/>
                    </a:lnTo>
                    <a:lnTo>
                      <a:pt x="210" y="132"/>
                    </a:lnTo>
                    <a:lnTo>
                      <a:pt x="210" y="138"/>
                    </a:lnTo>
                    <a:lnTo>
                      <a:pt x="210" y="132"/>
                    </a:lnTo>
                    <a:lnTo>
                      <a:pt x="216" y="132"/>
                    </a:lnTo>
                    <a:lnTo>
                      <a:pt x="216" y="138"/>
                    </a:lnTo>
                    <a:lnTo>
                      <a:pt x="216" y="144"/>
                    </a:lnTo>
                    <a:lnTo>
                      <a:pt x="222" y="144"/>
                    </a:lnTo>
                    <a:lnTo>
                      <a:pt x="228" y="144"/>
                    </a:lnTo>
                    <a:lnTo>
                      <a:pt x="228" y="138"/>
                    </a:lnTo>
                    <a:lnTo>
                      <a:pt x="234" y="138"/>
                    </a:lnTo>
                    <a:lnTo>
                      <a:pt x="234" y="144"/>
                    </a:lnTo>
                    <a:lnTo>
                      <a:pt x="240" y="144"/>
                    </a:lnTo>
                    <a:lnTo>
                      <a:pt x="240" y="138"/>
                    </a:lnTo>
                    <a:lnTo>
                      <a:pt x="246" y="138"/>
                    </a:lnTo>
                    <a:lnTo>
                      <a:pt x="252" y="138"/>
                    </a:lnTo>
                    <a:lnTo>
                      <a:pt x="258" y="138"/>
                    </a:lnTo>
                    <a:lnTo>
                      <a:pt x="258" y="144"/>
                    </a:lnTo>
                    <a:lnTo>
                      <a:pt x="264" y="144"/>
                    </a:lnTo>
                    <a:lnTo>
                      <a:pt x="264" y="138"/>
                    </a:lnTo>
                    <a:lnTo>
                      <a:pt x="270" y="138"/>
                    </a:lnTo>
                    <a:lnTo>
                      <a:pt x="270" y="144"/>
                    </a:lnTo>
                    <a:lnTo>
                      <a:pt x="276" y="144"/>
                    </a:lnTo>
                    <a:lnTo>
                      <a:pt x="276" y="138"/>
                    </a:lnTo>
                    <a:lnTo>
                      <a:pt x="270" y="138"/>
                    </a:lnTo>
                    <a:lnTo>
                      <a:pt x="270" y="132"/>
                    </a:lnTo>
                    <a:lnTo>
                      <a:pt x="264" y="132"/>
                    </a:lnTo>
                    <a:lnTo>
                      <a:pt x="264" y="126"/>
                    </a:lnTo>
                    <a:lnTo>
                      <a:pt x="270" y="126"/>
                    </a:lnTo>
                    <a:lnTo>
                      <a:pt x="270" y="120"/>
                    </a:lnTo>
                    <a:lnTo>
                      <a:pt x="270" y="114"/>
                    </a:lnTo>
                    <a:lnTo>
                      <a:pt x="264" y="114"/>
                    </a:lnTo>
                    <a:lnTo>
                      <a:pt x="264" y="108"/>
                    </a:lnTo>
                    <a:lnTo>
                      <a:pt x="270" y="108"/>
                    </a:lnTo>
                    <a:lnTo>
                      <a:pt x="276" y="108"/>
                    </a:lnTo>
                    <a:lnTo>
                      <a:pt x="276" y="102"/>
                    </a:lnTo>
                    <a:lnTo>
                      <a:pt x="282" y="102"/>
                    </a:lnTo>
                    <a:lnTo>
                      <a:pt x="282" y="96"/>
                    </a:lnTo>
                    <a:lnTo>
                      <a:pt x="288" y="96"/>
                    </a:lnTo>
                    <a:lnTo>
                      <a:pt x="288" y="90"/>
                    </a:lnTo>
                    <a:lnTo>
                      <a:pt x="294" y="90"/>
                    </a:lnTo>
                    <a:lnTo>
                      <a:pt x="294" y="96"/>
                    </a:lnTo>
                    <a:lnTo>
                      <a:pt x="300" y="96"/>
                    </a:lnTo>
                    <a:lnTo>
                      <a:pt x="300" y="90"/>
                    </a:lnTo>
                    <a:lnTo>
                      <a:pt x="306" y="90"/>
                    </a:lnTo>
                    <a:lnTo>
                      <a:pt x="306" y="96"/>
                    </a:lnTo>
                    <a:lnTo>
                      <a:pt x="312" y="96"/>
                    </a:lnTo>
                    <a:lnTo>
                      <a:pt x="312" y="90"/>
                    </a:lnTo>
                    <a:lnTo>
                      <a:pt x="312" y="84"/>
                    </a:lnTo>
                    <a:lnTo>
                      <a:pt x="318" y="84"/>
                    </a:lnTo>
                    <a:lnTo>
                      <a:pt x="324" y="78"/>
                    </a:lnTo>
                    <a:lnTo>
                      <a:pt x="318" y="78"/>
                    </a:lnTo>
                    <a:lnTo>
                      <a:pt x="312" y="78"/>
                    </a:lnTo>
                    <a:lnTo>
                      <a:pt x="318" y="72"/>
                    </a:lnTo>
                    <a:lnTo>
                      <a:pt x="324" y="72"/>
                    </a:lnTo>
                    <a:lnTo>
                      <a:pt x="330" y="72"/>
                    </a:lnTo>
                    <a:lnTo>
                      <a:pt x="336" y="72"/>
                    </a:lnTo>
                    <a:lnTo>
                      <a:pt x="336" y="66"/>
                    </a:lnTo>
                    <a:lnTo>
                      <a:pt x="336" y="72"/>
                    </a:lnTo>
                    <a:lnTo>
                      <a:pt x="336" y="66"/>
                    </a:lnTo>
                    <a:lnTo>
                      <a:pt x="336" y="60"/>
                    </a:lnTo>
                    <a:lnTo>
                      <a:pt x="336" y="54"/>
                    </a:lnTo>
                    <a:lnTo>
                      <a:pt x="342" y="54"/>
                    </a:lnTo>
                    <a:lnTo>
                      <a:pt x="342" y="48"/>
                    </a:lnTo>
                    <a:lnTo>
                      <a:pt x="342" y="42"/>
                    </a:lnTo>
                    <a:lnTo>
                      <a:pt x="336" y="42"/>
                    </a:lnTo>
                    <a:lnTo>
                      <a:pt x="336" y="36"/>
                    </a:lnTo>
                    <a:lnTo>
                      <a:pt x="342" y="36"/>
                    </a:lnTo>
                    <a:lnTo>
                      <a:pt x="348" y="36"/>
                    </a:lnTo>
                    <a:lnTo>
                      <a:pt x="354" y="36"/>
                    </a:lnTo>
                    <a:lnTo>
                      <a:pt x="354" y="42"/>
                    </a:lnTo>
                    <a:lnTo>
                      <a:pt x="360" y="42"/>
                    </a:lnTo>
                    <a:lnTo>
                      <a:pt x="360" y="36"/>
                    </a:lnTo>
                    <a:lnTo>
                      <a:pt x="360" y="42"/>
                    </a:lnTo>
                    <a:lnTo>
                      <a:pt x="360" y="36"/>
                    </a:lnTo>
                    <a:lnTo>
                      <a:pt x="360" y="30"/>
                    </a:lnTo>
                    <a:lnTo>
                      <a:pt x="366" y="30"/>
                    </a:lnTo>
                    <a:lnTo>
                      <a:pt x="366" y="24"/>
                    </a:lnTo>
                    <a:lnTo>
                      <a:pt x="372" y="24"/>
                    </a:lnTo>
                    <a:lnTo>
                      <a:pt x="372" y="18"/>
                    </a:lnTo>
                    <a:lnTo>
                      <a:pt x="372" y="12"/>
                    </a:lnTo>
                    <a:lnTo>
                      <a:pt x="378" y="12"/>
                    </a:lnTo>
                    <a:lnTo>
                      <a:pt x="372" y="12"/>
                    </a:lnTo>
                    <a:lnTo>
                      <a:pt x="372" y="6"/>
                    </a:lnTo>
                    <a:lnTo>
                      <a:pt x="378" y="6"/>
                    </a:lnTo>
                    <a:lnTo>
                      <a:pt x="384" y="6"/>
                    </a:lnTo>
                    <a:lnTo>
                      <a:pt x="390" y="6"/>
                    </a:lnTo>
                    <a:lnTo>
                      <a:pt x="390" y="0"/>
                    </a:lnTo>
                    <a:lnTo>
                      <a:pt x="390" y="6"/>
                    </a:lnTo>
                    <a:lnTo>
                      <a:pt x="396" y="6"/>
                    </a:lnTo>
                    <a:lnTo>
                      <a:pt x="396" y="12"/>
                    </a:lnTo>
                    <a:lnTo>
                      <a:pt x="396" y="18"/>
                    </a:lnTo>
                    <a:lnTo>
                      <a:pt x="390" y="18"/>
                    </a:lnTo>
                    <a:lnTo>
                      <a:pt x="396" y="18"/>
                    </a:lnTo>
                    <a:lnTo>
                      <a:pt x="396" y="24"/>
                    </a:lnTo>
                    <a:lnTo>
                      <a:pt x="402" y="24"/>
                    </a:lnTo>
                    <a:lnTo>
                      <a:pt x="408" y="24"/>
                    </a:lnTo>
                    <a:lnTo>
                      <a:pt x="408" y="18"/>
                    </a:lnTo>
                    <a:lnTo>
                      <a:pt x="408" y="24"/>
                    </a:lnTo>
                    <a:lnTo>
                      <a:pt x="414" y="24"/>
                    </a:lnTo>
                    <a:close/>
                    <a:moveTo>
                      <a:pt x="18" y="330"/>
                    </a:moveTo>
                    <a:lnTo>
                      <a:pt x="24" y="330"/>
                    </a:lnTo>
                    <a:lnTo>
                      <a:pt x="24" y="336"/>
                    </a:lnTo>
                    <a:lnTo>
                      <a:pt x="18" y="336"/>
                    </a:lnTo>
                    <a:lnTo>
                      <a:pt x="18" y="330"/>
                    </a:lnTo>
                    <a:close/>
                    <a:moveTo>
                      <a:pt x="84" y="696"/>
                    </a:moveTo>
                    <a:lnTo>
                      <a:pt x="90" y="696"/>
                    </a:lnTo>
                    <a:lnTo>
                      <a:pt x="84" y="696"/>
                    </a:lnTo>
                    <a:close/>
                    <a:moveTo>
                      <a:pt x="0" y="444"/>
                    </a:moveTo>
                    <a:lnTo>
                      <a:pt x="0" y="450"/>
                    </a:lnTo>
                    <a:lnTo>
                      <a:pt x="1" y="450"/>
                    </a:lnTo>
                    <a:lnTo>
                      <a:pt x="0" y="444"/>
                    </a:lnTo>
                    <a:close/>
                    <a:moveTo>
                      <a:pt x="18" y="474"/>
                    </a:moveTo>
                    <a:lnTo>
                      <a:pt x="24" y="474"/>
                    </a:lnTo>
                    <a:lnTo>
                      <a:pt x="18" y="474"/>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US" sz="800" dirty="0">
                  <a:solidFill>
                    <a:srgbClr val="000000"/>
                  </a:solidFill>
                </a:endParaRPr>
              </a:p>
            </p:txBody>
          </p:sp>
          <p:sp>
            <p:nvSpPr>
              <p:cNvPr id="61" name="Freeform 67"/>
              <p:cNvSpPr>
                <a:spLocks noEditPoints="1"/>
              </p:cNvSpPr>
              <p:nvPr/>
            </p:nvSpPr>
            <p:spPr bwMode="gray">
              <a:xfrm>
                <a:off x="3197673" y="4491377"/>
                <a:ext cx="1042225" cy="924946"/>
              </a:xfrm>
              <a:custGeom>
                <a:avLst/>
                <a:gdLst>
                  <a:gd name="T0" fmla="*/ 522 w 810"/>
                  <a:gd name="T1" fmla="*/ 714 h 726"/>
                  <a:gd name="T2" fmla="*/ 516 w 810"/>
                  <a:gd name="T3" fmla="*/ 720 h 726"/>
                  <a:gd name="T4" fmla="*/ 516 w 810"/>
                  <a:gd name="T5" fmla="*/ 720 h 726"/>
                  <a:gd name="T6" fmla="*/ 516 w 810"/>
                  <a:gd name="T7" fmla="*/ 720 h 726"/>
                  <a:gd name="T8" fmla="*/ 510 w 810"/>
                  <a:gd name="T9" fmla="*/ 714 h 726"/>
                  <a:gd name="T10" fmla="*/ 504 w 810"/>
                  <a:gd name="T11" fmla="*/ 714 h 726"/>
                  <a:gd name="T12" fmla="*/ 504 w 810"/>
                  <a:gd name="T13" fmla="*/ 714 h 726"/>
                  <a:gd name="T14" fmla="*/ 504 w 810"/>
                  <a:gd name="T15" fmla="*/ 714 h 726"/>
                  <a:gd name="T16" fmla="*/ 510 w 810"/>
                  <a:gd name="T17" fmla="*/ 708 h 726"/>
                  <a:gd name="T18" fmla="*/ 510 w 810"/>
                  <a:gd name="T19" fmla="*/ 708 h 726"/>
                  <a:gd name="T20" fmla="*/ 522 w 810"/>
                  <a:gd name="T21" fmla="*/ 708 h 726"/>
                  <a:gd name="T22" fmla="*/ 510 w 810"/>
                  <a:gd name="T23" fmla="*/ 600 h 726"/>
                  <a:gd name="T24" fmla="*/ 510 w 810"/>
                  <a:gd name="T25" fmla="*/ 600 h 726"/>
                  <a:gd name="T26" fmla="*/ 510 w 810"/>
                  <a:gd name="T27" fmla="*/ 600 h 726"/>
                  <a:gd name="T28" fmla="*/ 504 w 810"/>
                  <a:gd name="T29" fmla="*/ 606 h 726"/>
                  <a:gd name="T30" fmla="*/ 498 w 810"/>
                  <a:gd name="T31" fmla="*/ 600 h 726"/>
                  <a:gd name="T32" fmla="*/ 504 w 810"/>
                  <a:gd name="T33" fmla="*/ 594 h 726"/>
                  <a:gd name="T34" fmla="*/ 504 w 810"/>
                  <a:gd name="T35" fmla="*/ 594 h 726"/>
                  <a:gd name="T36" fmla="*/ 498 w 810"/>
                  <a:gd name="T37" fmla="*/ 588 h 726"/>
                  <a:gd name="T38" fmla="*/ 504 w 810"/>
                  <a:gd name="T39" fmla="*/ 582 h 726"/>
                  <a:gd name="T40" fmla="*/ 510 w 810"/>
                  <a:gd name="T41" fmla="*/ 588 h 726"/>
                  <a:gd name="T42" fmla="*/ 504 w 810"/>
                  <a:gd name="T43" fmla="*/ 594 h 726"/>
                  <a:gd name="T44" fmla="*/ 510 w 810"/>
                  <a:gd name="T45" fmla="*/ 588 h 726"/>
                  <a:gd name="T46" fmla="*/ 516 w 810"/>
                  <a:gd name="T47" fmla="*/ 594 h 726"/>
                  <a:gd name="T48" fmla="*/ 510 w 810"/>
                  <a:gd name="T49" fmla="*/ 600 h 726"/>
                  <a:gd name="T50" fmla="*/ 516 w 810"/>
                  <a:gd name="T51" fmla="*/ 606 h 726"/>
                  <a:gd name="T52" fmla="*/ 510 w 810"/>
                  <a:gd name="T53" fmla="*/ 600 h 726"/>
                  <a:gd name="T54" fmla="*/ 510 w 810"/>
                  <a:gd name="T55" fmla="*/ 594 h 726"/>
                  <a:gd name="T56" fmla="*/ 510 w 810"/>
                  <a:gd name="T57" fmla="*/ 606 h 726"/>
                  <a:gd name="T58" fmla="*/ 504 w 810"/>
                  <a:gd name="T59" fmla="*/ 612 h 726"/>
                  <a:gd name="T60" fmla="*/ 510 w 810"/>
                  <a:gd name="T61" fmla="*/ 606 h 726"/>
                  <a:gd name="T62" fmla="*/ 492 w 810"/>
                  <a:gd name="T63" fmla="*/ 594 h 726"/>
                  <a:gd name="T64" fmla="*/ 492 w 810"/>
                  <a:gd name="T65" fmla="*/ 594 h 726"/>
                  <a:gd name="T66" fmla="*/ 492 w 810"/>
                  <a:gd name="T67" fmla="*/ 582 h 726"/>
                  <a:gd name="T68" fmla="*/ 492 w 810"/>
                  <a:gd name="T69" fmla="*/ 582 h 726"/>
                  <a:gd name="T70" fmla="*/ 492 w 810"/>
                  <a:gd name="T71" fmla="*/ 594 h 726"/>
                  <a:gd name="T72" fmla="*/ 492 w 810"/>
                  <a:gd name="T73" fmla="*/ 594 h 726"/>
                  <a:gd name="T74" fmla="*/ 798 w 810"/>
                  <a:gd name="T75" fmla="*/ 6 h 726"/>
                  <a:gd name="T76" fmla="*/ 804 w 810"/>
                  <a:gd name="T77" fmla="*/ 0 h 726"/>
                  <a:gd name="T78" fmla="*/ 810 w 810"/>
                  <a:gd name="T79" fmla="*/ 6 h 726"/>
                  <a:gd name="T80" fmla="*/ 810 w 810"/>
                  <a:gd name="T81" fmla="*/ 6 h 726"/>
                  <a:gd name="T82" fmla="*/ 498 w 810"/>
                  <a:gd name="T83" fmla="*/ 582 h 726"/>
                  <a:gd name="T84" fmla="*/ 504 w 810"/>
                  <a:gd name="T85" fmla="*/ 588 h 726"/>
                  <a:gd name="T86" fmla="*/ 498 w 810"/>
                  <a:gd name="T87" fmla="*/ 582 h 726"/>
                  <a:gd name="T88" fmla="*/ 498 w 810"/>
                  <a:gd name="T89" fmla="*/ 600 h 726"/>
                  <a:gd name="T90" fmla="*/ 492 w 810"/>
                  <a:gd name="T91" fmla="*/ 606 h 726"/>
                  <a:gd name="T92" fmla="*/ 516 w 810"/>
                  <a:gd name="T93" fmla="*/ 576 h 726"/>
                  <a:gd name="T94" fmla="*/ 522 w 810"/>
                  <a:gd name="T95" fmla="*/ 582 h 726"/>
                  <a:gd name="T96" fmla="*/ 516 w 810"/>
                  <a:gd name="T97" fmla="*/ 576 h 726"/>
                  <a:gd name="T98" fmla="*/ 6 w 810"/>
                  <a:gd name="T99" fmla="*/ 612 h 726"/>
                  <a:gd name="T100" fmla="*/ 0 w 810"/>
                  <a:gd name="T101" fmla="*/ 618 h 726"/>
                  <a:gd name="T102" fmla="*/ 492 w 810"/>
                  <a:gd name="T103" fmla="*/ 606 h 726"/>
                  <a:gd name="T104" fmla="*/ 492 w 810"/>
                  <a:gd name="T105" fmla="*/ 606 h 726"/>
                  <a:gd name="T106" fmla="*/ 498 w 810"/>
                  <a:gd name="T107" fmla="*/ 594 h 726"/>
                  <a:gd name="T108" fmla="*/ 498 w 810"/>
                  <a:gd name="T109" fmla="*/ 588 h 726"/>
                  <a:gd name="T110" fmla="*/ 498 w 810"/>
                  <a:gd name="T111" fmla="*/ 612 h 726"/>
                  <a:gd name="T112" fmla="*/ 498 w 810"/>
                  <a:gd name="T113" fmla="*/ 606 h 726"/>
                  <a:gd name="T114" fmla="*/ 516 w 810"/>
                  <a:gd name="T115" fmla="*/ 582 h 726"/>
                  <a:gd name="T116" fmla="*/ 0 w 810"/>
                  <a:gd name="T117" fmla="*/ 618 h 726"/>
                  <a:gd name="T118" fmla="*/ 6 w 810"/>
                  <a:gd name="T119" fmla="*/ 624 h 726"/>
                  <a:gd name="T120" fmla="*/ 0 w 810"/>
                  <a:gd name="T121" fmla="*/ 618 h 726"/>
                  <a:gd name="T122" fmla="*/ 504 w 810"/>
                  <a:gd name="T123" fmla="*/ 600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10" h="726">
                    <a:moveTo>
                      <a:pt x="522" y="708"/>
                    </a:moveTo>
                    <a:lnTo>
                      <a:pt x="522" y="714"/>
                    </a:lnTo>
                    <a:lnTo>
                      <a:pt x="516" y="714"/>
                    </a:lnTo>
                    <a:lnTo>
                      <a:pt x="516" y="720"/>
                    </a:lnTo>
                    <a:lnTo>
                      <a:pt x="516" y="726"/>
                    </a:lnTo>
                    <a:lnTo>
                      <a:pt x="516" y="720"/>
                    </a:lnTo>
                    <a:lnTo>
                      <a:pt x="516" y="726"/>
                    </a:lnTo>
                    <a:lnTo>
                      <a:pt x="516" y="720"/>
                    </a:lnTo>
                    <a:lnTo>
                      <a:pt x="510" y="720"/>
                    </a:lnTo>
                    <a:lnTo>
                      <a:pt x="510" y="714"/>
                    </a:lnTo>
                    <a:lnTo>
                      <a:pt x="504" y="720"/>
                    </a:lnTo>
                    <a:lnTo>
                      <a:pt x="504" y="714"/>
                    </a:lnTo>
                    <a:lnTo>
                      <a:pt x="504" y="708"/>
                    </a:lnTo>
                    <a:lnTo>
                      <a:pt x="504" y="714"/>
                    </a:lnTo>
                    <a:lnTo>
                      <a:pt x="504" y="708"/>
                    </a:lnTo>
                    <a:lnTo>
                      <a:pt x="504" y="714"/>
                    </a:lnTo>
                    <a:lnTo>
                      <a:pt x="510" y="714"/>
                    </a:lnTo>
                    <a:lnTo>
                      <a:pt x="510" y="708"/>
                    </a:lnTo>
                    <a:lnTo>
                      <a:pt x="504" y="708"/>
                    </a:lnTo>
                    <a:lnTo>
                      <a:pt x="510" y="708"/>
                    </a:lnTo>
                    <a:lnTo>
                      <a:pt x="516" y="708"/>
                    </a:lnTo>
                    <a:lnTo>
                      <a:pt x="522" y="708"/>
                    </a:lnTo>
                    <a:close/>
                    <a:moveTo>
                      <a:pt x="516" y="606"/>
                    </a:moveTo>
                    <a:lnTo>
                      <a:pt x="510" y="600"/>
                    </a:lnTo>
                    <a:lnTo>
                      <a:pt x="510" y="606"/>
                    </a:lnTo>
                    <a:lnTo>
                      <a:pt x="510" y="600"/>
                    </a:lnTo>
                    <a:lnTo>
                      <a:pt x="504" y="600"/>
                    </a:lnTo>
                    <a:lnTo>
                      <a:pt x="510" y="600"/>
                    </a:lnTo>
                    <a:lnTo>
                      <a:pt x="510" y="606"/>
                    </a:lnTo>
                    <a:lnTo>
                      <a:pt x="504" y="606"/>
                    </a:lnTo>
                    <a:lnTo>
                      <a:pt x="504" y="600"/>
                    </a:lnTo>
                    <a:lnTo>
                      <a:pt x="498" y="600"/>
                    </a:lnTo>
                    <a:lnTo>
                      <a:pt x="498" y="594"/>
                    </a:lnTo>
                    <a:lnTo>
                      <a:pt x="504" y="594"/>
                    </a:lnTo>
                    <a:lnTo>
                      <a:pt x="504" y="600"/>
                    </a:lnTo>
                    <a:lnTo>
                      <a:pt x="504" y="594"/>
                    </a:lnTo>
                    <a:lnTo>
                      <a:pt x="498" y="594"/>
                    </a:lnTo>
                    <a:lnTo>
                      <a:pt x="498" y="588"/>
                    </a:lnTo>
                    <a:lnTo>
                      <a:pt x="504" y="588"/>
                    </a:lnTo>
                    <a:lnTo>
                      <a:pt x="504" y="582"/>
                    </a:lnTo>
                    <a:lnTo>
                      <a:pt x="510" y="582"/>
                    </a:lnTo>
                    <a:lnTo>
                      <a:pt x="510" y="588"/>
                    </a:lnTo>
                    <a:lnTo>
                      <a:pt x="504" y="588"/>
                    </a:lnTo>
                    <a:lnTo>
                      <a:pt x="504" y="594"/>
                    </a:lnTo>
                    <a:lnTo>
                      <a:pt x="510" y="594"/>
                    </a:lnTo>
                    <a:lnTo>
                      <a:pt x="510" y="588"/>
                    </a:lnTo>
                    <a:lnTo>
                      <a:pt x="516" y="588"/>
                    </a:lnTo>
                    <a:lnTo>
                      <a:pt x="516" y="594"/>
                    </a:lnTo>
                    <a:lnTo>
                      <a:pt x="516" y="600"/>
                    </a:lnTo>
                    <a:lnTo>
                      <a:pt x="510" y="600"/>
                    </a:lnTo>
                    <a:lnTo>
                      <a:pt x="516" y="600"/>
                    </a:lnTo>
                    <a:lnTo>
                      <a:pt x="516" y="606"/>
                    </a:lnTo>
                    <a:close/>
                    <a:moveTo>
                      <a:pt x="510" y="594"/>
                    </a:moveTo>
                    <a:lnTo>
                      <a:pt x="510" y="600"/>
                    </a:lnTo>
                    <a:lnTo>
                      <a:pt x="511" y="600"/>
                    </a:lnTo>
                    <a:lnTo>
                      <a:pt x="510" y="594"/>
                    </a:lnTo>
                    <a:close/>
                    <a:moveTo>
                      <a:pt x="516" y="606"/>
                    </a:moveTo>
                    <a:lnTo>
                      <a:pt x="510" y="606"/>
                    </a:lnTo>
                    <a:lnTo>
                      <a:pt x="510" y="612"/>
                    </a:lnTo>
                    <a:lnTo>
                      <a:pt x="504" y="612"/>
                    </a:lnTo>
                    <a:lnTo>
                      <a:pt x="504" y="606"/>
                    </a:lnTo>
                    <a:lnTo>
                      <a:pt x="510" y="606"/>
                    </a:lnTo>
                    <a:lnTo>
                      <a:pt x="516" y="606"/>
                    </a:lnTo>
                    <a:close/>
                    <a:moveTo>
                      <a:pt x="492" y="594"/>
                    </a:moveTo>
                    <a:lnTo>
                      <a:pt x="492" y="600"/>
                    </a:lnTo>
                    <a:lnTo>
                      <a:pt x="492" y="594"/>
                    </a:lnTo>
                    <a:lnTo>
                      <a:pt x="492" y="588"/>
                    </a:lnTo>
                    <a:lnTo>
                      <a:pt x="492" y="582"/>
                    </a:lnTo>
                    <a:lnTo>
                      <a:pt x="498" y="582"/>
                    </a:lnTo>
                    <a:lnTo>
                      <a:pt x="492" y="582"/>
                    </a:lnTo>
                    <a:lnTo>
                      <a:pt x="492" y="588"/>
                    </a:lnTo>
                    <a:lnTo>
                      <a:pt x="492" y="594"/>
                    </a:lnTo>
                    <a:lnTo>
                      <a:pt x="498" y="594"/>
                    </a:lnTo>
                    <a:lnTo>
                      <a:pt x="492" y="594"/>
                    </a:lnTo>
                    <a:close/>
                    <a:moveTo>
                      <a:pt x="804" y="6"/>
                    </a:moveTo>
                    <a:lnTo>
                      <a:pt x="798" y="6"/>
                    </a:lnTo>
                    <a:lnTo>
                      <a:pt x="798" y="0"/>
                    </a:lnTo>
                    <a:lnTo>
                      <a:pt x="804" y="0"/>
                    </a:lnTo>
                    <a:lnTo>
                      <a:pt x="804" y="6"/>
                    </a:lnTo>
                    <a:lnTo>
                      <a:pt x="810" y="6"/>
                    </a:lnTo>
                    <a:lnTo>
                      <a:pt x="810" y="0"/>
                    </a:lnTo>
                    <a:lnTo>
                      <a:pt x="810" y="6"/>
                    </a:lnTo>
                    <a:lnTo>
                      <a:pt x="804" y="6"/>
                    </a:lnTo>
                    <a:close/>
                    <a:moveTo>
                      <a:pt x="498" y="582"/>
                    </a:moveTo>
                    <a:lnTo>
                      <a:pt x="504" y="582"/>
                    </a:lnTo>
                    <a:lnTo>
                      <a:pt x="504" y="588"/>
                    </a:lnTo>
                    <a:lnTo>
                      <a:pt x="498" y="588"/>
                    </a:lnTo>
                    <a:lnTo>
                      <a:pt x="498" y="582"/>
                    </a:lnTo>
                    <a:close/>
                    <a:moveTo>
                      <a:pt x="492" y="600"/>
                    </a:moveTo>
                    <a:lnTo>
                      <a:pt x="498" y="600"/>
                    </a:lnTo>
                    <a:lnTo>
                      <a:pt x="498" y="606"/>
                    </a:lnTo>
                    <a:lnTo>
                      <a:pt x="492" y="606"/>
                    </a:lnTo>
                    <a:lnTo>
                      <a:pt x="492" y="600"/>
                    </a:lnTo>
                    <a:close/>
                    <a:moveTo>
                      <a:pt x="516" y="576"/>
                    </a:moveTo>
                    <a:lnTo>
                      <a:pt x="522" y="576"/>
                    </a:lnTo>
                    <a:lnTo>
                      <a:pt x="522" y="582"/>
                    </a:lnTo>
                    <a:lnTo>
                      <a:pt x="516" y="582"/>
                    </a:lnTo>
                    <a:lnTo>
                      <a:pt x="516" y="576"/>
                    </a:lnTo>
                    <a:close/>
                    <a:moveTo>
                      <a:pt x="0" y="612"/>
                    </a:moveTo>
                    <a:lnTo>
                      <a:pt x="6" y="612"/>
                    </a:lnTo>
                    <a:lnTo>
                      <a:pt x="6" y="618"/>
                    </a:lnTo>
                    <a:lnTo>
                      <a:pt x="0" y="618"/>
                    </a:lnTo>
                    <a:lnTo>
                      <a:pt x="0" y="612"/>
                    </a:lnTo>
                    <a:close/>
                    <a:moveTo>
                      <a:pt x="492" y="606"/>
                    </a:moveTo>
                    <a:lnTo>
                      <a:pt x="498" y="606"/>
                    </a:lnTo>
                    <a:lnTo>
                      <a:pt x="492" y="606"/>
                    </a:lnTo>
                    <a:close/>
                    <a:moveTo>
                      <a:pt x="498" y="588"/>
                    </a:moveTo>
                    <a:lnTo>
                      <a:pt x="498" y="594"/>
                    </a:lnTo>
                    <a:lnTo>
                      <a:pt x="499" y="594"/>
                    </a:lnTo>
                    <a:lnTo>
                      <a:pt x="498" y="588"/>
                    </a:lnTo>
                    <a:close/>
                    <a:moveTo>
                      <a:pt x="498" y="606"/>
                    </a:moveTo>
                    <a:lnTo>
                      <a:pt x="498" y="612"/>
                    </a:lnTo>
                    <a:lnTo>
                      <a:pt x="499" y="612"/>
                    </a:lnTo>
                    <a:lnTo>
                      <a:pt x="498" y="606"/>
                    </a:lnTo>
                    <a:close/>
                    <a:moveTo>
                      <a:pt x="510" y="582"/>
                    </a:moveTo>
                    <a:lnTo>
                      <a:pt x="516" y="582"/>
                    </a:lnTo>
                    <a:lnTo>
                      <a:pt x="510" y="582"/>
                    </a:lnTo>
                    <a:close/>
                    <a:moveTo>
                      <a:pt x="0" y="618"/>
                    </a:moveTo>
                    <a:lnTo>
                      <a:pt x="6" y="618"/>
                    </a:lnTo>
                    <a:lnTo>
                      <a:pt x="6" y="624"/>
                    </a:lnTo>
                    <a:lnTo>
                      <a:pt x="0" y="624"/>
                    </a:lnTo>
                    <a:lnTo>
                      <a:pt x="0" y="618"/>
                    </a:lnTo>
                    <a:close/>
                    <a:moveTo>
                      <a:pt x="498" y="600"/>
                    </a:moveTo>
                    <a:lnTo>
                      <a:pt x="504" y="600"/>
                    </a:lnTo>
                    <a:lnTo>
                      <a:pt x="498" y="600"/>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US" sz="800" dirty="0">
                  <a:solidFill>
                    <a:srgbClr val="000000"/>
                  </a:solidFill>
                </a:endParaRPr>
              </a:p>
            </p:txBody>
          </p:sp>
          <p:sp>
            <p:nvSpPr>
              <p:cNvPr id="62" name="Freeform 69"/>
              <p:cNvSpPr>
                <a:spLocks noEditPoints="1"/>
              </p:cNvSpPr>
              <p:nvPr/>
            </p:nvSpPr>
            <p:spPr bwMode="gray">
              <a:xfrm>
                <a:off x="4100936" y="3551141"/>
                <a:ext cx="934142" cy="772063"/>
              </a:xfrm>
              <a:custGeom>
                <a:avLst/>
                <a:gdLst>
                  <a:gd name="T0" fmla="*/ 360 w 726"/>
                  <a:gd name="T1" fmla="*/ 468 h 606"/>
                  <a:gd name="T2" fmla="*/ 342 w 726"/>
                  <a:gd name="T3" fmla="*/ 480 h 606"/>
                  <a:gd name="T4" fmla="*/ 294 w 726"/>
                  <a:gd name="T5" fmla="*/ 462 h 606"/>
                  <a:gd name="T6" fmla="*/ 276 w 726"/>
                  <a:gd name="T7" fmla="*/ 444 h 606"/>
                  <a:gd name="T8" fmla="*/ 252 w 726"/>
                  <a:gd name="T9" fmla="*/ 450 h 606"/>
                  <a:gd name="T10" fmla="*/ 234 w 726"/>
                  <a:gd name="T11" fmla="*/ 462 h 606"/>
                  <a:gd name="T12" fmla="*/ 210 w 726"/>
                  <a:gd name="T13" fmla="*/ 486 h 606"/>
                  <a:gd name="T14" fmla="*/ 198 w 726"/>
                  <a:gd name="T15" fmla="*/ 528 h 606"/>
                  <a:gd name="T16" fmla="*/ 156 w 726"/>
                  <a:gd name="T17" fmla="*/ 540 h 606"/>
                  <a:gd name="T18" fmla="*/ 138 w 726"/>
                  <a:gd name="T19" fmla="*/ 516 h 606"/>
                  <a:gd name="T20" fmla="*/ 114 w 726"/>
                  <a:gd name="T21" fmla="*/ 546 h 606"/>
                  <a:gd name="T22" fmla="*/ 102 w 726"/>
                  <a:gd name="T23" fmla="*/ 582 h 606"/>
                  <a:gd name="T24" fmla="*/ 72 w 726"/>
                  <a:gd name="T25" fmla="*/ 582 h 606"/>
                  <a:gd name="T26" fmla="*/ 18 w 726"/>
                  <a:gd name="T27" fmla="*/ 600 h 606"/>
                  <a:gd name="T28" fmla="*/ 18 w 726"/>
                  <a:gd name="T29" fmla="*/ 570 h 606"/>
                  <a:gd name="T30" fmla="*/ 42 w 726"/>
                  <a:gd name="T31" fmla="*/ 534 h 606"/>
                  <a:gd name="T32" fmla="*/ 78 w 726"/>
                  <a:gd name="T33" fmla="*/ 492 h 606"/>
                  <a:gd name="T34" fmla="*/ 96 w 726"/>
                  <a:gd name="T35" fmla="*/ 468 h 606"/>
                  <a:gd name="T36" fmla="*/ 90 w 726"/>
                  <a:gd name="T37" fmla="*/ 420 h 606"/>
                  <a:gd name="T38" fmla="*/ 78 w 726"/>
                  <a:gd name="T39" fmla="*/ 360 h 606"/>
                  <a:gd name="T40" fmla="*/ 66 w 726"/>
                  <a:gd name="T41" fmla="*/ 318 h 606"/>
                  <a:gd name="T42" fmla="*/ 108 w 726"/>
                  <a:gd name="T43" fmla="*/ 342 h 606"/>
                  <a:gd name="T44" fmla="*/ 162 w 726"/>
                  <a:gd name="T45" fmla="*/ 342 h 606"/>
                  <a:gd name="T46" fmla="*/ 120 w 726"/>
                  <a:gd name="T47" fmla="*/ 318 h 606"/>
                  <a:gd name="T48" fmla="*/ 126 w 726"/>
                  <a:gd name="T49" fmla="*/ 276 h 606"/>
                  <a:gd name="T50" fmla="*/ 114 w 726"/>
                  <a:gd name="T51" fmla="*/ 222 h 606"/>
                  <a:gd name="T52" fmla="*/ 150 w 726"/>
                  <a:gd name="T53" fmla="*/ 192 h 606"/>
                  <a:gd name="T54" fmla="*/ 192 w 726"/>
                  <a:gd name="T55" fmla="*/ 180 h 606"/>
                  <a:gd name="T56" fmla="*/ 222 w 726"/>
                  <a:gd name="T57" fmla="*/ 168 h 606"/>
                  <a:gd name="T58" fmla="*/ 234 w 726"/>
                  <a:gd name="T59" fmla="*/ 138 h 606"/>
                  <a:gd name="T60" fmla="*/ 240 w 726"/>
                  <a:gd name="T61" fmla="*/ 114 h 606"/>
                  <a:gd name="T62" fmla="*/ 264 w 726"/>
                  <a:gd name="T63" fmla="*/ 96 h 606"/>
                  <a:gd name="T64" fmla="*/ 288 w 726"/>
                  <a:gd name="T65" fmla="*/ 42 h 606"/>
                  <a:gd name="T66" fmla="*/ 312 w 726"/>
                  <a:gd name="T67" fmla="*/ 12 h 606"/>
                  <a:gd name="T68" fmla="*/ 360 w 726"/>
                  <a:gd name="T69" fmla="*/ 24 h 606"/>
                  <a:gd name="T70" fmla="*/ 420 w 726"/>
                  <a:gd name="T71" fmla="*/ 18 h 606"/>
                  <a:gd name="T72" fmla="*/ 444 w 726"/>
                  <a:gd name="T73" fmla="*/ 24 h 606"/>
                  <a:gd name="T74" fmla="*/ 444 w 726"/>
                  <a:gd name="T75" fmla="*/ 60 h 606"/>
                  <a:gd name="T76" fmla="*/ 492 w 726"/>
                  <a:gd name="T77" fmla="*/ 60 h 606"/>
                  <a:gd name="T78" fmla="*/ 522 w 726"/>
                  <a:gd name="T79" fmla="*/ 72 h 606"/>
                  <a:gd name="T80" fmla="*/ 552 w 726"/>
                  <a:gd name="T81" fmla="*/ 48 h 606"/>
                  <a:gd name="T82" fmla="*/ 564 w 726"/>
                  <a:gd name="T83" fmla="*/ 6 h 606"/>
                  <a:gd name="T84" fmla="*/ 618 w 726"/>
                  <a:gd name="T85" fmla="*/ 36 h 606"/>
                  <a:gd name="T86" fmla="*/ 666 w 726"/>
                  <a:gd name="T87" fmla="*/ 66 h 606"/>
                  <a:gd name="T88" fmla="*/ 690 w 726"/>
                  <a:gd name="T89" fmla="*/ 72 h 606"/>
                  <a:gd name="T90" fmla="*/ 726 w 726"/>
                  <a:gd name="T91" fmla="*/ 108 h 606"/>
                  <a:gd name="T92" fmla="*/ 684 w 726"/>
                  <a:gd name="T93" fmla="*/ 132 h 606"/>
                  <a:gd name="T94" fmla="*/ 648 w 726"/>
                  <a:gd name="T95" fmla="*/ 186 h 606"/>
                  <a:gd name="T96" fmla="*/ 672 w 726"/>
                  <a:gd name="T97" fmla="*/ 228 h 606"/>
                  <a:gd name="T98" fmla="*/ 648 w 726"/>
                  <a:gd name="T99" fmla="*/ 258 h 606"/>
                  <a:gd name="T100" fmla="*/ 642 w 726"/>
                  <a:gd name="T101" fmla="*/ 276 h 606"/>
                  <a:gd name="T102" fmla="*/ 618 w 726"/>
                  <a:gd name="T103" fmla="*/ 300 h 606"/>
                  <a:gd name="T104" fmla="*/ 594 w 726"/>
                  <a:gd name="T105" fmla="*/ 330 h 606"/>
                  <a:gd name="T106" fmla="*/ 564 w 726"/>
                  <a:gd name="T107" fmla="*/ 342 h 606"/>
                  <a:gd name="T108" fmla="*/ 504 w 726"/>
                  <a:gd name="T109" fmla="*/ 360 h 606"/>
                  <a:gd name="T110" fmla="*/ 474 w 726"/>
                  <a:gd name="T111" fmla="*/ 384 h 606"/>
                  <a:gd name="T112" fmla="*/ 420 w 726"/>
                  <a:gd name="T113" fmla="*/ 420 h 606"/>
                  <a:gd name="T114" fmla="*/ 648 w 726"/>
                  <a:gd name="T115" fmla="*/ 276 h 606"/>
                  <a:gd name="T116" fmla="*/ 714 w 726"/>
                  <a:gd name="T117" fmla="*/ 132 h 606"/>
                  <a:gd name="T118" fmla="*/ 492 w 726"/>
                  <a:gd name="T119" fmla="*/ 366 h 606"/>
                  <a:gd name="T120" fmla="*/ 582 w 726"/>
                  <a:gd name="T121" fmla="*/ 33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26" h="606">
                    <a:moveTo>
                      <a:pt x="396" y="444"/>
                    </a:moveTo>
                    <a:lnTo>
                      <a:pt x="402" y="444"/>
                    </a:lnTo>
                    <a:lnTo>
                      <a:pt x="396" y="444"/>
                    </a:lnTo>
                    <a:lnTo>
                      <a:pt x="396" y="450"/>
                    </a:lnTo>
                    <a:lnTo>
                      <a:pt x="390" y="450"/>
                    </a:lnTo>
                    <a:lnTo>
                      <a:pt x="384" y="450"/>
                    </a:lnTo>
                    <a:lnTo>
                      <a:pt x="384" y="456"/>
                    </a:lnTo>
                    <a:lnTo>
                      <a:pt x="384" y="450"/>
                    </a:lnTo>
                    <a:lnTo>
                      <a:pt x="378" y="450"/>
                    </a:lnTo>
                    <a:lnTo>
                      <a:pt x="372" y="450"/>
                    </a:lnTo>
                    <a:lnTo>
                      <a:pt x="372" y="456"/>
                    </a:lnTo>
                    <a:lnTo>
                      <a:pt x="366" y="456"/>
                    </a:lnTo>
                    <a:lnTo>
                      <a:pt x="366" y="462"/>
                    </a:lnTo>
                    <a:lnTo>
                      <a:pt x="366" y="468"/>
                    </a:lnTo>
                    <a:lnTo>
                      <a:pt x="360" y="468"/>
                    </a:lnTo>
                    <a:lnTo>
                      <a:pt x="360" y="474"/>
                    </a:lnTo>
                    <a:lnTo>
                      <a:pt x="360" y="468"/>
                    </a:lnTo>
                    <a:lnTo>
                      <a:pt x="360" y="474"/>
                    </a:lnTo>
                    <a:lnTo>
                      <a:pt x="354" y="474"/>
                    </a:lnTo>
                    <a:lnTo>
                      <a:pt x="354" y="468"/>
                    </a:lnTo>
                    <a:lnTo>
                      <a:pt x="354" y="474"/>
                    </a:lnTo>
                    <a:lnTo>
                      <a:pt x="360" y="474"/>
                    </a:lnTo>
                    <a:lnTo>
                      <a:pt x="360" y="480"/>
                    </a:lnTo>
                    <a:lnTo>
                      <a:pt x="354" y="480"/>
                    </a:lnTo>
                    <a:lnTo>
                      <a:pt x="354" y="486"/>
                    </a:lnTo>
                    <a:lnTo>
                      <a:pt x="354" y="480"/>
                    </a:lnTo>
                    <a:lnTo>
                      <a:pt x="348" y="480"/>
                    </a:lnTo>
                    <a:lnTo>
                      <a:pt x="348" y="486"/>
                    </a:lnTo>
                    <a:lnTo>
                      <a:pt x="342" y="486"/>
                    </a:lnTo>
                    <a:lnTo>
                      <a:pt x="342" y="480"/>
                    </a:lnTo>
                    <a:lnTo>
                      <a:pt x="342" y="486"/>
                    </a:lnTo>
                    <a:lnTo>
                      <a:pt x="342" y="480"/>
                    </a:lnTo>
                    <a:lnTo>
                      <a:pt x="342" y="486"/>
                    </a:lnTo>
                    <a:lnTo>
                      <a:pt x="336" y="486"/>
                    </a:lnTo>
                    <a:lnTo>
                      <a:pt x="330" y="486"/>
                    </a:lnTo>
                    <a:lnTo>
                      <a:pt x="324" y="486"/>
                    </a:lnTo>
                    <a:lnTo>
                      <a:pt x="318" y="486"/>
                    </a:lnTo>
                    <a:lnTo>
                      <a:pt x="318" y="480"/>
                    </a:lnTo>
                    <a:lnTo>
                      <a:pt x="312" y="480"/>
                    </a:lnTo>
                    <a:lnTo>
                      <a:pt x="306" y="480"/>
                    </a:lnTo>
                    <a:lnTo>
                      <a:pt x="300" y="480"/>
                    </a:lnTo>
                    <a:lnTo>
                      <a:pt x="300" y="474"/>
                    </a:lnTo>
                    <a:lnTo>
                      <a:pt x="294" y="474"/>
                    </a:lnTo>
                    <a:lnTo>
                      <a:pt x="294" y="468"/>
                    </a:lnTo>
                    <a:lnTo>
                      <a:pt x="294" y="462"/>
                    </a:lnTo>
                    <a:lnTo>
                      <a:pt x="288" y="462"/>
                    </a:lnTo>
                    <a:lnTo>
                      <a:pt x="288" y="456"/>
                    </a:lnTo>
                    <a:lnTo>
                      <a:pt x="288" y="450"/>
                    </a:lnTo>
                    <a:lnTo>
                      <a:pt x="288" y="456"/>
                    </a:lnTo>
                    <a:lnTo>
                      <a:pt x="282" y="456"/>
                    </a:lnTo>
                    <a:lnTo>
                      <a:pt x="282" y="462"/>
                    </a:lnTo>
                    <a:lnTo>
                      <a:pt x="288" y="462"/>
                    </a:lnTo>
                    <a:lnTo>
                      <a:pt x="288" y="468"/>
                    </a:lnTo>
                    <a:lnTo>
                      <a:pt x="282" y="462"/>
                    </a:lnTo>
                    <a:lnTo>
                      <a:pt x="282" y="456"/>
                    </a:lnTo>
                    <a:lnTo>
                      <a:pt x="276" y="456"/>
                    </a:lnTo>
                    <a:lnTo>
                      <a:pt x="282" y="456"/>
                    </a:lnTo>
                    <a:lnTo>
                      <a:pt x="282" y="450"/>
                    </a:lnTo>
                    <a:lnTo>
                      <a:pt x="276" y="450"/>
                    </a:lnTo>
                    <a:lnTo>
                      <a:pt x="276" y="444"/>
                    </a:lnTo>
                    <a:lnTo>
                      <a:pt x="270" y="444"/>
                    </a:lnTo>
                    <a:lnTo>
                      <a:pt x="270" y="438"/>
                    </a:lnTo>
                    <a:lnTo>
                      <a:pt x="270" y="432"/>
                    </a:lnTo>
                    <a:lnTo>
                      <a:pt x="270" y="438"/>
                    </a:lnTo>
                    <a:lnTo>
                      <a:pt x="264" y="438"/>
                    </a:lnTo>
                    <a:lnTo>
                      <a:pt x="264" y="444"/>
                    </a:lnTo>
                    <a:lnTo>
                      <a:pt x="264" y="450"/>
                    </a:lnTo>
                    <a:lnTo>
                      <a:pt x="258" y="450"/>
                    </a:lnTo>
                    <a:lnTo>
                      <a:pt x="258" y="444"/>
                    </a:lnTo>
                    <a:lnTo>
                      <a:pt x="258" y="450"/>
                    </a:lnTo>
                    <a:lnTo>
                      <a:pt x="258" y="456"/>
                    </a:lnTo>
                    <a:lnTo>
                      <a:pt x="252" y="456"/>
                    </a:lnTo>
                    <a:lnTo>
                      <a:pt x="252" y="450"/>
                    </a:lnTo>
                    <a:lnTo>
                      <a:pt x="252" y="444"/>
                    </a:lnTo>
                    <a:lnTo>
                      <a:pt x="252" y="450"/>
                    </a:lnTo>
                    <a:lnTo>
                      <a:pt x="252" y="444"/>
                    </a:lnTo>
                    <a:lnTo>
                      <a:pt x="246" y="444"/>
                    </a:lnTo>
                    <a:lnTo>
                      <a:pt x="246" y="450"/>
                    </a:lnTo>
                    <a:lnTo>
                      <a:pt x="252" y="450"/>
                    </a:lnTo>
                    <a:lnTo>
                      <a:pt x="252" y="456"/>
                    </a:lnTo>
                    <a:lnTo>
                      <a:pt x="246" y="456"/>
                    </a:lnTo>
                    <a:lnTo>
                      <a:pt x="246" y="462"/>
                    </a:lnTo>
                    <a:lnTo>
                      <a:pt x="246" y="456"/>
                    </a:lnTo>
                    <a:lnTo>
                      <a:pt x="240" y="456"/>
                    </a:lnTo>
                    <a:lnTo>
                      <a:pt x="234" y="456"/>
                    </a:lnTo>
                    <a:lnTo>
                      <a:pt x="234" y="450"/>
                    </a:lnTo>
                    <a:lnTo>
                      <a:pt x="234" y="456"/>
                    </a:lnTo>
                    <a:lnTo>
                      <a:pt x="228" y="456"/>
                    </a:lnTo>
                    <a:lnTo>
                      <a:pt x="234" y="456"/>
                    </a:lnTo>
                    <a:lnTo>
                      <a:pt x="234" y="462"/>
                    </a:lnTo>
                    <a:lnTo>
                      <a:pt x="240" y="462"/>
                    </a:lnTo>
                    <a:lnTo>
                      <a:pt x="234" y="462"/>
                    </a:lnTo>
                    <a:lnTo>
                      <a:pt x="234" y="468"/>
                    </a:lnTo>
                    <a:lnTo>
                      <a:pt x="240" y="468"/>
                    </a:lnTo>
                    <a:lnTo>
                      <a:pt x="240" y="474"/>
                    </a:lnTo>
                    <a:lnTo>
                      <a:pt x="234" y="474"/>
                    </a:lnTo>
                    <a:lnTo>
                      <a:pt x="234" y="480"/>
                    </a:lnTo>
                    <a:lnTo>
                      <a:pt x="228" y="480"/>
                    </a:lnTo>
                    <a:lnTo>
                      <a:pt x="228" y="486"/>
                    </a:lnTo>
                    <a:lnTo>
                      <a:pt x="222" y="486"/>
                    </a:lnTo>
                    <a:lnTo>
                      <a:pt x="216" y="486"/>
                    </a:lnTo>
                    <a:lnTo>
                      <a:pt x="210" y="486"/>
                    </a:lnTo>
                    <a:lnTo>
                      <a:pt x="210" y="480"/>
                    </a:lnTo>
                    <a:lnTo>
                      <a:pt x="204" y="486"/>
                    </a:lnTo>
                    <a:lnTo>
                      <a:pt x="210" y="486"/>
                    </a:lnTo>
                    <a:lnTo>
                      <a:pt x="204" y="486"/>
                    </a:lnTo>
                    <a:lnTo>
                      <a:pt x="204" y="492"/>
                    </a:lnTo>
                    <a:lnTo>
                      <a:pt x="198" y="492"/>
                    </a:lnTo>
                    <a:lnTo>
                      <a:pt x="198" y="498"/>
                    </a:lnTo>
                    <a:lnTo>
                      <a:pt x="192" y="498"/>
                    </a:lnTo>
                    <a:lnTo>
                      <a:pt x="192" y="504"/>
                    </a:lnTo>
                    <a:lnTo>
                      <a:pt x="198" y="504"/>
                    </a:lnTo>
                    <a:lnTo>
                      <a:pt x="192" y="504"/>
                    </a:lnTo>
                    <a:lnTo>
                      <a:pt x="198" y="504"/>
                    </a:lnTo>
                    <a:lnTo>
                      <a:pt x="198" y="510"/>
                    </a:lnTo>
                    <a:lnTo>
                      <a:pt x="204" y="510"/>
                    </a:lnTo>
                    <a:lnTo>
                      <a:pt x="204" y="516"/>
                    </a:lnTo>
                    <a:lnTo>
                      <a:pt x="198" y="516"/>
                    </a:lnTo>
                    <a:lnTo>
                      <a:pt x="198" y="522"/>
                    </a:lnTo>
                    <a:lnTo>
                      <a:pt x="198" y="528"/>
                    </a:lnTo>
                    <a:lnTo>
                      <a:pt x="204" y="528"/>
                    </a:lnTo>
                    <a:lnTo>
                      <a:pt x="204" y="534"/>
                    </a:lnTo>
                    <a:lnTo>
                      <a:pt x="198" y="534"/>
                    </a:lnTo>
                    <a:lnTo>
                      <a:pt x="192" y="534"/>
                    </a:lnTo>
                    <a:lnTo>
                      <a:pt x="186" y="534"/>
                    </a:lnTo>
                    <a:lnTo>
                      <a:pt x="180" y="534"/>
                    </a:lnTo>
                    <a:lnTo>
                      <a:pt x="180" y="528"/>
                    </a:lnTo>
                    <a:lnTo>
                      <a:pt x="174" y="528"/>
                    </a:lnTo>
                    <a:lnTo>
                      <a:pt x="174" y="522"/>
                    </a:lnTo>
                    <a:lnTo>
                      <a:pt x="168" y="522"/>
                    </a:lnTo>
                    <a:lnTo>
                      <a:pt x="168" y="528"/>
                    </a:lnTo>
                    <a:lnTo>
                      <a:pt x="168" y="534"/>
                    </a:lnTo>
                    <a:lnTo>
                      <a:pt x="168" y="540"/>
                    </a:lnTo>
                    <a:lnTo>
                      <a:pt x="162" y="540"/>
                    </a:lnTo>
                    <a:lnTo>
                      <a:pt x="156" y="540"/>
                    </a:lnTo>
                    <a:lnTo>
                      <a:pt x="156" y="546"/>
                    </a:lnTo>
                    <a:lnTo>
                      <a:pt x="150" y="546"/>
                    </a:lnTo>
                    <a:lnTo>
                      <a:pt x="150" y="552"/>
                    </a:lnTo>
                    <a:lnTo>
                      <a:pt x="150" y="546"/>
                    </a:lnTo>
                    <a:lnTo>
                      <a:pt x="144" y="546"/>
                    </a:lnTo>
                    <a:lnTo>
                      <a:pt x="144" y="540"/>
                    </a:lnTo>
                    <a:lnTo>
                      <a:pt x="144" y="534"/>
                    </a:lnTo>
                    <a:lnTo>
                      <a:pt x="150" y="534"/>
                    </a:lnTo>
                    <a:lnTo>
                      <a:pt x="144" y="534"/>
                    </a:lnTo>
                    <a:lnTo>
                      <a:pt x="144" y="528"/>
                    </a:lnTo>
                    <a:lnTo>
                      <a:pt x="138" y="528"/>
                    </a:lnTo>
                    <a:lnTo>
                      <a:pt x="138" y="522"/>
                    </a:lnTo>
                    <a:lnTo>
                      <a:pt x="138" y="528"/>
                    </a:lnTo>
                    <a:lnTo>
                      <a:pt x="138" y="522"/>
                    </a:lnTo>
                    <a:lnTo>
                      <a:pt x="138" y="516"/>
                    </a:lnTo>
                    <a:lnTo>
                      <a:pt x="132" y="516"/>
                    </a:lnTo>
                    <a:lnTo>
                      <a:pt x="132" y="510"/>
                    </a:lnTo>
                    <a:lnTo>
                      <a:pt x="132" y="516"/>
                    </a:lnTo>
                    <a:lnTo>
                      <a:pt x="126" y="516"/>
                    </a:lnTo>
                    <a:lnTo>
                      <a:pt x="126" y="522"/>
                    </a:lnTo>
                    <a:lnTo>
                      <a:pt x="120" y="522"/>
                    </a:lnTo>
                    <a:lnTo>
                      <a:pt x="120" y="528"/>
                    </a:lnTo>
                    <a:lnTo>
                      <a:pt x="114" y="528"/>
                    </a:lnTo>
                    <a:lnTo>
                      <a:pt x="114" y="534"/>
                    </a:lnTo>
                    <a:lnTo>
                      <a:pt x="120" y="534"/>
                    </a:lnTo>
                    <a:lnTo>
                      <a:pt x="114" y="534"/>
                    </a:lnTo>
                    <a:lnTo>
                      <a:pt x="114" y="540"/>
                    </a:lnTo>
                    <a:lnTo>
                      <a:pt x="120" y="540"/>
                    </a:lnTo>
                    <a:lnTo>
                      <a:pt x="120" y="546"/>
                    </a:lnTo>
                    <a:lnTo>
                      <a:pt x="114" y="546"/>
                    </a:lnTo>
                    <a:lnTo>
                      <a:pt x="114" y="552"/>
                    </a:lnTo>
                    <a:lnTo>
                      <a:pt x="108" y="552"/>
                    </a:lnTo>
                    <a:lnTo>
                      <a:pt x="108" y="558"/>
                    </a:lnTo>
                    <a:lnTo>
                      <a:pt x="114" y="558"/>
                    </a:lnTo>
                    <a:lnTo>
                      <a:pt x="120" y="564"/>
                    </a:lnTo>
                    <a:lnTo>
                      <a:pt x="114" y="564"/>
                    </a:lnTo>
                    <a:lnTo>
                      <a:pt x="114" y="570"/>
                    </a:lnTo>
                    <a:lnTo>
                      <a:pt x="114" y="576"/>
                    </a:lnTo>
                    <a:lnTo>
                      <a:pt x="108" y="576"/>
                    </a:lnTo>
                    <a:lnTo>
                      <a:pt x="108" y="570"/>
                    </a:lnTo>
                    <a:lnTo>
                      <a:pt x="108" y="576"/>
                    </a:lnTo>
                    <a:lnTo>
                      <a:pt x="102" y="576"/>
                    </a:lnTo>
                    <a:lnTo>
                      <a:pt x="108" y="576"/>
                    </a:lnTo>
                    <a:lnTo>
                      <a:pt x="108" y="582"/>
                    </a:lnTo>
                    <a:lnTo>
                      <a:pt x="102" y="582"/>
                    </a:lnTo>
                    <a:lnTo>
                      <a:pt x="96" y="582"/>
                    </a:lnTo>
                    <a:lnTo>
                      <a:pt x="96" y="576"/>
                    </a:lnTo>
                    <a:lnTo>
                      <a:pt x="90" y="576"/>
                    </a:lnTo>
                    <a:lnTo>
                      <a:pt x="90" y="570"/>
                    </a:lnTo>
                    <a:lnTo>
                      <a:pt x="90" y="576"/>
                    </a:lnTo>
                    <a:lnTo>
                      <a:pt x="84" y="576"/>
                    </a:lnTo>
                    <a:lnTo>
                      <a:pt x="84" y="570"/>
                    </a:lnTo>
                    <a:lnTo>
                      <a:pt x="84" y="576"/>
                    </a:lnTo>
                    <a:lnTo>
                      <a:pt x="84" y="570"/>
                    </a:lnTo>
                    <a:lnTo>
                      <a:pt x="84" y="576"/>
                    </a:lnTo>
                    <a:lnTo>
                      <a:pt x="78" y="576"/>
                    </a:lnTo>
                    <a:lnTo>
                      <a:pt x="78" y="570"/>
                    </a:lnTo>
                    <a:lnTo>
                      <a:pt x="78" y="576"/>
                    </a:lnTo>
                    <a:lnTo>
                      <a:pt x="72" y="576"/>
                    </a:lnTo>
                    <a:lnTo>
                      <a:pt x="72" y="582"/>
                    </a:lnTo>
                    <a:lnTo>
                      <a:pt x="66" y="582"/>
                    </a:lnTo>
                    <a:lnTo>
                      <a:pt x="60" y="582"/>
                    </a:lnTo>
                    <a:lnTo>
                      <a:pt x="60" y="588"/>
                    </a:lnTo>
                    <a:lnTo>
                      <a:pt x="54" y="588"/>
                    </a:lnTo>
                    <a:lnTo>
                      <a:pt x="48" y="588"/>
                    </a:lnTo>
                    <a:lnTo>
                      <a:pt x="48" y="594"/>
                    </a:lnTo>
                    <a:lnTo>
                      <a:pt x="42" y="594"/>
                    </a:lnTo>
                    <a:lnTo>
                      <a:pt x="36" y="594"/>
                    </a:lnTo>
                    <a:lnTo>
                      <a:pt x="30" y="594"/>
                    </a:lnTo>
                    <a:lnTo>
                      <a:pt x="30" y="600"/>
                    </a:lnTo>
                    <a:lnTo>
                      <a:pt x="30" y="606"/>
                    </a:lnTo>
                    <a:lnTo>
                      <a:pt x="24" y="600"/>
                    </a:lnTo>
                    <a:lnTo>
                      <a:pt x="18" y="600"/>
                    </a:lnTo>
                    <a:lnTo>
                      <a:pt x="18" y="606"/>
                    </a:lnTo>
                    <a:lnTo>
                      <a:pt x="18" y="600"/>
                    </a:lnTo>
                    <a:lnTo>
                      <a:pt x="18" y="606"/>
                    </a:lnTo>
                    <a:lnTo>
                      <a:pt x="12" y="606"/>
                    </a:lnTo>
                    <a:lnTo>
                      <a:pt x="12" y="600"/>
                    </a:lnTo>
                    <a:lnTo>
                      <a:pt x="6" y="600"/>
                    </a:lnTo>
                    <a:lnTo>
                      <a:pt x="6" y="606"/>
                    </a:lnTo>
                    <a:lnTo>
                      <a:pt x="0" y="606"/>
                    </a:lnTo>
                    <a:lnTo>
                      <a:pt x="0" y="600"/>
                    </a:lnTo>
                    <a:lnTo>
                      <a:pt x="0" y="594"/>
                    </a:lnTo>
                    <a:lnTo>
                      <a:pt x="6" y="594"/>
                    </a:lnTo>
                    <a:lnTo>
                      <a:pt x="6" y="588"/>
                    </a:lnTo>
                    <a:lnTo>
                      <a:pt x="12" y="588"/>
                    </a:lnTo>
                    <a:lnTo>
                      <a:pt x="12" y="582"/>
                    </a:lnTo>
                    <a:lnTo>
                      <a:pt x="12" y="576"/>
                    </a:lnTo>
                    <a:lnTo>
                      <a:pt x="12" y="570"/>
                    </a:lnTo>
                    <a:lnTo>
                      <a:pt x="18" y="570"/>
                    </a:lnTo>
                    <a:lnTo>
                      <a:pt x="18" y="564"/>
                    </a:lnTo>
                    <a:lnTo>
                      <a:pt x="12" y="564"/>
                    </a:lnTo>
                    <a:lnTo>
                      <a:pt x="18" y="564"/>
                    </a:lnTo>
                    <a:lnTo>
                      <a:pt x="18" y="558"/>
                    </a:lnTo>
                    <a:lnTo>
                      <a:pt x="12" y="558"/>
                    </a:lnTo>
                    <a:lnTo>
                      <a:pt x="18" y="558"/>
                    </a:lnTo>
                    <a:lnTo>
                      <a:pt x="18" y="552"/>
                    </a:lnTo>
                    <a:lnTo>
                      <a:pt x="18" y="546"/>
                    </a:lnTo>
                    <a:lnTo>
                      <a:pt x="24" y="546"/>
                    </a:lnTo>
                    <a:lnTo>
                      <a:pt x="24" y="540"/>
                    </a:lnTo>
                    <a:lnTo>
                      <a:pt x="30" y="540"/>
                    </a:lnTo>
                    <a:lnTo>
                      <a:pt x="36" y="540"/>
                    </a:lnTo>
                    <a:lnTo>
                      <a:pt x="30" y="540"/>
                    </a:lnTo>
                    <a:lnTo>
                      <a:pt x="36" y="540"/>
                    </a:lnTo>
                    <a:lnTo>
                      <a:pt x="42" y="534"/>
                    </a:lnTo>
                    <a:lnTo>
                      <a:pt x="48" y="528"/>
                    </a:lnTo>
                    <a:lnTo>
                      <a:pt x="54" y="522"/>
                    </a:lnTo>
                    <a:lnTo>
                      <a:pt x="54" y="516"/>
                    </a:lnTo>
                    <a:lnTo>
                      <a:pt x="60" y="516"/>
                    </a:lnTo>
                    <a:lnTo>
                      <a:pt x="60" y="510"/>
                    </a:lnTo>
                    <a:lnTo>
                      <a:pt x="66" y="510"/>
                    </a:lnTo>
                    <a:lnTo>
                      <a:pt x="66" y="504"/>
                    </a:lnTo>
                    <a:lnTo>
                      <a:pt x="60" y="504"/>
                    </a:lnTo>
                    <a:lnTo>
                      <a:pt x="60" y="498"/>
                    </a:lnTo>
                    <a:lnTo>
                      <a:pt x="66" y="498"/>
                    </a:lnTo>
                    <a:lnTo>
                      <a:pt x="72" y="498"/>
                    </a:lnTo>
                    <a:lnTo>
                      <a:pt x="66" y="498"/>
                    </a:lnTo>
                    <a:lnTo>
                      <a:pt x="66" y="492"/>
                    </a:lnTo>
                    <a:lnTo>
                      <a:pt x="72" y="492"/>
                    </a:lnTo>
                    <a:lnTo>
                      <a:pt x="78" y="492"/>
                    </a:lnTo>
                    <a:lnTo>
                      <a:pt x="84" y="492"/>
                    </a:lnTo>
                    <a:lnTo>
                      <a:pt x="84" y="486"/>
                    </a:lnTo>
                    <a:lnTo>
                      <a:pt x="90" y="486"/>
                    </a:lnTo>
                    <a:lnTo>
                      <a:pt x="90" y="480"/>
                    </a:lnTo>
                    <a:lnTo>
                      <a:pt x="96" y="480"/>
                    </a:lnTo>
                    <a:lnTo>
                      <a:pt x="90" y="480"/>
                    </a:lnTo>
                    <a:lnTo>
                      <a:pt x="96" y="480"/>
                    </a:lnTo>
                    <a:lnTo>
                      <a:pt x="90" y="480"/>
                    </a:lnTo>
                    <a:lnTo>
                      <a:pt x="90" y="474"/>
                    </a:lnTo>
                    <a:lnTo>
                      <a:pt x="96" y="474"/>
                    </a:lnTo>
                    <a:lnTo>
                      <a:pt x="90" y="474"/>
                    </a:lnTo>
                    <a:lnTo>
                      <a:pt x="96" y="474"/>
                    </a:lnTo>
                    <a:lnTo>
                      <a:pt x="96" y="468"/>
                    </a:lnTo>
                    <a:lnTo>
                      <a:pt x="90" y="468"/>
                    </a:lnTo>
                    <a:lnTo>
                      <a:pt x="96" y="468"/>
                    </a:lnTo>
                    <a:lnTo>
                      <a:pt x="102" y="462"/>
                    </a:lnTo>
                    <a:lnTo>
                      <a:pt x="102" y="468"/>
                    </a:lnTo>
                    <a:lnTo>
                      <a:pt x="102" y="462"/>
                    </a:lnTo>
                    <a:lnTo>
                      <a:pt x="102" y="456"/>
                    </a:lnTo>
                    <a:lnTo>
                      <a:pt x="102" y="450"/>
                    </a:lnTo>
                    <a:lnTo>
                      <a:pt x="96" y="450"/>
                    </a:lnTo>
                    <a:lnTo>
                      <a:pt x="96" y="444"/>
                    </a:lnTo>
                    <a:lnTo>
                      <a:pt x="102" y="444"/>
                    </a:lnTo>
                    <a:lnTo>
                      <a:pt x="96" y="444"/>
                    </a:lnTo>
                    <a:lnTo>
                      <a:pt x="96" y="438"/>
                    </a:lnTo>
                    <a:lnTo>
                      <a:pt x="96" y="432"/>
                    </a:lnTo>
                    <a:lnTo>
                      <a:pt x="90" y="432"/>
                    </a:lnTo>
                    <a:lnTo>
                      <a:pt x="96" y="426"/>
                    </a:lnTo>
                    <a:lnTo>
                      <a:pt x="90" y="426"/>
                    </a:lnTo>
                    <a:lnTo>
                      <a:pt x="90" y="420"/>
                    </a:lnTo>
                    <a:lnTo>
                      <a:pt x="96" y="420"/>
                    </a:lnTo>
                    <a:lnTo>
                      <a:pt x="96" y="414"/>
                    </a:lnTo>
                    <a:lnTo>
                      <a:pt x="90" y="408"/>
                    </a:lnTo>
                    <a:lnTo>
                      <a:pt x="96" y="408"/>
                    </a:lnTo>
                    <a:lnTo>
                      <a:pt x="96" y="402"/>
                    </a:lnTo>
                    <a:lnTo>
                      <a:pt x="90" y="402"/>
                    </a:lnTo>
                    <a:lnTo>
                      <a:pt x="90" y="396"/>
                    </a:lnTo>
                    <a:lnTo>
                      <a:pt x="84" y="396"/>
                    </a:lnTo>
                    <a:lnTo>
                      <a:pt x="84" y="390"/>
                    </a:lnTo>
                    <a:lnTo>
                      <a:pt x="78" y="390"/>
                    </a:lnTo>
                    <a:lnTo>
                      <a:pt x="78" y="384"/>
                    </a:lnTo>
                    <a:lnTo>
                      <a:pt x="78" y="378"/>
                    </a:lnTo>
                    <a:lnTo>
                      <a:pt x="78" y="372"/>
                    </a:lnTo>
                    <a:lnTo>
                      <a:pt x="78" y="366"/>
                    </a:lnTo>
                    <a:lnTo>
                      <a:pt x="78" y="360"/>
                    </a:lnTo>
                    <a:lnTo>
                      <a:pt x="78" y="354"/>
                    </a:lnTo>
                    <a:lnTo>
                      <a:pt x="84" y="354"/>
                    </a:lnTo>
                    <a:lnTo>
                      <a:pt x="78" y="354"/>
                    </a:lnTo>
                    <a:lnTo>
                      <a:pt x="72" y="354"/>
                    </a:lnTo>
                    <a:lnTo>
                      <a:pt x="72" y="348"/>
                    </a:lnTo>
                    <a:lnTo>
                      <a:pt x="66" y="348"/>
                    </a:lnTo>
                    <a:lnTo>
                      <a:pt x="66" y="342"/>
                    </a:lnTo>
                    <a:lnTo>
                      <a:pt x="60" y="342"/>
                    </a:lnTo>
                    <a:lnTo>
                      <a:pt x="54" y="342"/>
                    </a:lnTo>
                    <a:lnTo>
                      <a:pt x="54" y="336"/>
                    </a:lnTo>
                    <a:lnTo>
                      <a:pt x="54" y="330"/>
                    </a:lnTo>
                    <a:lnTo>
                      <a:pt x="60" y="330"/>
                    </a:lnTo>
                    <a:lnTo>
                      <a:pt x="60" y="324"/>
                    </a:lnTo>
                    <a:lnTo>
                      <a:pt x="60" y="318"/>
                    </a:lnTo>
                    <a:lnTo>
                      <a:pt x="66" y="318"/>
                    </a:lnTo>
                    <a:lnTo>
                      <a:pt x="66" y="312"/>
                    </a:lnTo>
                    <a:lnTo>
                      <a:pt x="66" y="318"/>
                    </a:lnTo>
                    <a:lnTo>
                      <a:pt x="72" y="318"/>
                    </a:lnTo>
                    <a:lnTo>
                      <a:pt x="72" y="324"/>
                    </a:lnTo>
                    <a:lnTo>
                      <a:pt x="78" y="324"/>
                    </a:lnTo>
                    <a:lnTo>
                      <a:pt x="84" y="324"/>
                    </a:lnTo>
                    <a:lnTo>
                      <a:pt x="90" y="324"/>
                    </a:lnTo>
                    <a:lnTo>
                      <a:pt x="90" y="330"/>
                    </a:lnTo>
                    <a:lnTo>
                      <a:pt x="90" y="324"/>
                    </a:lnTo>
                    <a:lnTo>
                      <a:pt x="96" y="324"/>
                    </a:lnTo>
                    <a:lnTo>
                      <a:pt x="96" y="330"/>
                    </a:lnTo>
                    <a:lnTo>
                      <a:pt x="102" y="330"/>
                    </a:lnTo>
                    <a:lnTo>
                      <a:pt x="102" y="336"/>
                    </a:lnTo>
                    <a:lnTo>
                      <a:pt x="108" y="336"/>
                    </a:lnTo>
                    <a:lnTo>
                      <a:pt x="108" y="342"/>
                    </a:lnTo>
                    <a:lnTo>
                      <a:pt x="108" y="348"/>
                    </a:lnTo>
                    <a:lnTo>
                      <a:pt x="114" y="348"/>
                    </a:lnTo>
                    <a:lnTo>
                      <a:pt x="120" y="348"/>
                    </a:lnTo>
                    <a:lnTo>
                      <a:pt x="120" y="342"/>
                    </a:lnTo>
                    <a:lnTo>
                      <a:pt x="126" y="342"/>
                    </a:lnTo>
                    <a:lnTo>
                      <a:pt x="132" y="342"/>
                    </a:lnTo>
                    <a:lnTo>
                      <a:pt x="138" y="342"/>
                    </a:lnTo>
                    <a:lnTo>
                      <a:pt x="144" y="342"/>
                    </a:lnTo>
                    <a:lnTo>
                      <a:pt x="144" y="348"/>
                    </a:lnTo>
                    <a:lnTo>
                      <a:pt x="144" y="354"/>
                    </a:lnTo>
                    <a:lnTo>
                      <a:pt x="150" y="354"/>
                    </a:lnTo>
                    <a:lnTo>
                      <a:pt x="150" y="348"/>
                    </a:lnTo>
                    <a:lnTo>
                      <a:pt x="156" y="348"/>
                    </a:lnTo>
                    <a:lnTo>
                      <a:pt x="162" y="348"/>
                    </a:lnTo>
                    <a:lnTo>
                      <a:pt x="162" y="342"/>
                    </a:lnTo>
                    <a:lnTo>
                      <a:pt x="156" y="342"/>
                    </a:lnTo>
                    <a:lnTo>
                      <a:pt x="156" y="336"/>
                    </a:lnTo>
                    <a:lnTo>
                      <a:pt x="162" y="336"/>
                    </a:lnTo>
                    <a:lnTo>
                      <a:pt x="156" y="336"/>
                    </a:lnTo>
                    <a:lnTo>
                      <a:pt x="156" y="330"/>
                    </a:lnTo>
                    <a:lnTo>
                      <a:pt x="162" y="330"/>
                    </a:lnTo>
                    <a:lnTo>
                      <a:pt x="156" y="330"/>
                    </a:lnTo>
                    <a:lnTo>
                      <a:pt x="150" y="330"/>
                    </a:lnTo>
                    <a:lnTo>
                      <a:pt x="144" y="330"/>
                    </a:lnTo>
                    <a:lnTo>
                      <a:pt x="138" y="330"/>
                    </a:lnTo>
                    <a:lnTo>
                      <a:pt x="138" y="324"/>
                    </a:lnTo>
                    <a:lnTo>
                      <a:pt x="132" y="324"/>
                    </a:lnTo>
                    <a:lnTo>
                      <a:pt x="126" y="324"/>
                    </a:lnTo>
                    <a:lnTo>
                      <a:pt x="120" y="324"/>
                    </a:lnTo>
                    <a:lnTo>
                      <a:pt x="120" y="318"/>
                    </a:lnTo>
                    <a:lnTo>
                      <a:pt x="120" y="312"/>
                    </a:lnTo>
                    <a:lnTo>
                      <a:pt x="120" y="306"/>
                    </a:lnTo>
                    <a:lnTo>
                      <a:pt x="120" y="300"/>
                    </a:lnTo>
                    <a:lnTo>
                      <a:pt x="126" y="300"/>
                    </a:lnTo>
                    <a:lnTo>
                      <a:pt x="120" y="300"/>
                    </a:lnTo>
                    <a:lnTo>
                      <a:pt x="126" y="300"/>
                    </a:lnTo>
                    <a:lnTo>
                      <a:pt x="126" y="294"/>
                    </a:lnTo>
                    <a:lnTo>
                      <a:pt x="120" y="294"/>
                    </a:lnTo>
                    <a:lnTo>
                      <a:pt x="126" y="294"/>
                    </a:lnTo>
                    <a:lnTo>
                      <a:pt x="126" y="288"/>
                    </a:lnTo>
                    <a:lnTo>
                      <a:pt x="120" y="288"/>
                    </a:lnTo>
                    <a:lnTo>
                      <a:pt x="120" y="282"/>
                    </a:lnTo>
                    <a:lnTo>
                      <a:pt x="126" y="276"/>
                    </a:lnTo>
                    <a:lnTo>
                      <a:pt x="120" y="276"/>
                    </a:lnTo>
                    <a:lnTo>
                      <a:pt x="126" y="276"/>
                    </a:lnTo>
                    <a:lnTo>
                      <a:pt x="126" y="270"/>
                    </a:lnTo>
                    <a:lnTo>
                      <a:pt x="120" y="270"/>
                    </a:lnTo>
                    <a:lnTo>
                      <a:pt x="120" y="264"/>
                    </a:lnTo>
                    <a:lnTo>
                      <a:pt x="114" y="264"/>
                    </a:lnTo>
                    <a:lnTo>
                      <a:pt x="114" y="258"/>
                    </a:lnTo>
                    <a:lnTo>
                      <a:pt x="114" y="252"/>
                    </a:lnTo>
                    <a:lnTo>
                      <a:pt x="120" y="252"/>
                    </a:lnTo>
                    <a:lnTo>
                      <a:pt x="114" y="252"/>
                    </a:lnTo>
                    <a:lnTo>
                      <a:pt x="120" y="252"/>
                    </a:lnTo>
                    <a:lnTo>
                      <a:pt x="120" y="246"/>
                    </a:lnTo>
                    <a:lnTo>
                      <a:pt x="120" y="240"/>
                    </a:lnTo>
                    <a:lnTo>
                      <a:pt x="114" y="240"/>
                    </a:lnTo>
                    <a:lnTo>
                      <a:pt x="114" y="234"/>
                    </a:lnTo>
                    <a:lnTo>
                      <a:pt x="114" y="228"/>
                    </a:lnTo>
                    <a:lnTo>
                      <a:pt x="114" y="222"/>
                    </a:lnTo>
                    <a:lnTo>
                      <a:pt x="114" y="216"/>
                    </a:lnTo>
                    <a:lnTo>
                      <a:pt x="120" y="216"/>
                    </a:lnTo>
                    <a:lnTo>
                      <a:pt x="120" y="222"/>
                    </a:lnTo>
                    <a:lnTo>
                      <a:pt x="126" y="222"/>
                    </a:lnTo>
                    <a:lnTo>
                      <a:pt x="132" y="222"/>
                    </a:lnTo>
                    <a:lnTo>
                      <a:pt x="126" y="222"/>
                    </a:lnTo>
                    <a:lnTo>
                      <a:pt x="132" y="222"/>
                    </a:lnTo>
                    <a:lnTo>
                      <a:pt x="132" y="216"/>
                    </a:lnTo>
                    <a:lnTo>
                      <a:pt x="132" y="210"/>
                    </a:lnTo>
                    <a:lnTo>
                      <a:pt x="138" y="210"/>
                    </a:lnTo>
                    <a:lnTo>
                      <a:pt x="138" y="204"/>
                    </a:lnTo>
                    <a:lnTo>
                      <a:pt x="144" y="204"/>
                    </a:lnTo>
                    <a:lnTo>
                      <a:pt x="144" y="198"/>
                    </a:lnTo>
                    <a:lnTo>
                      <a:pt x="150" y="198"/>
                    </a:lnTo>
                    <a:lnTo>
                      <a:pt x="150" y="192"/>
                    </a:lnTo>
                    <a:lnTo>
                      <a:pt x="144" y="192"/>
                    </a:lnTo>
                    <a:lnTo>
                      <a:pt x="150" y="192"/>
                    </a:lnTo>
                    <a:lnTo>
                      <a:pt x="150" y="186"/>
                    </a:lnTo>
                    <a:lnTo>
                      <a:pt x="150" y="180"/>
                    </a:lnTo>
                    <a:lnTo>
                      <a:pt x="156" y="180"/>
                    </a:lnTo>
                    <a:lnTo>
                      <a:pt x="162" y="180"/>
                    </a:lnTo>
                    <a:lnTo>
                      <a:pt x="168" y="180"/>
                    </a:lnTo>
                    <a:lnTo>
                      <a:pt x="174" y="180"/>
                    </a:lnTo>
                    <a:lnTo>
                      <a:pt x="180" y="180"/>
                    </a:lnTo>
                    <a:lnTo>
                      <a:pt x="186" y="180"/>
                    </a:lnTo>
                    <a:lnTo>
                      <a:pt x="186" y="174"/>
                    </a:lnTo>
                    <a:lnTo>
                      <a:pt x="186" y="180"/>
                    </a:lnTo>
                    <a:lnTo>
                      <a:pt x="192" y="180"/>
                    </a:lnTo>
                    <a:lnTo>
                      <a:pt x="192" y="174"/>
                    </a:lnTo>
                    <a:lnTo>
                      <a:pt x="192" y="180"/>
                    </a:lnTo>
                    <a:lnTo>
                      <a:pt x="192" y="186"/>
                    </a:lnTo>
                    <a:lnTo>
                      <a:pt x="192" y="180"/>
                    </a:lnTo>
                    <a:lnTo>
                      <a:pt x="198" y="180"/>
                    </a:lnTo>
                    <a:lnTo>
                      <a:pt x="198" y="186"/>
                    </a:lnTo>
                    <a:lnTo>
                      <a:pt x="204" y="186"/>
                    </a:lnTo>
                    <a:lnTo>
                      <a:pt x="210" y="186"/>
                    </a:lnTo>
                    <a:lnTo>
                      <a:pt x="216" y="186"/>
                    </a:lnTo>
                    <a:lnTo>
                      <a:pt x="216" y="180"/>
                    </a:lnTo>
                    <a:lnTo>
                      <a:pt x="216" y="174"/>
                    </a:lnTo>
                    <a:lnTo>
                      <a:pt x="222" y="174"/>
                    </a:lnTo>
                    <a:lnTo>
                      <a:pt x="222" y="168"/>
                    </a:lnTo>
                    <a:lnTo>
                      <a:pt x="216" y="168"/>
                    </a:lnTo>
                    <a:lnTo>
                      <a:pt x="222" y="168"/>
                    </a:lnTo>
                    <a:lnTo>
                      <a:pt x="222" y="162"/>
                    </a:lnTo>
                    <a:lnTo>
                      <a:pt x="222" y="168"/>
                    </a:lnTo>
                    <a:lnTo>
                      <a:pt x="228" y="168"/>
                    </a:lnTo>
                    <a:lnTo>
                      <a:pt x="228" y="162"/>
                    </a:lnTo>
                    <a:lnTo>
                      <a:pt x="222" y="162"/>
                    </a:lnTo>
                    <a:lnTo>
                      <a:pt x="222" y="156"/>
                    </a:lnTo>
                    <a:lnTo>
                      <a:pt x="228" y="156"/>
                    </a:lnTo>
                    <a:lnTo>
                      <a:pt x="228" y="150"/>
                    </a:lnTo>
                    <a:lnTo>
                      <a:pt x="222" y="150"/>
                    </a:lnTo>
                    <a:lnTo>
                      <a:pt x="228" y="150"/>
                    </a:lnTo>
                    <a:lnTo>
                      <a:pt x="228" y="156"/>
                    </a:lnTo>
                    <a:lnTo>
                      <a:pt x="234" y="156"/>
                    </a:lnTo>
                    <a:lnTo>
                      <a:pt x="240" y="156"/>
                    </a:lnTo>
                    <a:lnTo>
                      <a:pt x="240" y="150"/>
                    </a:lnTo>
                    <a:lnTo>
                      <a:pt x="240" y="144"/>
                    </a:lnTo>
                    <a:lnTo>
                      <a:pt x="234" y="144"/>
                    </a:lnTo>
                    <a:lnTo>
                      <a:pt x="234" y="138"/>
                    </a:lnTo>
                    <a:lnTo>
                      <a:pt x="234" y="132"/>
                    </a:lnTo>
                    <a:lnTo>
                      <a:pt x="240" y="132"/>
                    </a:lnTo>
                    <a:lnTo>
                      <a:pt x="234" y="132"/>
                    </a:lnTo>
                    <a:lnTo>
                      <a:pt x="234" y="126"/>
                    </a:lnTo>
                    <a:lnTo>
                      <a:pt x="240" y="126"/>
                    </a:lnTo>
                    <a:lnTo>
                      <a:pt x="234" y="126"/>
                    </a:lnTo>
                    <a:lnTo>
                      <a:pt x="240" y="126"/>
                    </a:lnTo>
                    <a:lnTo>
                      <a:pt x="240" y="120"/>
                    </a:lnTo>
                    <a:lnTo>
                      <a:pt x="246" y="120"/>
                    </a:lnTo>
                    <a:lnTo>
                      <a:pt x="246" y="114"/>
                    </a:lnTo>
                    <a:lnTo>
                      <a:pt x="246" y="120"/>
                    </a:lnTo>
                    <a:lnTo>
                      <a:pt x="252" y="120"/>
                    </a:lnTo>
                    <a:lnTo>
                      <a:pt x="246" y="120"/>
                    </a:lnTo>
                    <a:lnTo>
                      <a:pt x="246" y="114"/>
                    </a:lnTo>
                    <a:lnTo>
                      <a:pt x="240" y="114"/>
                    </a:lnTo>
                    <a:lnTo>
                      <a:pt x="246" y="114"/>
                    </a:lnTo>
                    <a:lnTo>
                      <a:pt x="246" y="108"/>
                    </a:lnTo>
                    <a:lnTo>
                      <a:pt x="246" y="114"/>
                    </a:lnTo>
                    <a:lnTo>
                      <a:pt x="246" y="108"/>
                    </a:lnTo>
                    <a:lnTo>
                      <a:pt x="252" y="108"/>
                    </a:lnTo>
                    <a:lnTo>
                      <a:pt x="252" y="102"/>
                    </a:lnTo>
                    <a:lnTo>
                      <a:pt x="246" y="102"/>
                    </a:lnTo>
                    <a:lnTo>
                      <a:pt x="252" y="102"/>
                    </a:lnTo>
                    <a:lnTo>
                      <a:pt x="252" y="96"/>
                    </a:lnTo>
                    <a:lnTo>
                      <a:pt x="252" y="102"/>
                    </a:lnTo>
                    <a:lnTo>
                      <a:pt x="258" y="102"/>
                    </a:lnTo>
                    <a:lnTo>
                      <a:pt x="258" y="96"/>
                    </a:lnTo>
                    <a:lnTo>
                      <a:pt x="258" y="90"/>
                    </a:lnTo>
                    <a:lnTo>
                      <a:pt x="258" y="96"/>
                    </a:lnTo>
                    <a:lnTo>
                      <a:pt x="264" y="96"/>
                    </a:lnTo>
                    <a:lnTo>
                      <a:pt x="264" y="90"/>
                    </a:lnTo>
                    <a:lnTo>
                      <a:pt x="264" y="84"/>
                    </a:lnTo>
                    <a:lnTo>
                      <a:pt x="258" y="84"/>
                    </a:lnTo>
                    <a:lnTo>
                      <a:pt x="258" y="78"/>
                    </a:lnTo>
                    <a:lnTo>
                      <a:pt x="258" y="72"/>
                    </a:lnTo>
                    <a:lnTo>
                      <a:pt x="258" y="66"/>
                    </a:lnTo>
                    <a:lnTo>
                      <a:pt x="264" y="66"/>
                    </a:lnTo>
                    <a:lnTo>
                      <a:pt x="258" y="60"/>
                    </a:lnTo>
                    <a:lnTo>
                      <a:pt x="264" y="54"/>
                    </a:lnTo>
                    <a:lnTo>
                      <a:pt x="264" y="48"/>
                    </a:lnTo>
                    <a:lnTo>
                      <a:pt x="270" y="48"/>
                    </a:lnTo>
                    <a:lnTo>
                      <a:pt x="270" y="42"/>
                    </a:lnTo>
                    <a:lnTo>
                      <a:pt x="276" y="42"/>
                    </a:lnTo>
                    <a:lnTo>
                      <a:pt x="282" y="42"/>
                    </a:lnTo>
                    <a:lnTo>
                      <a:pt x="288" y="42"/>
                    </a:lnTo>
                    <a:lnTo>
                      <a:pt x="288" y="36"/>
                    </a:lnTo>
                    <a:lnTo>
                      <a:pt x="294" y="36"/>
                    </a:lnTo>
                    <a:lnTo>
                      <a:pt x="294" y="30"/>
                    </a:lnTo>
                    <a:lnTo>
                      <a:pt x="300" y="30"/>
                    </a:lnTo>
                    <a:lnTo>
                      <a:pt x="300" y="24"/>
                    </a:lnTo>
                    <a:lnTo>
                      <a:pt x="306" y="24"/>
                    </a:lnTo>
                    <a:lnTo>
                      <a:pt x="306" y="30"/>
                    </a:lnTo>
                    <a:lnTo>
                      <a:pt x="306" y="24"/>
                    </a:lnTo>
                    <a:lnTo>
                      <a:pt x="312" y="24"/>
                    </a:lnTo>
                    <a:lnTo>
                      <a:pt x="312" y="18"/>
                    </a:lnTo>
                    <a:lnTo>
                      <a:pt x="318" y="18"/>
                    </a:lnTo>
                    <a:lnTo>
                      <a:pt x="318" y="12"/>
                    </a:lnTo>
                    <a:lnTo>
                      <a:pt x="312" y="12"/>
                    </a:lnTo>
                    <a:lnTo>
                      <a:pt x="312" y="6"/>
                    </a:lnTo>
                    <a:lnTo>
                      <a:pt x="312" y="12"/>
                    </a:lnTo>
                    <a:lnTo>
                      <a:pt x="312" y="6"/>
                    </a:lnTo>
                    <a:lnTo>
                      <a:pt x="318" y="6"/>
                    </a:lnTo>
                    <a:lnTo>
                      <a:pt x="324" y="6"/>
                    </a:lnTo>
                    <a:lnTo>
                      <a:pt x="324" y="12"/>
                    </a:lnTo>
                    <a:lnTo>
                      <a:pt x="330" y="12"/>
                    </a:lnTo>
                    <a:lnTo>
                      <a:pt x="330" y="18"/>
                    </a:lnTo>
                    <a:lnTo>
                      <a:pt x="330" y="24"/>
                    </a:lnTo>
                    <a:lnTo>
                      <a:pt x="336" y="24"/>
                    </a:lnTo>
                    <a:lnTo>
                      <a:pt x="342" y="24"/>
                    </a:lnTo>
                    <a:lnTo>
                      <a:pt x="348" y="30"/>
                    </a:lnTo>
                    <a:lnTo>
                      <a:pt x="354" y="30"/>
                    </a:lnTo>
                    <a:lnTo>
                      <a:pt x="354" y="24"/>
                    </a:lnTo>
                    <a:lnTo>
                      <a:pt x="354" y="30"/>
                    </a:lnTo>
                    <a:lnTo>
                      <a:pt x="360" y="30"/>
                    </a:lnTo>
                    <a:lnTo>
                      <a:pt x="360" y="24"/>
                    </a:lnTo>
                    <a:lnTo>
                      <a:pt x="360" y="30"/>
                    </a:lnTo>
                    <a:lnTo>
                      <a:pt x="360" y="24"/>
                    </a:lnTo>
                    <a:lnTo>
                      <a:pt x="366" y="24"/>
                    </a:lnTo>
                    <a:lnTo>
                      <a:pt x="372" y="24"/>
                    </a:lnTo>
                    <a:lnTo>
                      <a:pt x="372" y="18"/>
                    </a:lnTo>
                    <a:lnTo>
                      <a:pt x="378" y="18"/>
                    </a:lnTo>
                    <a:lnTo>
                      <a:pt x="384" y="18"/>
                    </a:lnTo>
                    <a:lnTo>
                      <a:pt x="390" y="18"/>
                    </a:lnTo>
                    <a:lnTo>
                      <a:pt x="396" y="18"/>
                    </a:lnTo>
                    <a:lnTo>
                      <a:pt x="402" y="18"/>
                    </a:lnTo>
                    <a:lnTo>
                      <a:pt x="402" y="12"/>
                    </a:lnTo>
                    <a:lnTo>
                      <a:pt x="408" y="12"/>
                    </a:lnTo>
                    <a:lnTo>
                      <a:pt x="408" y="18"/>
                    </a:lnTo>
                    <a:lnTo>
                      <a:pt x="414" y="18"/>
                    </a:lnTo>
                    <a:lnTo>
                      <a:pt x="420" y="18"/>
                    </a:lnTo>
                    <a:lnTo>
                      <a:pt x="420" y="12"/>
                    </a:lnTo>
                    <a:lnTo>
                      <a:pt x="420" y="18"/>
                    </a:lnTo>
                    <a:lnTo>
                      <a:pt x="420" y="12"/>
                    </a:lnTo>
                    <a:lnTo>
                      <a:pt x="426" y="12"/>
                    </a:lnTo>
                    <a:lnTo>
                      <a:pt x="426" y="18"/>
                    </a:lnTo>
                    <a:lnTo>
                      <a:pt x="426" y="12"/>
                    </a:lnTo>
                    <a:lnTo>
                      <a:pt x="432" y="12"/>
                    </a:lnTo>
                    <a:lnTo>
                      <a:pt x="438" y="12"/>
                    </a:lnTo>
                    <a:lnTo>
                      <a:pt x="444" y="12"/>
                    </a:lnTo>
                    <a:lnTo>
                      <a:pt x="438" y="12"/>
                    </a:lnTo>
                    <a:lnTo>
                      <a:pt x="438" y="18"/>
                    </a:lnTo>
                    <a:lnTo>
                      <a:pt x="444" y="18"/>
                    </a:lnTo>
                    <a:lnTo>
                      <a:pt x="444" y="24"/>
                    </a:lnTo>
                    <a:lnTo>
                      <a:pt x="438" y="24"/>
                    </a:lnTo>
                    <a:lnTo>
                      <a:pt x="444" y="24"/>
                    </a:lnTo>
                    <a:lnTo>
                      <a:pt x="438" y="24"/>
                    </a:lnTo>
                    <a:lnTo>
                      <a:pt x="444" y="24"/>
                    </a:lnTo>
                    <a:lnTo>
                      <a:pt x="444" y="30"/>
                    </a:lnTo>
                    <a:lnTo>
                      <a:pt x="444" y="36"/>
                    </a:lnTo>
                    <a:lnTo>
                      <a:pt x="438" y="36"/>
                    </a:lnTo>
                    <a:lnTo>
                      <a:pt x="438" y="42"/>
                    </a:lnTo>
                    <a:lnTo>
                      <a:pt x="444" y="42"/>
                    </a:lnTo>
                    <a:lnTo>
                      <a:pt x="438" y="42"/>
                    </a:lnTo>
                    <a:lnTo>
                      <a:pt x="438" y="48"/>
                    </a:lnTo>
                    <a:lnTo>
                      <a:pt x="438" y="54"/>
                    </a:lnTo>
                    <a:lnTo>
                      <a:pt x="432" y="60"/>
                    </a:lnTo>
                    <a:lnTo>
                      <a:pt x="438" y="60"/>
                    </a:lnTo>
                    <a:lnTo>
                      <a:pt x="444" y="60"/>
                    </a:lnTo>
                    <a:lnTo>
                      <a:pt x="444" y="66"/>
                    </a:lnTo>
                    <a:lnTo>
                      <a:pt x="444" y="60"/>
                    </a:lnTo>
                    <a:lnTo>
                      <a:pt x="450" y="60"/>
                    </a:lnTo>
                    <a:lnTo>
                      <a:pt x="450" y="66"/>
                    </a:lnTo>
                    <a:lnTo>
                      <a:pt x="450" y="60"/>
                    </a:lnTo>
                    <a:lnTo>
                      <a:pt x="456" y="66"/>
                    </a:lnTo>
                    <a:lnTo>
                      <a:pt x="456" y="72"/>
                    </a:lnTo>
                    <a:lnTo>
                      <a:pt x="462" y="72"/>
                    </a:lnTo>
                    <a:lnTo>
                      <a:pt x="462" y="66"/>
                    </a:lnTo>
                    <a:lnTo>
                      <a:pt x="462" y="60"/>
                    </a:lnTo>
                    <a:lnTo>
                      <a:pt x="468" y="60"/>
                    </a:lnTo>
                    <a:lnTo>
                      <a:pt x="468" y="54"/>
                    </a:lnTo>
                    <a:lnTo>
                      <a:pt x="474" y="54"/>
                    </a:lnTo>
                    <a:lnTo>
                      <a:pt x="480" y="54"/>
                    </a:lnTo>
                    <a:lnTo>
                      <a:pt x="486" y="54"/>
                    </a:lnTo>
                    <a:lnTo>
                      <a:pt x="492" y="54"/>
                    </a:lnTo>
                    <a:lnTo>
                      <a:pt x="492" y="60"/>
                    </a:lnTo>
                    <a:lnTo>
                      <a:pt x="498" y="60"/>
                    </a:lnTo>
                    <a:lnTo>
                      <a:pt x="504" y="60"/>
                    </a:lnTo>
                    <a:lnTo>
                      <a:pt x="510" y="60"/>
                    </a:lnTo>
                    <a:lnTo>
                      <a:pt x="510" y="66"/>
                    </a:lnTo>
                    <a:lnTo>
                      <a:pt x="516" y="66"/>
                    </a:lnTo>
                    <a:lnTo>
                      <a:pt x="522" y="66"/>
                    </a:lnTo>
                    <a:lnTo>
                      <a:pt x="522" y="60"/>
                    </a:lnTo>
                    <a:lnTo>
                      <a:pt x="528" y="60"/>
                    </a:lnTo>
                    <a:lnTo>
                      <a:pt x="534" y="60"/>
                    </a:lnTo>
                    <a:lnTo>
                      <a:pt x="528" y="60"/>
                    </a:lnTo>
                    <a:lnTo>
                      <a:pt x="528" y="66"/>
                    </a:lnTo>
                    <a:lnTo>
                      <a:pt x="522" y="66"/>
                    </a:lnTo>
                    <a:lnTo>
                      <a:pt x="528" y="66"/>
                    </a:lnTo>
                    <a:lnTo>
                      <a:pt x="522" y="66"/>
                    </a:lnTo>
                    <a:lnTo>
                      <a:pt x="522" y="72"/>
                    </a:lnTo>
                    <a:lnTo>
                      <a:pt x="528" y="72"/>
                    </a:lnTo>
                    <a:lnTo>
                      <a:pt x="528" y="78"/>
                    </a:lnTo>
                    <a:lnTo>
                      <a:pt x="534" y="78"/>
                    </a:lnTo>
                    <a:lnTo>
                      <a:pt x="534" y="72"/>
                    </a:lnTo>
                    <a:lnTo>
                      <a:pt x="534" y="78"/>
                    </a:lnTo>
                    <a:lnTo>
                      <a:pt x="540" y="78"/>
                    </a:lnTo>
                    <a:lnTo>
                      <a:pt x="540" y="72"/>
                    </a:lnTo>
                    <a:lnTo>
                      <a:pt x="540" y="78"/>
                    </a:lnTo>
                    <a:lnTo>
                      <a:pt x="540" y="72"/>
                    </a:lnTo>
                    <a:lnTo>
                      <a:pt x="546" y="72"/>
                    </a:lnTo>
                    <a:lnTo>
                      <a:pt x="546" y="66"/>
                    </a:lnTo>
                    <a:lnTo>
                      <a:pt x="546" y="60"/>
                    </a:lnTo>
                    <a:lnTo>
                      <a:pt x="552" y="60"/>
                    </a:lnTo>
                    <a:lnTo>
                      <a:pt x="552" y="54"/>
                    </a:lnTo>
                    <a:lnTo>
                      <a:pt x="552" y="48"/>
                    </a:lnTo>
                    <a:lnTo>
                      <a:pt x="552" y="42"/>
                    </a:lnTo>
                    <a:lnTo>
                      <a:pt x="546" y="42"/>
                    </a:lnTo>
                    <a:lnTo>
                      <a:pt x="552" y="42"/>
                    </a:lnTo>
                    <a:lnTo>
                      <a:pt x="552" y="36"/>
                    </a:lnTo>
                    <a:lnTo>
                      <a:pt x="552" y="30"/>
                    </a:lnTo>
                    <a:lnTo>
                      <a:pt x="552" y="24"/>
                    </a:lnTo>
                    <a:lnTo>
                      <a:pt x="552" y="18"/>
                    </a:lnTo>
                    <a:lnTo>
                      <a:pt x="546" y="18"/>
                    </a:lnTo>
                    <a:lnTo>
                      <a:pt x="546" y="12"/>
                    </a:lnTo>
                    <a:lnTo>
                      <a:pt x="546" y="6"/>
                    </a:lnTo>
                    <a:lnTo>
                      <a:pt x="552" y="6"/>
                    </a:lnTo>
                    <a:lnTo>
                      <a:pt x="552" y="0"/>
                    </a:lnTo>
                    <a:lnTo>
                      <a:pt x="558" y="0"/>
                    </a:lnTo>
                    <a:lnTo>
                      <a:pt x="558" y="6"/>
                    </a:lnTo>
                    <a:lnTo>
                      <a:pt x="564" y="6"/>
                    </a:lnTo>
                    <a:lnTo>
                      <a:pt x="564" y="12"/>
                    </a:lnTo>
                    <a:lnTo>
                      <a:pt x="570" y="12"/>
                    </a:lnTo>
                    <a:lnTo>
                      <a:pt x="576" y="12"/>
                    </a:lnTo>
                    <a:lnTo>
                      <a:pt x="582" y="12"/>
                    </a:lnTo>
                    <a:lnTo>
                      <a:pt x="588" y="12"/>
                    </a:lnTo>
                    <a:lnTo>
                      <a:pt x="588" y="18"/>
                    </a:lnTo>
                    <a:lnTo>
                      <a:pt x="588" y="24"/>
                    </a:lnTo>
                    <a:lnTo>
                      <a:pt x="594" y="24"/>
                    </a:lnTo>
                    <a:lnTo>
                      <a:pt x="594" y="30"/>
                    </a:lnTo>
                    <a:lnTo>
                      <a:pt x="600" y="30"/>
                    </a:lnTo>
                    <a:lnTo>
                      <a:pt x="606" y="36"/>
                    </a:lnTo>
                    <a:lnTo>
                      <a:pt x="606" y="30"/>
                    </a:lnTo>
                    <a:lnTo>
                      <a:pt x="612" y="30"/>
                    </a:lnTo>
                    <a:lnTo>
                      <a:pt x="612" y="36"/>
                    </a:lnTo>
                    <a:lnTo>
                      <a:pt x="618" y="36"/>
                    </a:lnTo>
                    <a:lnTo>
                      <a:pt x="618" y="30"/>
                    </a:lnTo>
                    <a:lnTo>
                      <a:pt x="618" y="36"/>
                    </a:lnTo>
                    <a:lnTo>
                      <a:pt x="624" y="36"/>
                    </a:lnTo>
                    <a:lnTo>
                      <a:pt x="630" y="36"/>
                    </a:lnTo>
                    <a:lnTo>
                      <a:pt x="630" y="42"/>
                    </a:lnTo>
                    <a:lnTo>
                      <a:pt x="636" y="42"/>
                    </a:lnTo>
                    <a:lnTo>
                      <a:pt x="636" y="48"/>
                    </a:lnTo>
                    <a:lnTo>
                      <a:pt x="636" y="54"/>
                    </a:lnTo>
                    <a:lnTo>
                      <a:pt x="642" y="54"/>
                    </a:lnTo>
                    <a:lnTo>
                      <a:pt x="648" y="54"/>
                    </a:lnTo>
                    <a:lnTo>
                      <a:pt x="648" y="60"/>
                    </a:lnTo>
                    <a:lnTo>
                      <a:pt x="654" y="60"/>
                    </a:lnTo>
                    <a:lnTo>
                      <a:pt x="660" y="60"/>
                    </a:lnTo>
                    <a:lnTo>
                      <a:pt x="666" y="60"/>
                    </a:lnTo>
                    <a:lnTo>
                      <a:pt x="666" y="66"/>
                    </a:lnTo>
                    <a:lnTo>
                      <a:pt x="672" y="66"/>
                    </a:lnTo>
                    <a:lnTo>
                      <a:pt x="672" y="72"/>
                    </a:lnTo>
                    <a:lnTo>
                      <a:pt x="672" y="78"/>
                    </a:lnTo>
                    <a:lnTo>
                      <a:pt x="666" y="78"/>
                    </a:lnTo>
                    <a:lnTo>
                      <a:pt x="666" y="84"/>
                    </a:lnTo>
                    <a:lnTo>
                      <a:pt x="672" y="84"/>
                    </a:lnTo>
                    <a:lnTo>
                      <a:pt x="672" y="90"/>
                    </a:lnTo>
                    <a:lnTo>
                      <a:pt x="678" y="90"/>
                    </a:lnTo>
                    <a:lnTo>
                      <a:pt x="684" y="90"/>
                    </a:lnTo>
                    <a:lnTo>
                      <a:pt x="684" y="84"/>
                    </a:lnTo>
                    <a:lnTo>
                      <a:pt x="678" y="84"/>
                    </a:lnTo>
                    <a:lnTo>
                      <a:pt x="678" y="78"/>
                    </a:lnTo>
                    <a:lnTo>
                      <a:pt x="684" y="78"/>
                    </a:lnTo>
                    <a:lnTo>
                      <a:pt x="690" y="78"/>
                    </a:lnTo>
                    <a:lnTo>
                      <a:pt x="690" y="72"/>
                    </a:lnTo>
                    <a:lnTo>
                      <a:pt x="696" y="72"/>
                    </a:lnTo>
                    <a:lnTo>
                      <a:pt x="696" y="78"/>
                    </a:lnTo>
                    <a:lnTo>
                      <a:pt x="702" y="78"/>
                    </a:lnTo>
                    <a:lnTo>
                      <a:pt x="702" y="84"/>
                    </a:lnTo>
                    <a:lnTo>
                      <a:pt x="696" y="84"/>
                    </a:lnTo>
                    <a:lnTo>
                      <a:pt x="702" y="84"/>
                    </a:lnTo>
                    <a:lnTo>
                      <a:pt x="702" y="90"/>
                    </a:lnTo>
                    <a:lnTo>
                      <a:pt x="702" y="96"/>
                    </a:lnTo>
                    <a:lnTo>
                      <a:pt x="708" y="96"/>
                    </a:lnTo>
                    <a:lnTo>
                      <a:pt x="714" y="96"/>
                    </a:lnTo>
                    <a:lnTo>
                      <a:pt x="714" y="102"/>
                    </a:lnTo>
                    <a:lnTo>
                      <a:pt x="714" y="96"/>
                    </a:lnTo>
                    <a:lnTo>
                      <a:pt x="714" y="102"/>
                    </a:lnTo>
                    <a:lnTo>
                      <a:pt x="720" y="102"/>
                    </a:lnTo>
                    <a:lnTo>
                      <a:pt x="726" y="108"/>
                    </a:lnTo>
                    <a:lnTo>
                      <a:pt x="726" y="114"/>
                    </a:lnTo>
                    <a:lnTo>
                      <a:pt x="726" y="120"/>
                    </a:lnTo>
                    <a:lnTo>
                      <a:pt x="726" y="126"/>
                    </a:lnTo>
                    <a:lnTo>
                      <a:pt x="720" y="126"/>
                    </a:lnTo>
                    <a:lnTo>
                      <a:pt x="720" y="132"/>
                    </a:lnTo>
                    <a:lnTo>
                      <a:pt x="720" y="126"/>
                    </a:lnTo>
                    <a:lnTo>
                      <a:pt x="714" y="126"/>
                    </a:lnTo>
                    <a:lnTo>
                      <a:pt x="708" y="126"/>
                    </a:lnTo>
                    <a:lnTo>
                      <a:pt x="714" y="126"/>
                    </a:lnTo>
                    <a:lnTo>
                      <a:pt x="714" y="132"/>
                    </a:lnTo>
                    <a:lnTo>
                      <a:pt x="708" y="132"/>
                    </a:lnTo>
                    <a:lnTo>
                      <a:pt x="702" y="132"/>
                    </a:lnTo>
                    <a:lnTo>
                      <a:pt x="696" y="132"/>
                    </a:lnTo>
                    <a:lnTo>
                      <a:pt x="690" y="132"/>
                    </a:lnTo>
                    <a:lnTo>
                      <a:pt x="684" y="132"/>
                    </a:lnTo>
                    <a:lnTo>
                      <a:pt x="684" y="138"/>
                    </a:lnTo>
                    <a:lnTo>
                      <a:pt x="684" y="132"/>
                    </a:lnTo>
                    <a:lnTo>
                      <a:pt x="684" y="138"/>
                    </a:lnTo>
                    <a:lnTo>
                      <a:pt x="678" y="138"/>
                    </a:lnTo>
                    <a:lnTo>
                      <a:pt x="678" y="144"/>
                    </a:lnTo>
                    <a:lnTo>
                      <a:pt x="672" y="144"/>
                    </a:lnTo>
                    <a:lnTo>
                      <a:pt x="666" y="150"/>
                    </a:lnTo>
                    <a:lnTo>
                      <a:pt x="660" y="156"/>
                    </a:lnTo>
                    <a:lnTo>
                      <a:pt x="660" y="162"/>
                    </a:lnTo>
                    <a:lnTo>
                      <a:pt x="654" y="162"/>
                    </a:lnTo>
                    <a:lnTo>
                      <a:pt x="654" y="168"/>
                    </a:lnTo>
                    <a:lnTo>
                      <a:pt x="654" y="174"/>
                    </a:lnTo>
                    <a:lnTo>
                      <a:pt x="648" y="174"/>
                    </a:lnTo>
                    <a:lnTo>
                      <a:pt x="648" y="180"/>
                    </a:lnTo>
                    <a:lnTo>
                      <a:pt x="648" y="186"/>
                    </a:lnTo>
                    <a:lnTo>
                      <a:pt x="654" y="186"/>
                    </a:lnTo>
                    <a:lnTo>
                      <a:pt x="654" y="192"/>
                    </a:lnTo>
                    <a:lnTo>
                      <a:pt x="654" y="198"/>
                    </a:lnTo>
                    <a:lnTo>
                      <a:pt x="660" y="198"/>
                    </a:lnTo>
                    <a:lnTo>
                      <a:pt x="660" y="204"/>
                    </a:lnTo>
                    <a:lnTo>
                      <a:pt x="660" y="210"/>
                    </a:lnTo>
                    <a:lnTo>
                      <a:pt x="660" y="216"/>
                    </a:lnTo>
                    <a:lnTo>
                      <a:pt x="666" y="216"/>
                    </a:lnTo>
                    <a:lnTo>
                      <a:pt x="666" y="222"/>
                    </a:lnTo>
                    <a:lnTo>
                      <a:pt x="666" y="228"/>
                    </a:lnTo>
                    <a:lnTo>
                      <a:pt x="660" y="228"/>
                    </a:lnTo>
                    <a:lnTo>
                      <a:pt x="654" y="228"/>
                    </a:lnTo>
                    <a:lnTo>
                      <a:pt x="660" y="228"/>
                    </a:lnTo>
                    <a:lnTo>
                      <a:pt x="666" y="228"/>
                    </a:lnTo>
                    <a:lnTo>
                      <a:pt x="672" y="228"/>
                    </a:lnTo>
                    <a:lnTo>
                      <a:pt x="672" y="234"/>
                    </a:lnTo>
                    <a:lnTo>
                      <a:pt x="672" y="240"/>
                    </a:lnTo>
                    <a:lnTo>
                      <a:pt x="666" y="240"/>
                    </a:lnTo>
                    <a:lnTo>
                      <a:pt x="666" y="234"/>
                    </a:lnTo>
                    <a:lnTo>
                      <a:pt x="660" y="234"/>
                    </a:lnTo>
                    <a:lnTo>
                      <a:pt x="660" y="240"/>
                    </a:lnTo>
                    <a:lnTo>
                      <a:pt x="666" y="240"/>
                    </a:lnTo>
                    <a:lnTo>
                      <a:pt x="672" y="240"/>
                    </a:lnTo>
                    <a:lnTo>
                      <a:pt x="678" y="240"/>
                    </a:lnTo>
                    <a:lnTo>
                      <a:pt x="672" y="240"/>
                    </a:lnTo>
                    <a:lnTo>
                      <a:pt x="666" y="246"/>
                    </a:lnTo>
                    <a:lnTo>
                      <a:pt x="660" y="246"/>
                    </a:lnTo>
                    <a:lnTo>
                      <a:pt x="660" y="252"/>
                    </a:lnTo>
                    <a:lnTo>
                      <a:pt x="654" y="252"/>
                    </a:lnTo>
                    <a:lnTo>
                      <a:pt x="648" y="258"/>
                    </a:lnTo>
                    <a:lnTo>
                      <a:pt x="642" y="258"/>
                    </a:lnTo>
                    <a:lnTo>
                      <a:pt x="642" y="264"/>
                    </a:lnTo>
                    <a:lnTo>
                      <a:pt x="636" y="258"/>
                    </a:lnTo>
                    <a:lnTo>
                      <a:pt x="636" y="264"/>
                    </a:lnTo>
                    <a:lnTo>
                      <a:pt x="642" y="264"/>
                    </a:lnTo>
                    <a:lnTo>
                      <a:pt x="642" y="270"/>
                    </a:lnTo>
                    <a:lnTo>
                      <a:pt x="636" y="270"/>
                    </a:lnTo>
                    <a:lnTo>
                      <a:pt x="636" y="264"/>
                    </a:lnTo>
                    <a:lnTo>
                      <a:pt x="636" y="270"/>
                    </a:lnTo>
                    <a:lnTo>
                      <a:pt x="636" y="276"/>
                    </a:lnTo>
                    <a:lnTo>
                      <a:pt x="642" y="276"/>
                    </a:lnTo>
                    <a:lnTo>
                      <a:pt x="636" y="276"/>
                    </a:lnTo>
                    <a:lnTo>
                      <a:pt x="636" y="282"/>
                    </a:lnTo>
                    <a:lnTo>
                      <a:pt x="642" y="282"/>
                    </a:lnTo>
                    <a:lnTo>
                      <a:pt x="642" y="276"/>
                    </a:lnTo>
                    <a:lnTo>
                      <a:pt x="642" y="282"/>
                    </a:lnTo>
                    <a:lnTo>
                      <a:pt x="642" y="276"/>
                    </a:lnTo>
                    <a:lnTo>
                      <a:pt x="642" y="282"/>
                    </a:lnTo>
                    <a:lnTo>
                      <a:pt x="648" y="282"/>
                    </a:lnTo>
                    <a:lnTo>
                      <a:pt x="642" y="282"/>
                    </a:lnTo>
                    <a:lnTo>
                      <a:pt x="642" y="288"/>
                    </a:lnTo>
                    <a:lnTo>
                      <a:pt x="642" y="282"/>
                    </a:lnTo>
                    <a:lnTo>
                      <a:pt x="642" y="288"/>
                    </a:lnTo>
                    <a:lnTo>
                      <a:pt x="636" y="288"/>
                    </a:lnTo>
                    <a:lnTo>
                      <a:pt x="630" y="288"/>
                    </a:lnTo>
                    <a:lnTo>
                      <a:pt x="636" y="288"/>
                    </a:lnTo>
                    <a:lnTo>
                      <a:pt x="636" y="294"/>
                    </a:lnTo>
                    <a:lnTo>
                      <a:pt x="630" y="294"/>
                    </a:lnTo>
                    <a:lnTo>
                      <a:pt x="624" y="300"/>
                    </a:lnTo>
                    <a:lnTo>
                      <a:pt x="618" y="300"/>
                    </a:lnTo>
                    <a:lnTo>
                      <a:pt x="612" y="300"/>
                    </a:lnTo>
                    <a:lnTo>
                      <a:pt x="612" y="306"/>
                    </a:lnTo>
                    <a:lnTo>
                      <a:pt x="618" y="306"/>
                    </a:lnTo>
                    <a:lnTo>
                      <a:pt x="612" y="306"/>
                    </a:lnTo>
                    <a:lnTo>
                      <a:pt x="618" y="306"/>
                    </a:lnTo>
                    <a:lnTo>
                      <a:pt x="618" y="300"/>
                    </a:lnTo>
                    <a:lnTo>
                      <a:pt x="618" y="306"/>
                    </a:lnTo>
                    <a:lnTo>
                      <a:pt x="612" y="306"/>
                    </a:lnTo>
                    <a:lnTo>
                      <a:pt x="612" y="312"/>
                    </a:lnTo>
                    <a:lnTo>
                      <a:pt x="606" y="312"/>
                    </a:lnTo>
                    <a:lnTo>
                      <a:pt x="606" y="318"/>
                    </a:lnTo>
                    <a:lnTo>
                      <a:pt x="606" y="324"/>
                    </a:lnTo>
                    <a:lnTo>
                      <a:pt x="600" y="324"/>
                    </a:lnTo>
                    <a:lnTo>
                      <a:pt x="600" y="330"/>
                    </a:lnTo>
                    <a:lnTo>
                      <a:pt x="594" y="330"/>
                    </a:lnTo>
                    <a:lnTo>
                      <a:pt x="588" y="330"/>
                    </a:lnTo>
                    <a:lnTo>
                      <a:pt x="594" y="330"/>
                    </a:lnTo>
                    <a:lnTo>
                      <a:pt x="594" y="336"/>
                    </a:lnTo>
                    <a:lnTo>
                      <a:pt x="600" y="330"/>
                    </a:lnTo>
                    <a:lnTo>
                      <a:pt x="594" y="336"/>
                    </a:lnTo>
                    <a:lnTo>
                      <a:pt x="588" y="336"/>
                    </a:lnTo>
                    <a:lnTo>
                      <a:pt x="582" y="336"/>
                    </a:lnTo>
                    <a:lnTo>
                      <a:pt x="582" y="342"/>
                    </a:lnTo>
                    <a:lnTo>
                      <a:pt x="582" y="336"/>
                    </a:lnTo>
                    <a:lnTo>
                      <a:pt x="576" y="336"/>
                    </a:lnTo>
                    <a:lnTo>
                      <a:pt x="576" y="342"/>
                    </a:lnTo>
                    <a:lnTo>
                      <a:pt x="582" y="342"/>
                    </a:lnTo>
                    <a:lnTo>
                      <a:pt x="576" y="342"/>
                    </a:lnTo>
                    <a:lnTo>
                      <a:pt x="570" y="342"/>
                    </a:lnTo>
                    <a:lnTo>
                      <a:pt x="564" y="342"/>
                    </a:lnTo>
                    <a:lnTo>
                      <a:pt x="564" y="348"/>
                    </a:lnTo>
                    <a:lnTo>
                      <a:pt x="558" y="348"/>
                    </a:lnTo>
                    <a:lnTo>
                      <a:pt x="552" y="348"/>
                    </a:lnTo>
                    <a:lnTo>
                      <a:pt x="546" y="348"/>
                    </a:lnTo>
                    <a:lnTo>
                      <a:pt x="540" y="348"/>
                    </a:lnTo>
                    <a:lnTo>
                      <a:pt x="540" y="354"/>
                    </a:lnTo>
                    <a:lnTo>
                      <a:pt x="540" y="348"/>
                    </a:lnTo>
                    <a:lnTo>
                      <a:pt x="540" y="354"/>
                    </a:lnTo>
                    <a:lnTo>
                      <a:pt x="534" y="354"/>
                    </a:lnTo>
                    <a:lnTo>
                      <a:pt x="528" y="354"/>
                    </a:lnTo>
                    <a:lnTo>
                      <a:pt x="522" y="354"/>
                    </a:lnTo>
                    <a:lnTo>
                      <a:pt x="522" y="360"/>
                    </a:lnTo>
                    <a:lnTo>
                      <a:pt x="516" y="360"/>
                    </a:lnTo>
                    <a:lnTo>
                      <a:pt x="510" y="360"/>
                    </a:lnTo>
                    <a:lnTo>
                      <a:pt x="504" y="360"/>
                    </a:lnTo>
                    <a:lnTo>
                      <a:pt x="504" y="366"/>
                    </a:lnTo>
                    <a:lnTo>
                      <a:pt x="504" y="360"/>
                    </a:lnTo>
                    <a:lnTo>
                      <a:pt x="510" y="360"/>
                    </a:lnTo>
                    <a:lnTo>
                      <a:pt x="504" y="360"/>
                    </a:lnTo>
                    <a:lnTo>
                      <a:pt x="504" y="366"/>
                    </a:lnTo>
                    <a:lnTo>
                      <a:pt x="498" y="366"/>
                    </a:lnTo>
                    <a:lnTo>
                      <a:pt x="492" y="366"/>
                    </a:lnTo>
                    <a:lnTo>
                      <a:pt x="498" y="366"/>
                    </a:lnTo>
                    <a:lnTo>
                      <a:pt x="504" y="366"/>
                    </a:lnTo>
                    <a:lnTo>
                      <a:pt x="498" y="366"/>
                    </a:lnTo>
                    <a:lnTo>
                      <a:pt x="492" y="372"/>
                    </a:lnTo>
                    <a:lnTo>
                      <a:pt x="486" y="372"/>
                    </a:lnTo>
                    <a:lnTo>
                      <a:pt x="480" y="378"/>
                    </a:lnTo>
                    <a:lnTo>
                      <a:pt x="474" y="378"/>
                    </a:lnTo>
                    <a:lnTo>
                      <a:pt x="474" y="384"/>
                    </a:lnTo>
                    <a:lnTo>
                      <a:pt x="468" y="384"/>
                    </a:lnTo>
                    <a:lnTo>
                      <a:pt x="462" y="390"/>
                    </a:lnTo>
                    <a:lnTo>
                      <a:pt x="456" y="390"/>
                    </a:lnTo>
                    <a:lnTo>
                      <a:pt x="456" y="396"/>
                    </a:lnTo>
                    <a:lnTo>
                      <a:pt x="450" y="396"/>
                    </a:lnTo>
                    <a:lnTo>
                      <a:pt x="450" y="402"/>
                    </a:lnTo>
                    <a:lnTo>
                      <a:pt x="444" y="402"/>
                    </a:lnTo>
                    <a:lnTo>
                      <a:pt x="444" y="408"/>
                    </a:lnTo>
                    <a:lnTo>
                      <a:pt x="438" y="408"/>
                    </a:lnTo>
                    <a:lnTo>
                      <a:pt x="444" y="408"/>
                    </a:lnTo>
                    <a:lnTo>
                      <a:pt x="438" y="408"/>
                    </a:lnTo>
                    <a:lnTo>
                      <a:pt x="432" y="414"/>
                    </a:lnTo>
                    <a:lnTo>
                      <a:pt x="426" y="414"/>
                    </a:lnTo>
                    <a:lnTo>
                      <a:pt x="426" y="420"/>
                    </a:lnTo>
                    <a:lnTo>
                      <a:pt x="420" y="420"/>
                    </a:lnTo>
                    <a:lnTo>
                      <a:pt x="420" y="426"/>
                    </a:lnTo>
                    <a:lnTo>
                      <a:pt x="414" y="426"/>
                    </a:lnTo>
                    <a:lnTo>
                      <a:pt x="414" y="432"/>
                    </a:lnTo>
                    <a:lnTo>
                      <a:pt x="408" y="432"/>
                    </a:lnTo>
                    <a:lnTo>
                      <a:pt x="408" y="438"/>
                    </a:lnTo>
                    <a:lnTo>
                      <a:pt x="402" y="438"/>
                    </a:lnTo>
                    <a:lnTo>
                      <a:pt x="402" y="444"/>
                    </a:lnTo>
                    <a:lnTo>
                      <a:pt x="396" y="444"/>
                    </a:lnTo>
                    <a:close/>
                    <a:moveTo>
                      <a:pt x="654" y="228"/>
                    </a:moveTo>
                    <a:lnTo>
                      <a:pt x="666" y="228"/>
                    </a:lnTo>
                    <a:lnTo>
                      <a:pt x="654" y="228"/>
                    </a:lnTo>
                    <a:close/>
                    <a:moveTo>
                      <a:pt x="648" y="276"/>
                    </a:moveTo>
                    <a:lnTo>
                      <a:pt x="648" y="282"/>
                    </a:lnTo>
                    <a:lnTo>
                      <a:pt x="649" y="282"/>
                    </a:lnTo>
                    <a:lnTo>
                      <a:pt x="648" y="276"/>
                    </a:lnTo>
                    <a:close/>
                    <a:moveTo>
                      <a:pt x="648" y="276"/>
                    </a:moveTo>
                    <a:lnTo>
                      <a:pt x="648" y="270"/>
                    </a:lnTo>
                    <a:lnTo>
                      <a:pt x="648" y="264"/>
                    </a:lnTo>
                    <a:lnTo>
                      <a:pt x="648" y="270"/>
                    </a:lnTo>
                    <a:lnTo>
                      <a:pt x="648" y="276"/>
                    </a:lnTo>
                    <a:close/>
                    <a:moveTo>
                      <a:pt x="672" y="222"/>
                    </a:moveTo>
                    <a:lnTo>
                      <a:pt x="672" y="228"/>
                    </a:lnTo>
                    <a:lnTo>
                      <a:pt x="673" y="228"/>
                    </a:lnTo>
                    <a:lnTo>
                      <a:pt x="672" y="222"/>
                    </a:lnTo>
                    <a:close/>
                    <a:moveTo>
                      <a:pt x="678" y="228"/>
                    </a:moveTo>
                    <a:lnTo>
                      <a:pt x="684" y="228"/>
                    </a:lnTo>
                    <a:lnTo>
                      <a:pt x="684" y="234"/>
                    </a:lnTo>
                    <a:lnTo>
                      <a:pt x="678" y="234"/>
                    </a:lnTo>
                    <a:lnTo>
                      <a:pt x="678" y="228"/>
                    </a:lnTo>
                    <a:close/>
                    <a:moveTo>
                      <a:pt x="714" y="132"/>
                    </a:moveTo>
                    <a:lnTo>
                      <a:pt x="720" y="132"/>
                    </a:lnTo>
                    <a:lnTo>
                      <a:pt x="714" y="132"/>
                    </a:lnTo>
                    <a:close/>
                    <a:moveTo>
                      <a:pt x="672" y="234"/>
                    </a:moveTo>
                    <a:lnTo>
                      <a:pt x="672" y="240"/>
                    </a:lnTo>
                    <a:lnTo>
                      <a:pt x="673" y="240"/>
                    </a:lnTo>
                    <a:lnTo>
                      <a:pt x="672" y="234"/>
                    </a:lnTo>
                    <a:close/>
                    <a:moveTo>
                      <a:pt x="576" y="342"/>
                    </a:moveTo>
                    <a:lnTo>
                      <a:pt x="582" y="342"/>
                    </a:lnTo>
                    <a:lnTo>
                      <a:pt x="576" y="342"/>
                    </a:lnTo>
                    <a:close/>
                    <a:moveTo>
                      <a:pt x="498" y="366"/>
                    </a:moveTo>
                    <a:lnTo>
                      <a:pt x="504" y="366"/>
                    </a:lnTo>
                    <a:lnTo>
                      <a:pt x="498" y="366"/>
                    </a:lnTo>
                    <a:close/>
                    <a:moveTo>
                      <a:pt x="492" y="366"/>
                    </a:moveTo>
                    <a:lnTo>
                      <a:pt x="498" y="366"/>
                    </a:lnTo>
                    <a:lnTo>
                      <a:pt x="492" y="366"/>
                    </a:lnTo>
                    <a:close/>
                    <a:moveTo>
                      <a:pt x="504" y="360"/>
                    </a:moveTo>
                    <a:lnTo>
                      <a:pt x="510" y="360"/>
                    </a:lnTo>
                    <a:lnTo>
                      <a:pt x="504" y="360"/>
                    </a:lnTo>
                    <a:close/>
                    <a:moveTo>
                      <a:pt x="672" y="234"/>
                    </a:moveTo>
                    <a:lnTo>
                      <a:pt x="672" y="240"/>
                    </a:lnTo>
                    <a:lnTo>
                      <a:pt x="673" y="240"/>
                    </a:lnTo>
                    <a:lnTo>
                      <a:pt x="672" y="234"/>
                    </a:lnTo>
                    <a:close/>
                    <a:moveTo>
                      <a:pt x="678" y="234"/>
                    </a:moveTo>
                    <a:lnTo>
                      <a:pt x="684" y="234"/>
                    </a:lnTo>
                    <a:lnTo>
                      <a:pt x="678" y="234"/>
                    </a:lnTo>
                    <a:close/>
                    <a:moveTo>
                      <a:pt x="582" y="336"/>
                    </a:moveTo>
                    <a:lnTo>
                      <a:pt x="582" y="342"/>
                    </a:lnTo>
                    <a:lnTo>
                      <a:pt x="583" y="342"/>
                    </a:lnTo>
                    <a:lnTo>
                      <a:pt x="582" y="336"/>
                    </a:lnTo>
                    <a:close/>
                    <a:moveTo>
                      <a:pt x="582" y="336"/>
                    </a:moveTo>
                    <a:lnTo>
                      <a:pt x="582" y="342"/>
                    </a:lnTo>
                    <a:lnTo>
                      <a:pt x="583" y="342"/>
                    </a:lnTo>
                    <a:lnTo>
                      <a:pt x="582" y="336"/>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US" sz="800" dirty="0">
                  <a:solidFill>
                    <a:srgbClr val="000000"/>
                  </a:solidFill>
                </a:endParaRPr>
              </a:p>
            </p:txBody>
          </p:sp>
          <p:sp>
            <p:nvSpPr>
              <p:cNvPr id="63" name="Freeform 70"/>
              <p:cNvSpPr>
                <a:spLocks/>
              </p:cNvSpPr>
              <p:nvPr/>
            </p:nvSpPr>
            <p:spPr bwMode="gray">
              <a:xfrm>
                <a:off x="3923373" y="3298882"/>
                <a:ext cx="640775" cy="1024322"/>
              </a:xfrm>
              <a:custGeom>
                <a:avLst/>
                <a:gdLst>
                  <a:gd name="T0" fmla="*/ 438 w 498"/>
                  <a:gd name="T1" fmla="*/ 228 h 804"/>
                  <a:gd name="T2" fmla="*/ 396 w 498"/>
                  <a:gd name="T3" fmla="*/ 264 h 804"/>
                  <a:gd name="T4" fmla="*/ 390 w 498"/>
                  <a:gd name="T5" fmla="*/ 300 h 804"/>
                  <a:gd name="T6" fmla="*/ 384 w 498"/>
                  <a:gd name="T7" fmla="*/ 312 h 804"/>
                  <a:gd name="T8" fmla="*/ 378 w 498"/>
                  <a:gd name="T9" fmla="*/ 348 h 804"/>
                  <a:gd name="T10" fmla="*/ 360 w 498"/>
                  <a:gd name="T11" fmla="*/ 360 h 804"/>
                  <a:gd name="T12" fmla="*/ 330 w 498"/>
                  <a:gd name="T13" fmla="*/ 384 h 804"/>
                  <a:gd name="T14" fmla="*/ 288 w 498"/>
                  <a:gd name="T15" fmla="*/ 384 h 804"/>
                  <a:gd name="T16" fmla="*/ 270 w 498"/>
                  <a:gd name="T17" fmla="*/ 420 h 804"/>
                  <a:gd name="T18" fmla="*/ 258 w 498"/>
                  <a:gd name="T19" fmla="*/ 450 h 804"/>
                  <a:gd name="T20" fmla="*/ 264 w 498"/>
                  <a:gd name="T21" fmla="*/ 492 h 804"/>
                  <a:gd name="T22" fmla="*/ 276 w 498"/>
                  <a:gd name="T23" fmla="*/ 522 h 804"/>
                  <a:gd name="T24" fmla="*/ 294 w 498"/>
                  <a:gd name="T25" fmla="*/ 546 h 804"/>
                  <a:gd name="T26" fmla="*/ 246 w 498"/>
                  <a:gd name="T27" fmla="*/ 540 h 804"/>
                  <a:gd name="T28" fmla="*/ 204 w 498"/>
                  <a:gd name="T29" fmla="*/ 516 h 804"/>
                  <a:gd name="T30" fmla="*/ 210 w 498"/>
                  <a:gd name="T31" fmla="*/ 552 h 804"/>
                  <a:gd name="T32" fmla="*/ 228 w 498"/>
                  <a:gd name="T33" fmla="*/ 600 h 804"/>
                  <a:gd name="T34" fmla="*/ 240 w 498"/>
                  <a:gd name="T35" fmla="*/ 642 h 804"/>
                  <a:gd name="T36" fmla="*/ 234 w 498"/>
                  <a:gd name="T37" fmla="*/ 672 h 804"/>
                  <a:gd name="T38" fmla="*/ 204 w 498"/>
                  <a:gd name="T39" fmla="*/ 696 h 804"/>
                  <a:gd name="T40" fmla="*/ 174 w 498"/>
                  <a:gd name="T41" fmla="*/ 738 h 804"/>
                  <a:gd name="T42" fmla="*/ 156 w 498"/>
                  <a:gd name="T43" fmla="*/ 762 h 804"/>
                  <a:gd name="T44" fmla="*/ 120 w 498"/>
                  <a:gd name="T45" fmla="*/ 804 h 804"/>
                  <a:gd name="T46" fmla="*/ 84 w 498"/>
                  <a:gd name="T47" fmla="*/ 768 h 804"/>
                  <a:gd name="T48" fmla="*/ 72 w 498"/>
                  <a:gd name="T49" fmla="*/ 750 h 804"/>
                  <a:gd name="T50" fmla="*/ 48 w 498"/>
                  <a:gd name="T51" fmla="*/ 720 h 804"/>
                  <a:gd name="T52" fmla="*/ 0 w 498"/>
                  <a:gd name="T53" fmla="*/ 684 h 804"/>
                  <a:gd name="T54" fmla="*/ 12 w 498"/>
                  <a:gd name="T55" fmla="*/ 630 h 804"/>
                  <a:gd name="T56" fmla="*/ 54 w 498"/>
                  <a:gd name="T57" fmla="*/ 612 h 804"/>
                  <a:gd name="T58" fmla="*/ 72 w 498"/>
                  <a:gd name="T59" fmla="*/ 588 h 804"/>
                  <a:gd name="T60" fmla="*/ 48 w 498"/>
                  <a:gd name="T61" fmla="*/ 558 h 804"/>
                  <a:gd name="T62" fmla="*/ 24 w 498"/>
                  <a:gd name="T63" fmla="*/ 552 h 804"/>
                  <a:gd name="T64" fmla="*/ 36 w 498"/>
                  <a:gd name="T65" fmla="*/ 510 h 804"/>
                  <a:gd name="T66" fmla="*/ 42 w 498"/>
                  <a:gd name="T67" fmla="*/ 486 h 804"/>
                  <a:gd name="T68" fmla="*/ 30 w 498"/>
                  <a:gd name="T69" fmla="*/ 444 h 804"/>
                  <a:gd name="T70" fmla="*/ 24 w 498"/>
                  <a:gd name="T71" fmla="*/ 402 h 804"/>
                  <a:gd name="T72" fmla="*/ 48 w 498"/>
                  <a:gd name="T73" fmla="*/ 372 h 804"/>
                  <a:gd name="T74" fmla="*/ 60 w 498"/>
                  <a:gd name="T75" fmla="*/ 300 h 804"/>
                  <a:gd name="T76" fmla="*/ 84 w 498"/>
                  <a:gd name="T77" fmla="*/ 258 h 804"/>
                  <a:gd name="T78" fmla="*/ 108 w 498"/>
                  <a:gd name="T79" fmla="*/ 228 h 804"/>
                  <a:gd name="T80" fmla="*/ 138 w 498"/>
                  <a:gd name="T81" fmla="*/ 210 h 804"/>
                  <a:gd name="T82" fmla="*/ 162 w 498"/>
                  <a:gd name="T83" fmla="*/ 198 h 804"/>
                  <a:gd name="T84" fmla="*/ 186 w 498"/>
                  <a:gd name="T85" fmla="*/ 168 h 804"/>
                  <a:gd name="T86" fmla="*/ 222 w 498"/>
                  <a:gd name="T87" fmla="*/ 126 h 804"/>
                  <a:gd name="T88" fmla="*/ 216 w 498"/>
                  <a:gd name="T89" fmla="*/ 90 h 804"/>
                  <a:gd name="T90" fmla="*/ 186 w 498"/>
                  <a:gd name="T91" fmla="*/ 66 h 804"/>
                  <a:gd name="T92" fmla="*/ 162 w 498"/>
                  <a:gd name="T93" fmla="*/ 60 h 804"/>
                  <a:gd name="T94" fmla="*/ 162 w 498"/>
                  <a:gd name="T95" fmla="*/ 24 h 804"/>
                  <a:gd name="T96" fmla="*/ 198 w 498"/>
                  <a:gd name="T97" fmla="*/ 30 h 804"/>
                  <a:gd name="T98" fmla="*/ 246 w 498"/>
                  <a:gd name="T99" fmla="*/ 36 h 804"/>
                  <a:gd name="T100" fmla="*/ 288 w 498"/>
                  <a:gd name="T101" fmla="*/ 24 h 804"/>
                  <a:gd name="T102" fmla="*/ 330 w 498"/>
                  <a:gd name="T103" fmla="*/ 24 h 804"/>
                  <a:gd name="T104" fmla="*/ 360 w 498"/>
                  <a:gd name="T105" fmla="*/ 12 h 804"/>
                  <a:gd name="T106" fmla="*/ 396 w 498"/>
                  <a:gd name="T107" fmla="*/ 18 h 804"/>
                  <a:gd name="T108" fmla="*/ 420 w 498"/>
                  <a:gd name="T109" fmla="*/ 48 h 804"/>
                  <a:gd name="T110" fmla="*/ 456 w 498"/>
                  <a:gd name="T111" fmla="*/ 72 h 804"/>
                  <a:gd name="T112" fmla="*/ 456 w 498"/>
                  <a:gd name="T113" fmla="*/ 96 h 804"/>
                  <a:gd name="T114" fmla="*/ 474 w 498"/>
                  <a:gd name="T115" fmla="*/ 144 h 804"/>
                  <a:gd name="T116" fmla="*/ 492 w 498"/>
                  <a:gd name="T117" fmla="*/ 156 h 804"/>
                  <a:gd name="T118" fmla="*/ 456 w 498"/>
                  <a:gd name="T119" fmla="*/ 192 h 8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98" h="804">
                    <a:moveTo>
                      <a:pt x="450" y="204"/>
                    </a:moveTo>
                    <a:lnTo>
                      <a:pt x="450" y="210"/>
                    </a:lnTo>
                    <a:lnTo>
                      <a:pt x="450" y="204"/>
                    </a:lnTo>
                    <a:lnTo>
                      <a:pt x="450" y="210"/>
                    </a:lnTo>
                    <a:lnTo>
                      <a:pt x="456" y="210"/>
                    </a:lnTo>
                    <a:lnTo>
                      <a:pt x="456" y="216"/>
                    </a:lnTo>
                    <a:lnTo>
                      <a:pt x="450" y="216"/>
                    </a:lnTo>
                    <a:lnTo>
                      <a:pt x="450" y="222"/>
                    </a:lnTo>
                    <a:lnTo>
                      <a:pt x="444" y="222"/>
                    </a:lnTo>
                    <a:lnTo>
                      <a:pt x="444" y="228"/>
                    </a:lnTo>
                    <a:lnTo>
                      <a:pt x="444" y="222"/>
                    </a:lnTo>
                    <a:lnTo>
                      <a:pt x="438" y="222"/>
                    </a:lnTo>
                    <a:lnTo>
                      <a:pt x="438" y="228"/>
                    </a:lnTo>
                    <a:lnTo>
                      <a:pt x="432" y="228"/>
                    </a:lnTo>
                    <a:lnTo>
                      <a:pt x="432" y="234"/>
                    </a:lnTo>
                    <a:lnTo>
                      <a:pt x="426" y="234"/>
                    </a:lnTo>
                    <a:lnTo>
                      <a:pt x="426" y="240"/>
                    </a:lnTo>
                    <a:lnTo>
                      <a:pt x="420" y="240"/>
                    </a:lnTo>
                    <a:lnTo>
                      <a:pt x="414" y="240"/>
                    </a:lnTo>
                    <a:lnTo>
                      <a:pt x="408" y="240"/>
                    </a:lnTo>
                    <a:lnTo>
                      <a:pt x="408" y="246"/>
                    </a:lnTo>
                    <a:lnTo>
                      <a:pt x="402" y="246"/>
                    </a:lnTo>
                    <a:lnTo>
                      <a:pt x="402" y="252"/>
                    </a:lnTo>
                    <a:lnTo>
                      <a:pt x="396" y="258"/>
                    </a:lnTo>
                    <a:lnTo>
                      <a:pt x="402" y="264"/>
                    </a:lnTo>
                    <a:lnTo>
                      <a:pt x="396" y="264"/>
                    </a:lnTo>
                    <a:lnTo>
                      <a:pt x="396" y="270"/>
                    </a:lnTo>
                    <a:lnTo>
                      <a:pt x="396" y="276"/>
                    </a:lnTo>
                    <a:lnTo>
                      <a:pt x="396" y="282"/>
                    </a:lnTo>
                    <a:lnTo>
                      <a:pt x="402" y="282"/>
                    </a:lnTo>
                    <a:lnTo>
                      <a:pt x="402" y="288"/>
                    </a:lnTo>
                    <a:lnTo>
                      <a:pt x="402" y="294"/>
                    </a:lnTo>
                    <a:lnTo>
                      <a:pt x="396" y="294"/>
                    </a:lnTo>
                    <a:lnTo>
                      <a:pt x="396" y="288"/>
                    </a:lnTo>
                    <a:lnTo>
                      <a:pt x="396" y="294"/>
                    </a:lnTo>
                    <a:lnTo>
                      <a:pt x="396" y="300"/>
                    </a:lnTo>
                    <a:lnTo>
                      <a:pt x="390" y="300"/>
                    </a:lnTo>
                    <a:lnTo>
                      <a:pt x="390" y="294"/>
                    </a:lnTo>
                    <a:lnTo>
                      <a:pt x="390" y="300"/>
                    </a:lnTo>
                    <a:lnTo>
                      <a:pt x="384" y="300"/>
                    </a:lnTo>
                    <a:lnTo>
                      <a:pt x="390" y="300"/>
                    </a:lnTo>
                    <a:lnTo>
                      <a:pt x="390" y="306"/>
                    </a:lnTo>
                    <a:lnTo>
                      <a:pt x="384" y="306"/>
                    </a:lnTo>
                    <a:lnTo>
                      <a:pt x="384" y="312"/>
                    </a:lnTo>
                    <a:lnTo>
                      <a:pt x="384" y="306"/>
                    </a:lnTo>
                    <a:lnTo>
                      <a:pt x="384" y="312"/>
                    </a:lnTo>
                    <a:lnTo>
                      <a:pt x="378" y="312"/>
                    </a:lnTo>
                    <a:lnTo>
                      <a:pt x="384" y="312"/>
                    </a:lnTo>
                    <a:lnTo>
                      <a:pt x="384" y="318"/>
                    </a:lnTo>
                    <a:lnTo>
                      <a:pt x="390" y="318"/>
                    </a:lnTo>
                    <a:lnTo>
                      <a:pt x="384" y="318"/>
                    </a:lnTo>
                    <a:lnTo>
                      <a:pt x="384" y="312"/>
                    </a:lnTo>
                    <a:lnTo>
                      <a:pt x="384" y="318"/>
                    </a:lnTo>
                    <a:lnTo>
                      <a:pt x="378" y="318"/>
                    </a:lnTo>
                    <a:lnTo>
                      <a:pt x="378" y="324"/>
                    </a:lnTo>
                    <a:lnTo>
                      <a:pt x="372" y="324"/>
                    </a:lnTo>
                    <a:lnTo>
                      <a:pt x="378" y="324"/>
                    </a:lnTo>
                    <a:lnTo>
                      <a:pt x="372" y="324"/>
                    </a:lnTo>
                    <a:lnTo>
                      <a:pt x="372" y="330"/>
                    </a:lnTo>
                    <a:lnTo>
                      <a:pt x="378" y="330"/>
                    </a:lnTo>
                    <a:lnTo>
                      <a:pt x="372" y="330"/>
                    </a:lnTo>
                    <a:lnTo>
                      <a:pt x="372" y="336"/>
                    </a:lnTo>
                    <a:lnTo>
                      <a:pt x="372" y="342"/>
                    </a:lnTo>
                    <a:lnTo>
                      <a:pt x="378" y="342"/>
                    </a:lnTo>
                    <a:lnTo>
                      <a:pt x="378" y="348"/>
                    </a:lnTo>
                    <a:lnTo>
                      <a:pt x="378" y="354"/>
                    </a:lnTo>
                    <a:lnTo>
                      <a:pt x="372" y="354"/>
                    </a:lnTo>
                    <a:lnTo>
                      <a:pt x="366" y="354"/>
                    </a:lnTo>
                    <a:lnTo>
                      <a:pt x="366" y="348"/>
                    </a:lnTo>
                    <a:lnTo>
                      <a:pt x="360" y="348"/>
                    </a:lnTo>
                    <a:lnTo>
                      <a:pt x="366" y="348"/>
                    </a:lnTo>
                    <a:lnTo>
                      <a:pt x="366" y="354"/>
                    </a:lnTo>
                    <a:lnTo>
                      <a:pt x="360" y="354"/>
                    </a:lnTo>
                    <a:lnTo>
                      <a:pt x="360" y="360"/>
                    </a:lnTo>
                    <a:lnTo>
                      <a:pt x="366" y="360"/>
                    </a:lnTo>
                    <a:lnTo>
                      <a:pt x="366" y="366"/>
                    </a:lnTo>
                    <a:lnTo>
                      <a:pt x="360" y="366"/>
                    </a:lnTo>
                    <a:lnTo>
                      <a:pt x="360" y="360"/>
                    </a:lnTo>
                    <a:lnTo>
                      <a:pt x="360" y="366"/>
                    </a:lnTo>
                    <a:lnTo>
                      <a:pt x="354" y="366"/>
                    </a:lnTo>
                    <a:lnTo>
                      <a:pt x="360" y="366"/>
                    </a:lnTo>
                    <a:lnTo>
                      <a:pt x="360" y="372"/>
                    </a:lnTo>
                    <a:lnTo>
                      <a:pt x="354" y="372"/>
                    </a:lnTo>
                    <a:lnTo>
                      <a:pt x="354" y="378"/>
                    </a:lnTo>
                    <a:lnTo>
                      <a:pt x="354" y="384"/>
                    </a:lnTo>
                    <a:lnTo>
                      <a:pt x="348" y="384"/>
                    </a:lnTo>
                    <a:lnTo>
                      <a:pt x="342" y="384"/>
                    </a:lnTo>
                    <a:lnTo>
                      <a:pt x="336" y="384"/>
                    </a:lnTo>
                    <a:lnTo>
                      <a:pt x="336" y="378"/>
                    </a:lnTo>
                    <a:lnTo>
                      <a:pt x="330" y="378"/>
                    </a:lnTo>
                    <a:lnTo>
                      <a:pt x="330" y="384"/>
                    </a:lnTo>
                    <a:lnTo>
                      <a:pt x="330" y="378"/>
                    </a:lnTo>
                    <a:lnTo>
                      <a:pt x="330" y="372"/>
                    </a:lnTo>
                    <a:lnTo>
                      <a:pt x="330" y="378"/>
                    </a:lnTo>
                    <a:lnTo>
                      <a:pt x="324" y="378"/>
                    </a:lnTo>
                    <a:lnTo>
                      <a:pt x="324" y="372"/>
                    </a:lnTo>
                    <a:lnTo>
                      <a:pt x="324" y="378"/>
                    </a:lnTo>
                    <a:lnTo>
                      <a:pt x="318" y="378"/>
                    </a:lnTo>
                    <a:lnTo>
                      <a:pt x="312" y="378"/>
                    </a:lnTo>
                    <a:lnTo>
                      <a:pt x="306" y="378"/>
                    </a:lnTo>
                    <a:lnTo>
                      <a:pt x="300" y="378"/>
                    </a:lnTo>
                    <a:lnTo>
                      <a:pt x="294" y="378"/>
                    </a:lnTo>
                    <a:lnTo>
                      <a:pt x="288" y="378"/>
                    </a:lnTo>
                    <a:lnTo>
                      <a:pt x="288" y="384"/>
                    </a:lnTo>
                    <a:lnTo>
                      <a:pt x="288" y="390"/>
                    </a:lnTo>
                    <a:lnTo>
                      <a:pt x="282" y="390"/>
                    </a:lnTo>
                    <a:lnTo>
                      <a:pt x="288" y="390"/>
                    </a:lnTo>
                    <a:lnTo>
                      <a:pt x="288" y="396"/>
                    </a:lnTo>
                    <a:lnTo>
                      <a:pt x="282" y="396"/>
                    </a:lnTo>
                    <a:lnTo>
                      <a:pt x="282" y="402"/>
                    </a:lnTo>
                    <a:lnTo>
                      <a:pt x="276" y="402"/>
                    </a:lnTo>
                    <a:lnTo>
                      <a:pt x="276" y="408"/>
                    </a:lnTo>
                    <a:lnTo>
                      <a:pt x="270" y="408"/>
                    </a:lnTo>
                    <a:lnTo>
                      <a:pt x="270" y="414"/>
                    </a:lnTo>
                    <a:lnTo>
                      <a:pt x="270" y="420"/>
                    </a:lnTo>
                    <a:lnTo>
                      <a:pt x="264" y="420"/>
                    </a:lnTo>
                    <a:lnTo>
                      <a:pt x="270" y="420"/>
                    </a:lnTo>
                    <a:lnTo>
                      <a:pt x="264" y="420"/>
                    </a:lnTo>
                    <a:lnTo>
                      <a:pt x="258" y="420"/>
                    </a:lnTo>
                    <a:lnTo>
                      <a:pt x="258" y="414"/>
                    </a:lnTo>
                    <a:lnTo>
                      <a:pt x="252" y="414"/>
                    </a:lnTo>
                    <a:lnTo>
                      <a:pt x="252" y="420"/>
                    </a:lnTo>
                    <a:lnTo>
                      <a:pt x="252" y="426"/>
                    </a:lnTo>
                    <a:lnTo>
                      <a:pt x="252" y="432"/>
                    </a:lnTo>
                    <a:lnTo>
                      <a:pt x="252" y="438"/>
                    </a:lnTo>
                    <a:lnTo>
                      <a:pt x="258" y="438"/>
                    </a:lnTo>
                    <a:lnTo>
                      <a:pt x="258" y="444"/>
                    </a:lnTo>
                    <a:lnTo>
                      <a:pt x="258" y="450"/>
                    </a:lnTo>
                    <a:lnTo>
                      <a:pt x="252" y="450"/>
                    </a:lnTo>
                    <a:lnTo>
                      <a:pt x="258" y="450"/>
                    </a:lnTo>
                    <a:lnTo>
                      <a:pt x="252" y="450"/>
                    </a:lnTo>
                    <a:lnTo>
                      <a:pt x="252" y="456"/>
                    </a:lnTo>
                    <a:lnTo>
                      <a:pt x="252" y="462"/>
                    </a:lnTo>
                    <a:lnTo>
                      <a:pt x="258" y="462"/>
                    </a:lnTo>
                    <a:lnTo>
                      <a:pt x="258" y="468"/>
                    </a:lnTo>
                    <a:lnTo>
                      <a:pt x="264" y="468"/>
                    </a:lnTo>
                    <a:lnTo>
                      <a:pt x="264" y="474"/>
                    </a:lnTo>
                    <a:lnTo>
                      <a:pt x="258" y="474"/>
                    </a:lnTo>
                    <a:lnTo>
                      <a:pt x="264" y="474"/>
                    </a:lnTo>
                    <a:lnTo>
                      <a:pt x="258" y="480"/>
                    </a:lnTo>
                    <a:lnTo>
                      <a:pt x="258" y="486"/>
                    </a:lnTo>
                    <a:lnTo>
                      <a:pt x="264" y="486"/>
                    </a:lnTo>
                    <a:lnTo>
                      <a:pt x="264" y="492"/>
                    </a:lnTo>
                    <a:lnTo>
                      <a:pt x="258" y="492"/>
                    </a:lnTo>
                    <a:lnTo>
                      <a:pt x="264" y="492"/>
                    </a:lnTo>
                    <a:lnTo>
                      <a:pt x="264" y="498"/>
                    </a:lnTo>
                    <a:lnTo>
                      <a:pt x="258" y="498"/>
                    </a:lnTo>
                    <a:lnTo>
                      <a:pt x="264" y="498"/>
                    </a:lnTo>
                    <a:lnTo>
                      <a:pt x="258" y="498"/>
                    </a:lnTo>
                    <a:lnTo>
                      <a:pt x="258" y="504"/>
                    </a:lnTo>
                    <a:lnTo>
                      <a:pt x="258" y="510"/>
                    </a:lnTo>
                    <a:lnTo>
                      <a:pt x="258" y="516"/>
                    </a:lnTo>
                    <a:lnTo>
                      <a:pt x="258" y="522"/>
                    </a:lnTo>
                    <a:lnTo>
                      <a:pt x="264" y="522"/>
                    </a:lnTo>
                    <a:lnTo>
                      <a:pt x="270" y="522"/>
                    </a:lnTo>
                    <a:lnTo>
                      <a:pt x="276" y="522"/>
                    </a:lnTo>
                    <a:lnTo>
                      <a:pt x="276" y="528"/>
                    </a:lnTo>
                    <a:lnTo>
                      <a:pt x="282" y="528"/>
                    </a:lnTo>
                    <a:lnTo>
                      <a:pt x="288" y="528"/>
                    </a:lnTo>
                    <a:lnTo>
                      <a:pt x="294" y="528"/>
                    </a:lnTo>
                    <a:lnTo>
                      <a:pt x="300" y="528"/>
                    </a:lnTo>
                    <a:lnTo>
                      <a:pt x="294" y="528"/>
                    </a:lnTo>
                    <a:lnTo>
                      <a:pt x="294" y="534"/>
                    </a:lnTo>
                    <a:lnTo>
                      <a:pt x="300" y="534"/>
                    </a:lnTo>
                    <a:lnTo>
                      <a:pt x="294" y="534"/>
                    </a:lnTo>
                    <a:lnTo>
                      <a:pt x="294" y="540"/>
                    </a:lnTo>
                    <a:lnTo>
                      <a:pt x="300" y="540"/>
                    </a:lnTo>
                    <a:lnTo>
                      <a:pt x="300" y="546"/>
                    </a:lnTo>
                    <a:lnTo>
                      <a:pt x="294" y="546"/>
                    </a:lnTo>
                    <a:lnTo>
                      <a:pt x="288" y="546"/>
                    </a:lnTo>
                    <a:lnTo>
                      <a:pt x="288" y="552"/>
                    </a:lnTo>
                    <a:lnTo>
                      <a:pt x="282" y="552"/>
                    </a:lnTo>
                    <a:lnTo>
                      <a:pt x="282" y="546"/>
                    </a:lnTo>
                    <a:lnTo>
                      <a:pt x="282" y="540"/>
                    </a:lnTo>
                    <a:lnTo>
                      <a:pt x="276" y="540"/>
                    </a:lnTo>
                    <a:lnTo>
                      <a:pt x="270" y="540"/>
                    </a:lnTo>
                    <a:lnTo>
                      <a:pt x="264" y="540"/>
                    </a:lnTo>
                    <a:lnTo>
                      <a:pt x="258" y="540"/>
                    </a:lnTo>
                    <a:lnTo>
                      <a:pt x="258" y="546"/>
                    </a:lnTo>
                    <a:lnTo>
                      <a:pt x="252" y="546"/>
                    </a:lnTo>
                    <a:lnTo>
                      <a:pt x="246" y="546"/>
                    </a:lnTo>
                    <a:lnTo>
                      <a:pt x="246" y="540"/>
                    </a:lnTo>
                    <a:lnTo>
                      <a:pt x="246" y="534"/>
                    </a:lnTo>
                    <a:lnTo>
                      <a:pt x="240" y="534"/>
                    </a:lnTo>
                    <a:lnTo>
                      <a:pt x="240" y="528"/>
                    </a:lnTo>
                    <a:lnTo>
                      <a:pt x="234" y="528"/>
                    </a:lnTo>
                    <a:lnTo>
                      <a:pt x="234" y="522"/>
                    </a:lnTo>
                    <a:lnTo>
                      <a:pt x="228" y="522"/>
                    </a:lnTo>
                    <a:lnTo>
                      <a:pt x="228" y="528"/>
                    </a:lnTo>
                    <a:lnTo>
                      <a:pt x="228" y="522"/>
                    </a:lnTo>
                    <a:lnTo>
                      <a:pt x="222" y="522"/>
                    </a:lnTo>
                    <a:lnTo>
                      <a:pt x="216" y="522"/>
                    </a:lnTo>
                    <a:lnTo>
                      <a:pt x="210" y="522"/>
                    </a:lnTo>
                    <a:lnTo>
                      <a:pt x="210" y="516"/>
                    </a:lnTo>
                    <a:lnTo>
                      <a:pt x="204" y="516"/>
                    </a:lnTo>
                    <a:lnTo>
                      <a:pt x="204" y="510"/>
                    </a:lnTo>
                    <a:lnTo>
                      <a:pt x="204" y="516"/>
                    </a:lnTo>
                    <a:lnTo>
                      <a:pt x="198" y="516"/>
                    </a:lnTo>
                    <a:lnTo>
                      <a:pt x="198" y="522"/>
                    </a:lnTo>
                    <a:lnTo>
                      <a:pt x="198" y="528"/>
                    </a:lnTo>
                    <a:lnTo>
                      <a:pt x="192" y="528"/>
                    </a:lnTo>
                    <a:lnTo>
                      <a:pt x="192" y="534"/>
                    </a:lnTo>
                    <a:lnTo>
                      <a:pt x="192" y="540"/>
                    </a:lnTo>
                    <a:lnTo>
                      <a:pt x="198" y="540"/>
                    </a:lnTo>
                    <a:lnTo>
                      <a:pt x="204" y="540"/>
                    </a:lnTo>
                    <a:lnTo>
                      <a:pt x="204" y="546"/>
                    </a:lnTo>
                    <a:lnTo>
                      <a:pt x="210" y="546"/>
                    </a:lnTo>
                    <a:lnTo>
                      <a:pt x="210" y="552"/>
                    </a:lnTo>
                    <a:lnTo>
                      <a:pt x="216" y="552"/>
                    </a:lnTo>
                    <a:lnTo>
                      <a:pt x="222" y="552"/>
                    </a:lnTo>
                    <a:lnTo>
                      <a:pt x="216" y="552"/>
                    </a:lnTo>
                    <a:lnTo>
                      <a:pt x="216" y="558"/>
                    </a:lnTo>
                    <a:lnTo>
                      <a:pt x="216" y="564"/>
                    </a:lnTo>
                    <a:lnTo>
                      <a:pt x="216" y="570"/>
                    </a:lnTo>
                    <a:lnTo>
                      <a:pt x="216" y="576"/>
                    </a:lnTo>
                    <a:lnTo>
                      <a:pt x="216" y="582"/>
                    </a:lnTo>
                    <a:lnTo>
                      <a:pt x="216" y="588"/>
                    </a:lnTo>
                    <a:lnTo>
                      <a:pt x="222" y="588"/>
                    </a:lnTo>
                    <a:lnTo>
                      <a:pt x="222" y="594"/>
                    </a:lnTo>
                    <a:lnTo>
                      <a:pt x="228" y="594"/>
                    </a:lnTo>
                    <a:lnTo>
                      <a:pt x="228" y="600"/>
                    </a:lnTo>
                    <a:lnTo>
                      <a:pt x="234" y="600"/>
                    </a:lnTo>
                    <a:lnTo>
                      <a:pt x="234" y="606"/>
                    </a:lnTo>
                    <a:lnTo>
                      <a:pt x="228" y="606"/>
                    </a:lnTo>
                    <a:lnTo>
                      <a:pt x="234" y="612"/>
                    </a:lnTo>
                    <a:lnTo>
                      <a:pt x="234" y="618"/>
                    </a:lnTo>
                    <a:lnTo>
                      <a:pt x="228" y="618"/>
                    </a:lnTo>
                    <a:lnTo>
                      <a:pt x="228" y="624"/>
                    </a:lnTo>
                    <a:lnTo>
                      <a:pt x="234" y="624"/>
                    </a:lnTo>
                    <a:lnTo>
                      <a:pt x="228" y="630"/>
                    </a:lnTo>
                    <a:lnTo>
                      <a:pt x="234" y="630"/>
                    </a:lnTo>
                    <a:lnTo>
                      <a:pt x="234" y="636"/>
                    </a:lnTo>
                    <a:lnTo>
                      <a:pt x="234" y="642"/>
                    </a:lnTo>
                    <a:lnTo>
                      <a:pt x="240" y="642"/>
                    </a:lnTo>
                    <a:lnTo>
                      <a:pt x="234" y="642"/>
                    </a:lnTo>
                    <a:lnTo>
                      <a:pt x="234" y="648"/>
                    </a:lnTo>
                    <a:lnTo>
                      <a:pt x="240" y="648"/>
                    </a:lnTo>
                    <a:lnTo>
                      <a:pt x="240" y="654"/>
                    </a:lnTo>
                    <a:lnTo>
                      <a:pt x="240" y="660"/>
                    </a:lnTo>
                    <a:lnTo>
                      <a:pt x="240" y="666"/>
                    </a:lnTo>
                    <a:lnTo>
                      <a:pt x="240" y="660"/>
                    </a:lnTo>
                    <a:lnTo>
                      <a:pt x="234" y="666"/>
                    </a:lnTo>
                    <a:lnTo>
                      <a:pt x="228" y="666"/>
                    </a:lnTo>
                    <a:lnTo>
                      <a:pt x="234" y="666"/>
                    </a:lnTo>
                    <a:lnTo>
                      <a:pt x="234" y="672"/>
                    </a:lnTo>
                    <a:lnTo>
                      <a:pt x="228" y="672"/>
                    </a:lnTo>
                    <a:lnTo>
                      <a:pt x="234" y="672"/>
                    </a:lnTo>
                    <a:lnTo>
                      <a:pt x="228" y="672"/>
                    </a:lnTo>
                    <a:lnTo>
                      <a:pt x="228" y="678"/>
                    </a:lnTo>
                    <a:lnTo>
                      <a:pt x="234" y="678"/>
                    </a:lnTo>
                    <a:lnTo>
                      <a:pt x="228" y="678"/>
                    </a:lnTo>
                    <a:lnTo>
                      <a:pt x="234" y="678"/>
                    </a:lnTo>
                    <a:lnTo>
                      <a:pt x="228" y="678"/>
                    </a:lnTo>
                    <a:lnTo>
                      <a:pt x="228" y="684"/>
                    </a:lnTo>
                    <a:lnTo>
                      <a:pt x="222" y="684"/>
                    </a:lnTo>
                    <a:lnTo>
                      <a:pt x="222" y="690"/>
                    </a:lnTo>
                    <a:lnTo>
                      <a:pt x="216" y="690"/>
                    </a:lnTo>
                    <a:lnTo>
                      <a:pt x="210" y="690"/>
                    </a:lnTo>
                    <a:lnTo>
                      <a:pt x="204" y="690"/>
                    </a:lnTo>
                    <a:lnTo>
                      <a:pt x="204" y="696"/>
                    </a:lnTo>
                    <a:lnTo>
                      <a:pt x="210" y="696"/>
                    </a:lnTo>
                    <a:lnTo>
                      <a:pt x="204" y="696"/>
                    </a:lnTo>
                    <a:lnTo>
                      <a:pt x="198" y="696"/>
                    </a:lnTo>
                    <a:lnTo>
                      <a:pt x="198" y="702"/>
                    </a:lnTo>
                    <a:lnTo>
                      <a:pt x="204" y="702"/>
                    </a:lnTo>
                    <a:lnTo>
                      <a:pt x="204" y="708"/>
                    </a:lnTo>
                    <a:lnTo>
                      <a:pt x="198" y="708"/>
                    </a:lnTo>
                    <a:lnTo>
                      <a:pt x="198" y="714"/>
                    </a:lnTo>
                    <a:lnTo>
                      <a:pt x="192" y="714"/>
                    </a:lnTo>
                    <a:lnTo>
                      <a:pt x="192" y="720"/>
                    </a:lnTo>
                    <a:lnTo>
                      <a:pt x="186" y="726"/>
                    </a:lnTo>
                    <a:lnTo>
                      <a:pt x="180" y="732"/>
                    </a:lnTo>
                    <a:lnTo>
                      <a:pt x="174" y="738"/>
                    </a:lnTo>
                    <a:lnTo>
                      <a:pt x="168" y="738"/>
                    </a:lnTo>
                    <a:lnTo>
                      <a:pt x="174" y="738"/>
                    </a:lnTo>
                    <a:lnTo>
                      <a:pt x="168" y="738"/>
                    </a:lnTo>
                    <a:lnTo>
                      <a:pt x="162" y="738"/>
                    </a:lnTo>
                    <a:lnTo>
                      <a:pt x="162" y="744"/>
                    </a:lnTo>
                    <a:lnTo>
                      <a:pt x="156" y="744"/>
                    </a:lnTo>
                    <a:lnTo>
                      <a:pt x="156" y="750"/>
                    </a:lnTo>
                    <a:lnTo>
                      <a:pt x="156" y="756"/>
                    </a:lnTo>
                    <a:lnTo>
                      <a:pt x="150" y="756"/>
                    </a:lnTo>
                    <a:lnTo>
                      <a:pt x="156" y="756"/>
                    </a:lnTo>
                    <a:lnTo>
                      <a:pt x="156" y="762"/>
                    </a:lnTo>
                    <a:lnTo>
                      <a:pt x="150" y="762"/>
                    </a:lnTo>
                    <a:lnTo>
                      <a:pt x="156" y="762"/>
                    </a:lnTo>
                    <a:lnTo>
                      <a:pt x="156" y="768"/>
                    </a:lnTo>
                    <a:lnTo>
                      <a:pt x="150" y="768"/>
                    </a:lnTo>
                    <a:lnTo>
                      <a:pt x="150" y="774"/>
                    </a:lnTo>
                    <a:lnTo>
                      <a:pt x="150" y="780"/>
                    </a:lnTo>
                    <a:lnTo>
                      <a:pt x="150" y="786"/>
                    </a:lnTo>
                    <a:lnTo>
                      <a:pt x="144" y="786"/>
                    </a:lnTo>
                    <a:lnTo>
                      <a:pt x="144" y="792"/>
                    </a:lnTo>
                    <a:lnTo>
                      <a:pt x="138" y="792"/>
                    </a:lnTo>
                    <a:lnTo>
                      <a:pt x="138" y="798"/>
                    </a:lnTo>
                    <a:lnTo>
                      <a:pt x="138" y="804"/>
                    </a:lnTo>
                    <a:lnTo>
                      <a:pt x="132" y="804"/>
                    </a:lnTo>
                    <a:lnTo>
                      <a:pt x="126" y="804"/>
                    </a:lnTo>
                    <a:lnTo>
                      <a:pt x="120" y="804"/>
                    </a:lnTo>
                    <a:lnTo>
                      <a:pt x="120" y="798"/>
                    </a:lnTo>
                    <a:lnTo>
                      <a:pt x="114" y="798"/>
                    </a:lnTo>
                    <a:lnTo>
                      <a:pt x="108" y="798"/>
                    </a:lnTo>
                    <a:lnTo>
                      <a:pt x="108" y="804"/>
                    </a:lnTo>
                    <a:lnTo>
                      <a:pt x="102" y="804"/>
                    </a:lnTo>
                    <a:lnTo>
                      <a:pt x="96" y="804"/>
                    </a:lnTo>
                    <a:lnTo>
                      <a:pt x="90" y="804"/>
                    </a:lnTo>
                    <a:lnTo>
                      <a:pt x="90" y="798"/>
                    </a:lnTo>
                    <a:lnTo>
                      <a:pt x="90" y="792"/>
                    </a:lnTo>
                    <a:lnTo>
                      <a:pt x="90" y="786"/>
                    </a:lnTo>
                    <a:lnTo>
                      <a:pt x="90" y="780"/>
                    </a:lnTo>
                    <a:lnTo>
                      <a:pt x="90" y="774"/>
                    </a:lnTo>
                    <a:lnTo>
                      <a:pt x="84" y="768"/>
                    </a:lnTo>
                    <a:lnTo>
                      <a:pt x="84" y="762"/>
                    </a:lnTo>
                    <a:lnTo>
                      <a:pt x="90" y="762"/>
                    </a:lnTo>
                    <a:lnTo>
                      <a:pt x="90" y="756"/>
                    </a:lnTo>
                    <a:lnTo>
                      <a:pt x="84" y="756"/>
                    </a:lnTo>
                    <a:lnTo>
                      <a:pt x="84" y="762"/>
                    </a:lnTo>
                    <a:lnTo>
                      <a:pt x="78" y="762"/>
                    </a:lnTo>
                    <a:lnTo>
                      <a:pt x="78" y="756"/>
                    </a:lnTo>
                    <a:lnTo>
                      <a:pt x="72" y="756"/>
                    </a:lnTo>
                    <a:lnTo>
                      <a:pt x="78" y="756"/>
                    </a:lnTo>
                    <a:lnTo>
                      <a:pt x="72" y="756"/>
                    </a:lnTo>
                    <a:lnTo>
                      <a:pt x="78" y="756"/>
                    </a:lnTo>
                    <a:lnTo>
                      <a:pt x="78" y="750"/>
                    </a:lnTo>
                    <a:lnTo>
                      <a:pt x="72" y="750"/>
                    </a:lnTo>
                    <a:lnTo>
                      <a:pt x="72" y="756"/>
                    </a:lnTo>
                    <a:lnTo>
                      <a:pt x="66" y="756"/>
                    </a:lnTo>
                    <a:lnTo>
                      <a:pt x="60" y="756"/>
                    </a:lnTo>
                    <a:lnTo>
                      <a:pt x="60" y="750"/>
                    </a:lnTo>
                    <a:lnTo>
                      <a:pt x="66" y="750"/>
                    </a:lnTo>
                    <a:lnTo>
                      <a:pt x="66" y="744"/>
                    </a:lnTo>
                    <a:lnTo>
                      <a:pt x="66" y="738"/>
                    </a:lnTo>
                    <a:lnTo>
                      <a:pt x="60" y="738"/>
                    </a:lnTo>
                    <a:lnTo>
                      <a:pt x="60" y="732"/>
                    </a:lnTo>
                    <a:lnTo>
                      <a:pt x="60" y="726"/>
                    </a:lnTo>
                    <a:lnTo>
                      <a:pt x="54" y="726"/>
                    </a:lnTo>
                    <a:lnTo>
                      <a:pt x="54" y="720"/>
                    </a:lnTo>
                    <a:lnTo>
                      <a:pt x="48" y="720"/>
                    </a:lnTo>
                    <a:lnTo>
                      <a:pt x="48" y="714"/>
                    </a:lnTo>
                    <a:lnTo>
                      <a:pt x="48" y="708"/>
                    </a:lnTo>
                    <a:lnTo>
                      <a:pt x="42" y="708"/>
                    </a:lnTo>
                    <a:lnTo>
                      <a:pt x="36" y="708"/>
                    </a:lnTo>
                    <a:lnTo>
                      <a:pt x="36" y="702"/>
                    </a:lnTo>
                    <a:lnTo>
                      <a:pt x="30" y="702"/>
                    </a:lnTo>
                    <a:lnTo>
                      <a:pt x="24" y="702"/>
                    </a:lnTo>
                    <a:lnTo>
                      <a:pt x="18" y="702"/>
                    </a:lnTo>
                    <a:lnTo>
                      <a:pt x="12" y="702"/>
                    </a:lnTo>
                    <a:lnTo>
                      <a:pt x="12" y="696"/>
                    </a:lnTo>
                    <a:lnTo>
                      <a:pt x="6" y="690"/>
                    </a:lnTo>
                    <a:lnTo>
                      <a:pt x="6" y="684"/>
                    </a:lnTo>
                    <a:lnTo>
                      <a:pt x="0" y="684"/>
                    </a:lnTo>
                    <a:lnTo>
                      <a:pt x="6" y="684"/>
                    </a:lnTo>
                    <a:lnTo>
                      <a:pt x="6" y="678"/>
                    </a:lnTo>
                    <a:lnTo>
                      <a:pt x="12" y="678"/>
                    </a:lnTo>
                    <a:lnTo>
                      <a:pt x="12" y="672"/>
                    </a:lnTo>
                    <a:lnTo>
                      <a:pt x="12" y="666"/>
                    </a:lnTo>
                    <a:lnTo>
                      <a:pt x="6" y="666"/>
                    </a:lnTo>
                    <a:lnTo>
                      <a:pt x="6" y="660"/>
                    </a:lnTo>
                    <a:lnTo>
                      <a:pt x="6" y="654"/>
                    </a:lnTo>
                    <a:lnTo>
                      <a:pt x="6" y="648"/>
                    </a:lnTo>
                    <a:lnTo>
                      <a:pt x="12" y="648"/>
                    </a:lnTo>
                    <a:lnTo>
                      <a:pt x="12" y="642"/>
                    </a:lnTo>
                    <a:lnTo>
                      <a:pt x="12" y="636"/>
                    </a:lnTo>
                    <a:lnTo>
                      <a:pt x="12" y="630"/>
                    </a:lnTo>
                    <a:lnTo>
                      <a:pt x="18" y="630"/>
                    </a:lnTo>
                    <a:lnTo>
                      <a:pt x="18" y="624"/>
                    </a:lnTo>
                    <a:lnTo>
                      <a:pt x="24" y="624"/>
                    </a:lnTo>
                    <a:lnTo>
                      <a:pt x="24" y="618"/>
                    </a:lnTo>
                    <a:lnTo>
                      <a:pt x="30" y="618"/>
                    </a:lnTo>
                    <a:lnTo>
                      <a:pt x="30" y="612"/>
                    </a:lnTo>
                    <a:lnTo>
                      <a:pt x="36" y="612"/>
                    </a:lnTo>
                    <a:lnTo>
                      <a:pt x="36" y="606"/>
                    </a:lnTo>
                    <a:lnTo>
                      <a:pt x="42" y="600"/>
                    </a:lnTo>
                    <a:lnTo>
                      <a:pt x="42" y="606"/>
                    </a:lnTo>
                    <a:lnTo>
                      <a:pt x="42" y="612"/>
                    </a:lnTo>
                    <a:lnTo>
                      <a:pt x="48" y="612"/>
                    </a:lnTo>
                    <a:lnTo>
                      <a:pt x="54" y="612"/>
                    </a:lnTo>
                    <a:lnTo>
                      <a:pt x="54" y="618"/>
                    </a:lnTo>
                    <a:lnTo>
                      <a:pt x="60" y="618"/>
                    </a:lnTo>
                    <a:lnTo>
                      <a:pt x="66" y="618"/>
                    </a:lnTo>
                    <a:lnTo>
                      <a:pt x="66" y="612"/>
                    </a:lnTo>
                    <a:lnTo>
                      <a:pt x="72" y="612"/>
                    </a:lnTo>
                    <a:lnTo>
                      <a:pt x="72" y="606"/>
                    </a:lnTo>
                    <a:lnTo>
                      <a:pt x="72" y="600"/>
                    </a:lnTo>
                    <a:lnTo>
                      <a:pt x="66" y="600"/>
                    </a:lnTo>
                    <a:lnTo>
                      <a:pt x="72" y="600"/>
                    </a:lnTo>
                    <a:lnTo>
                      <a:pt x="72" y="594"/>
                    </a:lnTo>
                    <a:lnTo>
                      <a:pt x="78" y="594"/>
                    </a:lnTo>
                    <a:lnTo>
                      <a:pt x="78" y="588"/>
                    </a:lnTo>
                    <a:lnTo>
                      <a:pt x="72" y="588"/>
                    </a:lnTo>
                    <a:lnTo>
                      <a:pt x="72" y="582"/>
                    </a:lnTo>
                    <a:lnTo>
                      <a:pt x="66" y="582"/>
                    </a:lnTo>
                    <a:lnTo>
                      <a:pt x="66" y="576"/>
                    </a:lnTo>
                    <a:lnTo>
                      <a:pt x="60" y="576"/>
                    </a:lnTo>
                    <a:lnTo>
                      <a:pt x="54" y="576"/>
                    </a:lnTo>
                    <a:lnTo>
                      <a:pt x="54" y="570"/>
                    </a:lnTo>
                    <a:lnTo>
                      <a:pt x="54" y="564"/>
                    </a:lnTo>
                    <a:lnTo>
                      <a:pt x="48" y="564"/>
                    </a:lnTo>
                    <a:lnTo>
                      <a:pt x="48" y="558"/>
                    </a:lnTo>
                    <a:lnTo>
                      <a:pt x="48" y="564"/>
                    </a:lnTo>
                    <a:lnTo>
                      <a:pt x="48" y="558"/>
                    </a:lnTo>
                    <a:lnTo>
                      <a:pt x="48" y="564"/>
                    </a:lnTo>
                    <a:lnTo>
                      <a:pt x="48" y="558"/>
                    </a:lnTo>
                    <a:lnTo>
                      <a:pt x="42" y="558"/>
                    </a:lnTo>
                    <a:lnTo>
                      <a:pt x="36" y="558"/>
                    </a:lnTo>
                    <a:lnTo>
                      <a:pt x="36" y="552"/>
                    </a:lnTo>
                    <a:lnTo>
                      <a:pt x="36" y="546"/>
                    </a:lnTo>
                    <a:lnTo>
                      <a:pt x="30" y="546"/>
                    </a:lnTo>
                    <a:lnTo>
                      <a:pt x="30" y="552"/>
                    </a:lnTo>
                    <a:lnTo>
                      <a:pt x="30" y="558"/>
                    </a:lnTo>
                    <a:lnTo>
                      <a:pt x="30" y="552"/>
                    </a:lnTo>
                    <a:lnTo>
                      <a:pt x="24" y="552"/>
                    </a:lnTo>
                    <a:lnTo>
                      <a:pt x="18" y="552"/>
                    </a:lnTo>
                    <a:lnTo>
                      <a:pt x="24" y="552"/>
                    </a:lnTo>
                    <a:lnTo>
                      <a:pt x="18" y="552"/>
                    </a:lnTo>
                    <a:lnTo>
                      <a:pt x="24" y="552"/>
                    </a:lnTo>
                    <a:lnTo>
                      <a:pt x="24" y="546"/>
                    </a:lnTo>
                    <a:lnTo>
                      <a:pt x="30" y="546"/>
                    </a:lnTo>
                    <a:lnTo>
                      <a:pt x="30" y="540"/>
                    </a:lnTo>
                    <a:lnTo>
                      <a:pt x="24" y="540"/>
                    </a:lnTo>
                    <a:lnTo>
                      <a:pt x="24" y="534"/>
                    </a:lnTo>
                    <a:lnTo>
                      <a:pt x="30" y="534"/>
                    </a:lnTo>
                    <a:lnTo>
                      <a:pt x="36" y="534"/>
                    </a:lnTo>
                    <a:lnTo>
                      <a:pt x="36" y="528"/>
                    </a:lnTo>
                    <a:lnTo>
                      <a:pt x="36" y="522"/>
                    </a:lnTo>
                    <a:lnTo>
                      <a:pt x="36" y="516"/>
                    </a:lnTo>
                    <a:lnTo>
                      <a:pt x="42" y="516"/>
                    </a:lnTo>
                    <a:lnTo>
                      <a:pt x="36" y="516"/>
                    </a:lnTo>
                    <a:lnTo>
                      <a:pt x="36" y="510"/>
                    </a:lnTo>
                    <a:lnTo>
                      <a:pt x="30" y="510"/>
                    </a:lnTo>
                    <a:lnTo>
                      <a:pt x="24" y="510"/>
                    </a:lnTo>
                    <a:lnTo>
                      <a:pt x="18" y="510"/>
                    </a:lnTo>
                    <a:lnTo>
                      <a:pt x="18" y="504"/>
                    </a:lnTo>
                    <a:lnTo>
                      <a:pt x="24" y="504"/>
                    </a:lnTo>
                    <a:lnTo>
                      <a:pt x="24" y="498"/>
                    </a:lnTo>
                    <a:lnTo>
                      <a:pt x="18" y="498"/>
                    </a:lnTo>
                    <a:lnTo>
                      <a:pt x="18" y="492"/>
                    </a:lnTo>
                    <a:lnTo>
                      <a:pt x="24" y="492"/>
                    </a:lnTo>
                    <a:lnTo>
                      <a:pt x="30" y="492"/>
                    </a:lnTo>
                    <a:lnTo>
                      <a:pt x="36" y="492"/>
                    </a:lnTo>
                    <a:lnTo>
                      <a:pt x="36" y="486"/>
                    </a:lnTo>
                    <a:lnTo>
                      <a:pt x="42" y="486"/>
                    </a:lnTo>
                    <a:lnTo>
                      <a:pt x="48" y="486"/>
                    </a:lnTo>
                    <a:lnTo>
                      <a:pt x="48" y="480"/>
                    </a:lnTo>
                    <a:lnTo>
                      <a:pt x="42" y="480"/>
                    </a:lnTo>
                    <a:lnTo>
                      <a:pt x="42" y="474"/>
                    </a:lnTo>
                    <a:lnTo>
                      <a:pt x="48" y="474"/>
                    </a:lnTo>
                    <a:lnTo>
                      <a:pt x="48" y="468"/>
                    </a:lnTo>
                    <a:lnTo>
                      <a:pt x="48" y="462"/>
                    </a:lnTo>
                    <a:lnTo>
                      <a:pt x="48" y="456"/>
                    </a:lnTo>
                    <a:lnTo>
                      <a:pt x="48" y="450"/>
                    </a:lnTo>
                    <a:lnTo>
                      <a:pt x="42" y="450"/>
                    </a:lnTo>
                    <a:lnTo>
                      <a:pt x="36" y="450"/>
                    </a:lnTo>
                    <a:lnTo>
                      <a:pt x="30" y="450"/>
                    </a:lnTo>
                    <a:lnTo>
                      <a:pt x="30" y="444"/>
                    </a:lnTo>
                    <a:lnTo>
                      <a:pt x="36" y="444"/>
                    </a:lnTo>
                    <a:lnTo>
                      <a:pt x="36" y="438"/>
                    </a:lnTo>
                    <a:lnTo>
                      <a:pt x="42" y="438"/>
                    </a:lnTo>
                    <a:lnTo>
                      <a:pt x="42" y="432"/>
                    </a:lnTo>
                    <a:lnTo>
                      <a:pt x="36" y="432"/>
                    </a:lnTo>
                    <a:lnTo>
                      <a:pt x="36" y="426"/>
                    </a:lnTo>
                    <a:lnTo>
                      <a:pt x="42" y="420"/>
                    </a:lnTo>
                    <a:lnTo>
                      <a:pt x="42" y="414"/>
                    </a:lnTo>
                    <a:lnTo>
                      <a:pt x="36" y="414"/>
                    </a:lnTo>
                    <a:lnTo>
                      <a:pt x="36" y="408"/>
                    </a:lnTo>
                    <a:lnTo>
                      <a:pt x="30" y="408"/>
                    </a:lnTo>
                    <a:lnTo>
                      <a:pt x="24" y="408"/>
                    </a:lnTo>
                    <a:lnTo>
                      <a:pt x="24" y="402"/>
                    </a:lnTo>
                    <a:lnTo>
                      <a:pt x="24" y="396"/>
                    </a:lnTo>
                    <a:lnTo>
                      <a:pt x="24" y="390"/>
                    </a:lnTo>
                    <a:lnTo>
                      <a:pt x="24" y="384"/>
                    </a:lnTo>
                    <a:lnTo>
                      <a:pt x="30" y="384"/>
                    </a:lnTo>
                    <a:lnTo>
                      <a:pt x="24" y="384"/>
                    </a:lnTo>
                    <a:lnTo>
                      <a:pt x="30" y="378"/>
                    </a:lnTo>
                    <a:lnTo>
                      <a:pt x="30" y="372"/>
                    </a:lnTo>
                    <a:lnTo>
                      <a:pt x="30" y="378"/>
                    </a:lnTo>
                    <a:lnTo>
                      <a:pt x="36" y="372"/>
                    </a:lnTo>
                    <a:lnTo>
                      <a:pt x="36" y="378"/>
                    </a:lnTo>
                    <a:lnTo>
                      <a:pt x="36" y="372"/>
                    </a:lnTo>
                    <a:lnTo>
                      <a:pt x="42" y="372"/>
                    </a:lnTo>
                    <a:lnTo>
                      <a:pt x="48" y="372"/>
                    </a:lnTo>
                    <a:lnTo>
                      <a:pt x="48" y="366"/>
                    </a:lnTo>
                    <a:lnTo>
                      <a:pt x="54" y="360"/>
                    </a:lnTo>
                    <a:lnTo>
                      <a:pt x="54" y="354"/>
                    </a:lnTo>
                    <a:lnTo>
                      <a:pt x="54" y="348"/>
                    </a:lnTo>
                    <a:lnTo>
                      <a:pt x="60" y="348"/>
                    </a:lnTo>
                    <a:lnTo>
                      <a:pt x="60" y="342"/>
                    </a:lnTo>
                    <a:lnTo>
                      <a:pt x="60" y="336"/>
                    </a:lnTo>
                    <a:lnTo>
                      <a:pt x="60" y="330"/>
                    </a:lnTo>
                    <a:lnTo>
                      <a:pt x="60" y="324"/>
                    </a:lnTo>
                    <a:lnTo>
                      <a:pt x="60" y="318"/>
                    </a:lnTo>
                    <a:lnTo>
                      <a:pt x="60" y="312"/>
                    </a:lnTo>
                    <a:lnTo>
                      <a:pt x="60" y="306"/>
                    </a:lnTo>
                    <a:lnTo>
                      <a:pt x="60" y="300"/>
                    </a:lnTo>
                    <a:lnTo>
                      <a:pt x="66" y="300"/>
                    </a:lnTo>
                    <a:lnTo>
                      <a:pt x="66" y="306"/>
                    </a:lnTo>
                    <a:lnTo>
                      <a:pt x="72" y="306"/>
                    </a:lnTo>
                    <a:lnTo>
                      <a:pt x="72" y="300"/>
                    </a:lnTo>
                    <a:lnTo>
                      <a:pt x="72" y="294"/>
                    </a:lnTo>
                    <a:lnTo>
                      <a:pt x="72" y="288"/>
                    </a:lnTo>
                    <a:lnTo>
                      <a:pt x="72" y="282"/>
                    </a:lnTo>
                    <a:lnTo>
                      <a:pt x="72" y="276"/>
                    </a:lnTo>
                    <a:lnTo>
                      <a:pt x="78" y="276"/>
                    </a:lnTo>
                    <a:lnTo>
                      <a:pt x="78" y="270"/>
                    </a:lnTo>
                    <a:lnTo>
                      <a:pt x="78" y="264"/>
                    </a:lnTo>
                    <a:lnTo>
                      <a:pt x="78" y="258"/>
                    </a:lnTo>
                    <a:lnTo>
                      <a:pt x="84" y="258"/>
                    </a:lnTo>
                    <a:lnTo>
                      <a:pt x="84" y="252"/>
                    </a:lnTo>
                    <a:lnTo>
                      <a:pt x="84" y="258"/>
                    </a:lnTo>
                    <a:lnTo>
                      <a:pt x="90" y="258"/>
                    </a:lnTo>
                    <a:lnTo>
                      <a:pt x="90" y="264"/>
                    </a:lnTo>
                    <a:lnTo>
                      <a:pt x="90" y="258"/>
                    </a:lnTo>
                    <a:lnTo>
                      <a:pt x="90" y="252"/>
                    </a:lnTo>
                    <a:lnTo>
                      <a:pt x="96" y="252"/>
                    </a:lnTo>
                    <a:lnTo>
                      <a:pt x="96" y="246"/>
                    </a:lnTo>
                    <a:lnTo>
                      <a:pt x="96" y="240"/>
                    </a:lnTo>
                    <a:lnTo>
                      <a:pt x="102" y="240"/>
                    </a:lnTo>
                    <a:lnTo>
                      <a:pt x="102" y="234"/>
                    </a:lnTo>
                    <a:lnTo>
                      <a:pt x="108" y="234"/>
                    </a:lnTo>
                    <a:lnTo>
                      <a:pt x="108" y="228"/>
                    </a:lnTo>
                    <a:lnTo>
                      <a:pt x="108" y="222"/>
                    </a:lnTo>
                    <a:lnTo>
                      <a:pt x="102" y="222"/>
                    </a:lnTo>
                    <a:lnTo>
                      <a:pt x="108" y="216"/>
                    </a:lnTo>
                    <a:lnTo>
                      <a:pt x="108" y="210"/>
                    </a:lnTo>
                    <a:lnTo>
                      <a:pt x="114" y="210"/>
                    </a:lnTo>
                    <a:lnTo>
                      <a:pt x="120" y="210"/>
                    </a:lnTo>
                    <a:lnTo>
                      <a:pt x="126" y="210"/>
                    </a:lnTo>
                    <a:lnTo>
                      <a:pt x="126" y="204"/>
                    </a:lnTo>
                    <a:lnTo>
                      <a:pt x="126" y="210"/>
                    </a:lnTo>
                    <a:lnTo>
                      <a:pt x="132" y="210"/>
                    </a:lnTo>
                    <a:lnTo>
                      <a:pt x="132" y="204"/>
                    </a:lnTo>
                    <a:lnTo>
                      <a:pt x="138" y="204"/>
                    </a:lnTo>
                    <a:lnTo>
                      <a:pt x="138" y="210"/>
                    </a:lnTo>
                    <a:lnTo>
                      <a:pt x="138" y="216"/>
                    </a:lnTo>
                    <a:lnTo>
                      <a:pt x="144" y="216"/>
                    </a:lnTo>
                    <a:lnTo>
                      <a:pt x="144" y="210"/>
                    </a:lnTo>
                    <a:lnTo>
                      <a:pt x="144" y="204"/>
                    </a:lnTo>
                    <a:lnTo>
                      <a:pt x="144" y="210"/>
                    </a:lnTo>
                    <a:lnTo>
                      <a:pt x="150" y="204"/>
                    </a:lnTo>
                    <a:lnTo>
                      <a:pt x="150" y="210"/>
                    </a:lnTo>
                    <a:lnTo>
                      <a:pt x="150" y="204"/>
                    </a:lnTo>
                    <a:lnTo>
                      <a:pt x="156" y="204"/>
                    </a:lnTo>
                    <a:lnTo>
                      <a:pt x="156" y="198"/>
                    </a:lnTo>
                    <a:lnTo>
                      <a:pt x="156" y="204"/>
                    </a:lnTo>
                    <a:lnTo>
                      <a:pt x="162" y="204"/>
                    </a:lnTo>
                    <a:lnTo>
                      <a:pt x="162" y="198"/>
                    </a:lnTo>
                    <a:lnTo>
                      <a:pt x="162" y="204"/>
                    </a:lnTo>
                    <a:lnTo>
                      <a:pt x="168" y="204"/>
                    </a:lnTo>
                    <a:lnTo>
                      <a:pt x="168" y="198"/>
                    </a:lnTo>
                    <a:lnTo>
                      <a:pt x="168" y="192"/>
                    </a:lnTo>
                    <a:lnTo>
                      <a:pt x="174" y="192"/>
                    </a:lnTo>
                    <a:lnTo>
                      <a:pt x="174" y="186"/>
                    </a:lnTo>
                    <a:lnTo>
                      <a:pt x="180" y="186"/>
                    </a:lnTo>
                    <a:lnTo>
                      <a:pt x="186" y="186"/>
                    </a:lnTo>
                    <a:lnTo>
                      <a:pt x="186" y="180"/>
                    </a:lnTo>
                    <a:lnTo>
                      <a:pt x="180" y="180"/>
                    </a:lnTo>
                    <a:lnTo>
                      <a:pt x="180" y="174"/>
                    </a:lnTo>
                    <a:lnTo>
                      <a:pt x="186" y="174"/>
                    </a:lnTo>
                    <a:lnTo>
                      <a:pt x="186" y="168"/>
                    </a:lnTo>
                    <a:lnTo>
                      <a:pt x="186" y="162"/>
                    </a:lnTo>
                    <a:lnTo>
                      <a:pt x="186" y="156"/>
                    </a:lnTo>
                    <a:lnTo>
                      <a:pt x="192" y="156"/>
                    </a:lnTo>
                    <a:lnTo>
                      <a:pt x="198" y="156"/>
                    </a:lnTo>
                    <a:lnTo>
                      <a:pt x="198" y="150"/>
                    </a:lnTo>
                    <a:lnTo>
                      <a:pt x="204" y="150"/>
                    </a:lnTo>
                    <a:lnTo>
                      <a:pt x="204" y="144"/>
                    </a:lnTo>
                    <a:lnTo>
                      <a:pt x="204" y="138"/>
                    </a:lnTo>
                    <a:lnTo>
                      <a:pt x="204" y="132"/>
                    </a:lnTo>
                    <a:lnTo>
                      <a:pt x="210" y="132"/>
                    </a:lnTo>
                    <a:lnTo>
                      <a:pt x="216" y="132"/>
                    </a:lnTo>
                    <a:lnTo>
                      <a:pt x="216" y="126"/>
                    </a:lnTo>
                    <a:lnTo>
                      <a:pt x="222" y="126"/>
                    </a:lnTo>
                    <a:lnTo>
                      <a:pt x="228" y="126"/>
                    </a:lnTo>
                    <a:lnTo>
                      <a:pt x="228" y="120"/>
                    </a:lnTo>
                    <a:lnTo>
                      <a:pt x="228" y="114"/>
                    </a:lnTo>
                    <a:lnTo>
                      <a:pt x="228" y="108"/>
                    </a:lnTo>
                    <a:lnTo>
                      <a:pt x="234" y="108"/>
                    </a:lnTo>
                    <a:lnTo>
                      <a:pt x="234" y="102"/>
                    </a:lnTo>
                    <a:lnTo>
                      <a:pt x="234" y="96"/>
                    </a:lnTo>
                    <a:lnTo>
                      <a:pt x="228" y="96"/>
                    </a:lnTo>
                    <a:lnTo>
                      <a:pt x="222" y="96"/>
                    </a:lnTo>
                    <a:lnTo>
                      <a:pt x="222" y="90"/>
                    </a:lnTo>
                    <a:lnTo>
                      <a:pt x="228" y="90"/>
                    </a:lnTo>
                    <a:lnTo>
                      <a:pt x="222" y="90"/>
                    </a:lnTo>
                    <a:lnTo>
                      <a:pt x="216" y="90"/>
                    </a:lnTo>
                    <a:lnTo>
                      <a:pt x="216" y="84"/>
                    </a:lnTo>
                    <a:lnTo>
                      <a:pt x="210" y="84"/>
                    </a:lnTo>
                    <a:lnTo>
                      <a:pt x="210" y="90"/>
                    </a:lnTo>
                    <a:lnTo>
                      <a:pt x="210" y="84"/>
                    </a:lnTo>
                    <a:lnTo>
                      <a:pt x="210" y="90"/>
                    </a:lnTo>
                    <a:lnTo>
                      <a:pt x="210" y="84"/>
                    </a:lnTo>
                    <a:lnTo>
                      <a:pt x="210" y="78"/>
                    </a:lnTo>
                    <a:lnTo>
                      <a:pt x="204" y="78"/>
                    </a:lnTo>
                    <a:lnTo>
                      <a:pt x="204" y="72"/>
                    </a:lnTo>
                    <a:lnTo>
                      <a:pt x="198" y="72"/>
                    </a:lnTo>
                    <a:lnTo>
                      <a:pt x="192" y="72"/>
                    </a:lnTo>
                    <a:lnTo>
                      <a:pt x="186" y="72"/>
                    </a:lnTo>
                    <a:lnTo>
                      <a:pt x="186" y="66"/>
                    </a:lnTo>
                    <a:lnTo>
                      <a:pt x="180" y="66"/>
                    </a:lnTo>
                    <a:lnTo>
                      <a:pt x="180" y="72"/>
                    </a:lnTo>
                    <a:lnTo>
                      <a:pt x="174" y="72"/>
                    </a:lnTo>
                    <a:lnTo>
                      <a:pt x="168" y="72"/>
                    </a:lnTo>
                    <a:lnTo>
                      <a:pt x="168" y="78"/>
                    </a:lnTo>
                    <a:lnTo>
                      <a:pt x="168" y="72"/>
                    </a:lnTo>
                    <a:lnTo>
                      <a:pt x="162" y="72"/>
                    </a:lnTo>
                    <a:lnTo>
                      <a:pt x="168" y="72"/>
                    </a:lnTo>
                    <a:lnTo>
                      <a:pt x="162" y="72"/>
                    </a:lnTo>
                    <a:lnTo>
                      <a:pt x="162" y="66"/>
                    </a:lnTo>
                    <a:lnTo>
                      <a:pt x="168" y="66"/>
                    </a:lnTo>
                    <a:lnTo>
                      <a:pt x="168" y="60"/>
                    </a:lnTo>
                    <a:lnTo>
                      <a:pt x="162" y="60"/>
                    </a:lnTo>
                    <a:lnTo>
                      <a:pt x="168" y="60"/>
                    </a:lnTo>
                    <a:lnTo>
                      <a:pt x="168" y="54"/>
                    </a:lnTo>
                    <a:lnTo>
                      <a:pt x="174" y="54"/>
                    </a:lnTo>
                    <a:lnTo>
                      <a:pt x="174" y="48"/>
                    </a:lnTo>
                    <a:lnTo>
                      <a:pt x="174" y="42"/>
                    </a:lnTo>
                    <a:lnTo>
                      <a:pt x="168" y="42"/>
                    </a:lnTo>
                    <a:lnTo>
                      <a:pt x="168" y="36"/>
                    </a:lnTo>
                    <a:lnTo>
                      <a:pt x="168" y="30"/>
                    </a:lnTo>
                    <a:lnTo>
                      <a:pt x="162" y="30"/>
                    </a:lnTo>
                    <a:lnTo>
                      <a:pt x="168" y="30"/>
                    </a:lnTo>
                    <a:lnTo>
                      <a:pt x="162" y="30"/>
                    </a:lnTo>
                    <a:lnTo>
                      <a:pt x="168" y="30"/>
                    </a:lnTo>
                    <a:lnTo>
                      <a:pt x="162" y="24"/>
                    </a:lnTo>
                    <a:lnTo>
                      <a:pt x="168" y="24"/>
                    </a:lnTo>
                    <a:lnTo>
                      <a:pt x="162" y="24"/>
                    </a:lnTo>
                    <a:lnTo>
                      <a:pt x="168" y="24"/>
                    </a:lnTo>
                    <a:lnTo>
                      <a:pt x="168" y="18"/>
                    </a:lnTo>
                    <a:lnTo>
                      <a:pt x="174" y="18"/>
                    </a:lnTo>
                    <a:lnTo>
                      <a:pt x="174" y="24"/>
                    </a:lnTo>
                    <a:lnTo>
                      <a:pt x="174" y="30"/>
                    </a:lnTo>
                    <a:lnTo>
                      <a:pt x="180" y="30"/>
                    </a:lnTo>
                    <a:lnTo>
                      <a:pt x="180" y="36"/>
                    </a:lnTo>
                    <a:lnTo>
                      <a:pt x="186" y="36"/>
                    </a:lnTo>
                    <a:lnTo>
                      <a:pt x="192" y="36"/>
                    </a:lnTo>
                    <a:lnTo>
                      <a:pt x="198" y="36"/>
                    </a:lnTo>
                    <a:lnTo>
                      <a:pt x="198" y="30"/>
                    </a:lnTo>
                    <a:lnTo>
                      <a:pt x="204" y="30"/>
                    </a:lnTo>
                    <a:lnTo>
                      <a:pt x="210" y="30"/>
                    </a:lnTo>
                    <a:lnTo>
                      <a:pt x="216" y="30"/>
                    </a:lnTo>
                    <a:lnTo>
                      <a:pt x="216" y="36"/>
                    </a:lnTo>
                    <a:lnTo>
                      <a:pt x="222" y="36"/>
                    </a:lnTo>
                    <a:lnTo>
                      <a:pt x="228" y="36"/>
                    </a:lnTo>
                    <a:lnTo>
                      <a:pt x="234" y="36"/>
                    </a:lnTo>
                    <a:lnTo>
                      <a:pt x="234" y="30"/>
                    </a:lnTo>
                    <a:lnTo>
                      <a:pt x="240" y="30"/>
                    </a:lnTo>
                    <a:lnTo>
                      <a:pt x="234" y="30"/>
                    </a:lnTo>
                    <a:lnTo>
                      <a:pt x="234" y="36"/>
                    </a:lnTo>
                    <a:lnTo>
                      <a:pt x="240" y="36"/>
                    </a:lnTo>
                    <a:lnTo>
                      <a:pt x="246" y="36"/>
                    </a:lnTo>
                    <a:lnTo>
                      <a:pt x="252" y="36"/>
                    </a:lnTo>
                    <a:lnTo>
                      <a:pt x="258" y="36"/>
                    </a:lnTo>
                    <a:lnTo>
                      <a:pt x="264" y="36"/>
                    </a:lnTo>
                    <a:lnTo>
                      <a:pt x="270" y="36"/>
                    </a:lnTo>
                    <a:lnTo>
                      <a:pt x="270" y="42"/>
                    </a:lnTo>
                    <a:lnTo>
                      <a:pt x="276" y="42"/>
                    </a:lnTo>
                    <a:lnTo>
                      <a:pt x="276" y="36"/>
                    </a:lnTo>
                    <a:lnTo>
                      <a:pt x="282" y="36"/>
                    </a:lnTo>
                    <a:lnTo>
                      <a:pt x="282" y="30"/>
                    </a:lnTo>
                    <a:lnTo>
                      <a:pt x="288" y="30"/>
                    </a:lnTo>
                    <a:lnTo>
                      <a:pt x="294" y="30"/>
                    </a:lnTo>
                    <a:lnTo>
                      <a:pt x="288" y="30"/>
                    </a:lnTo>
                    <a:lnTo>
                      <a:pt x="288" y="24"/>
                    </a:lnTo>
                    <a:lnTo>
                      <a:pt x="294" y="24"/>
                    </a:lnTo>
                    <a:lnTo>
                      <a:pt x="294" y="18"/>
                    </a:lnTo>
                    <a:lnTo>
                      <a:pt x="294" y="24"/>
                    </a:lnTo>
                    <a:lnTo>
                      <a:pt x="300" y="24"/>
                    </a:lnTo>
                    <a:lnTo>
                      <a:pt x="300" y="18"/>
                    </a:lnTo>
                    <a:lnTo>
                      <a:pt x="306" y="18"/>
                    </a:lnTo>
                    <a:lnTo>
                      <a:pt x="312" y="18"/>
                    </a:lnTo>
                    <a:lnTo>
                      <a:pt x="312" y="24"/>
                    </a:lnTo>
                    <a:lnTo>
                      <a:pt x="318" y="24"/>
                    </a:lnTo>
                    <a:lnTo>
                      <a:pt x="324" y="24"/>
                    </a:lnTo>
                    <a:lnTo>
                      <a:pt x="324" y="30"/>
                    </a:lnTo>
                    <a:lnTo>
                      <a:pt x="330" y="30"/>
                    </a:lnTo>
                    <a:lnTo>
                      <a:pt x="330" y="24"/>
                    </a:lnTo>
                    <a:lnTo>
                      <a:pt x="336" y="24"/>
                    </a:lnTo>
                    <a:lnTo>
                      <a:pt x="336" y="30"/>
                    </a:lnTo>
                    <a:lnTo>
                      <a:pt x="342" y="30"/>
                    </a:lnTo>
                    <a:lnTo>
                      <a:pt x="342" y="24"/>
                    </a:lnTo>
                    <a:lnTo>
                      <a:pt x="348" y="24"/>
                    </a:lnTo>
                    <a:lnTo>
                      <a:pt x="354" y="24"/>
                    </a:lnTo>
                    <a:lnTo>
                      <a:pt x="354" y="18"/>
                    </a:lnTo>
                    <a:lnTo>
                      <a:pt x="360" y="18"/>
                    </a:lnTo>
                    <a:lnTo>
                      <a:pt x="354" y="18"/>
                    </a:lnTo>
                    <a:lnTo>
                      <a:pt x="354" y="12"/>
                    </a:lnTo>
                    <a:lnTo>
                      <a:pt x="360" y="12"/>
                    </a:lnTo>
                    <a:lnTo>
                      <a:pt x="360" y="6"/>
                    </a:lnTo>
                    <a:lnTo>
                      <a:pt x="360" y="12"/>
                    </a:lnTo>
                    <a:lnTo>
                      <a:pt x="366" y="6"/>
                    </a:lnTo>
                    <a:lnTo>
                      <a:pt x="366" y="0"/>
                    </a:lnTo>
                    <a:lnTo>
                      <a:pt x="372" y="0"/>
                    </a:lnTo>
                    <a:lnTo>
                      <a:pt x="378" y="0"/>
                    </a:lnTo>
                    <a:lnTo>
                      <a:pt x="384" y="0"/>
                    </a:lnTo>
                    <a:lnTo>
                      <a:pt x="384" y="6"/>
                    </a:lnTo>
                    <a:lnTo>
                      <a:pt x="390" y="6"/>
                    </a:lnTo>
                    <a:lnTo>
                      <a:pt x="396" y="12"/>
                    </a:lnTo>
                    <a:lnTo>
                      <a:pt x="390" y="12"/>
                    </a:lnTo>
                    <a:lnTo>
                      <a:pt x="396" y="12"/>
                    </a:lnTo>
                    <a:lnTo>
                      <a:pt x="390" y="12"/>
                    </a:lnTo>
                    <a:lnTo>
                      <a:pt x="396" y="12"/>
                    </a:lnTo>
                    <a:lnTo>
                      <a:pt x="396" y="18"/>
                    </a:lnTo>
                    <a:lnTo>
                      <a:pt x="396" y="24"/>
                    </a:lnTo>
                    <a:lnTo>
                      <a:pt x="402" y="24"/>
                    </a:lnTo>
                    <a:lnTo>
                      <a:pt x="402" y="30"/>
                    </a:lnTo>
                    <a:lnTo>
                      <a:pt x="396" y="30"/>
                    </a:lnTo>
                    <a:lnTo>
                      <a:pt x="402" y="30"/>
                    </a:lnTo>
                    <a:lnTo>
                      <a:pt x="408" y="30"/>
                    </a:lnTo>
                    <a:lnTo>
                      <a:pt x="408" y="36"/>
                    </a:lnTo>
                    <a:lnTo>
                      <a:pt x="414" y="36"/>
                    </a:lnTo>
                    <a:lnTo>
                      <a:pt x="420" y="36"/>
                    </a:lnTo>
                    <a:lnTo>
                      <a:pt x="420" y="42"/>
                    </a:lnTo>
                    <a:lnTo>
                      <a:pt x="414" y="42"/>
                    </a:lnTo>
                    <a:lnTo>
                      <a:pt x="420" y="42"/>
                    </a:lnTo>
                    <a:lnTo>
                      <a:pt x="420" y="48"/>
                    </a:lnTo>
                    <a:lnTo>
                      <a:pt x="420" y="54"/>
                    </a:lnTo>
                    <a:lnTo>
                      <a:pt x="420" y="60"/>
                    </a:lnTo>
                    <a:lnTo>
                      <a:pt x="426" y="60"/>
                    </a:lnTo>
                    <a:lnTo>
                      <a:pt x="420" y="60"/>
                    </a:lnTo>
                    <a:lnTo>
                      <a:pt x="426" y="60"/>
                    </a:lnTo>
                    <a:lnTo>
                      <a:pt x="426" y="66"/>
                    </a:lnTo>
                    <a:lnTo>
                      <a:pt x="432" y="66"/>
                    </a:lnTo>
                    <a:lnTo>
                      <a:pt x="438" y="66"/>
                    </a:lnTo>
                    <a:lnTo>
                      <a:pt x="444" y="66"/>
                    </a:lnTo>
                    <a:lnTo>
                      <a:pt x="444" y="60"/>
                    </a:lnTo>
                    <a:lnTo>
                      <a:pt x="450" y="60"/>
                    </a:lnTo>
                    <a:lnTo>
                      <a:pt x="450" y="66"/>
                    </a:lnTo>
                    <a:lnTo>
                      <a:pt x="456" y="72"/>
                    </a:lnTo>
                    <a:lnTo>
                      <a:pt x="450" y="72"/>
                    </a:lnTo>
                    <a:lnTo>
                      <a:pt x="456" y="72"/>
                    </a:lnTo>
                    <a:lnTo>
                      <a:pt x="450" y="72"/>
                    </a:lnTo>
                    <a:lnTo>
                      <a:pt x="456" y="72"/>
                    </a:lnTo>
                    <a:lnTo>
                      <a:pt x="450" y="78"/>
                    </a:lnTo>
                    <a:lnTo>
                      <a:pt x="450" y="84"/>
                    </a:lnTo>
                    <a:lnTo>
                      <a:pt x="450" y="90"/>
                    </a:lnTo>
                    <a:lnTo>
                      <a:pt x="444" y="90"/>
                    </a:lnTo>
                    <a:lnTo>
                      <a:pt x="450" y="90"/>
                    </a:lnTo>
                    <a:lnTo>
                      <a:pt x="450" y="96"/>
                    </a:lnTo>
                    <a:lnTo>
                      <a:pt x="450" y="90"/>
                    </a:lnTo>
                    <a:lnTo>
                      <a:pt x="456" y="90"/>
                    </a:lnTo>
                    <a:lnTo>
                      <a:pt x="456" y="96"/>
                    </a:lnTo>
                    <a:lnTo>
                      <a:pt x="456" y="102"/>
                    </a:lnTo>
                    <a:lnTo>
                      <a:pt x="456" y="108"/>
                    </a:lnTo>
                    <a:lnTo>
                      <a:pt x="456" y="114"/>
                    </a:lnTo>
                    <a:lnTo>
                      <a:pt x="456" y="120"/>
                    </a:lnTo>
                    <a:lnTo>
                      <a:pt x="456" y="126"/>
                    </a:lnTo>
                    <a:lnTo>
                      <a:pt x="462" y="126"/>
                    </a:lnTo>
                    <a:lnTo>
                      <a:pt x="462" y="132"/>
                    </a:lnTo>
                    <a:lnTo>
                      <a:pt x="468" y="132"/>
                    </a:lnTo>
                    <a:lnTo>
                      <a:pt x="468" y="138"/>
                    </a:lnTo>
                    <a:lnTo>
                      <a:pt x="468" y="144"/>
                    </a:lnTo>
                    <a:lnTo>
                      <a:pt x="474" y="144"/>
                    </a:lnTo>
                    <a:lnTo>
                      <a:pt x="468" y="144"/>
                    </a:lnTo>
                    <a:lnTo>
                      <a:pt x="474" y="144"/>
                    </a:lnTo>
                    <a:lnTo>
                      <a:pt x="474" y="138"/>
                    </a:lnTo>
                    <a:lnTo>
                      <a:pt x="468" y="138"/>
                    </a:lnTo>
                    <a:lnTo>
                      <a:pt x="474" y="138"/>
                    </a:lnTo>
                    <a:lnTo>
                      <a:pt x="474" y="144"/>
                    </a:lnTo>
                    <a:lnTo>
                      <a:pt x="480" y="144"/>
                    </a:lnTo>
                    <a:lnTo>
                      <a:pt x="486" y="144"/>
                    </a:lnTo>
                    <a:lnTo>
                      <a:pt x="492" y="144"/>
                    </a:lnTo>
                    <a:lnTo>
                      <a:pt x="498" y="144"/>
                    </a:lnTo>
                    <a:lnTo>
                      <a:pt x="498" y="150"/>
                    </a:lnTo>
                    <a:lnTo>
                      <a:pt x="492" y="150"/>
                    </a:lnTo>
                    <a:lnTo>
                      <a:pt x="492" y="156"/>
                    </a:lnTo>
                    <a:lnTo>
                      <a:pt x="498" y="156"/>
                    </a:lnTo>
                    <a:lnTo>
                      <a:pt x="492" y="156"/>
                    </a:lnTo>
                    <a:lnTo>
                      <a:pt x="498" y="156"/>
                    </a:lnTo>
                    <a:lnTo>
                      <a:pt x="498" y="162"/>
                    </a:lnTo>
                    <a:lnTo>
                      <a:pt x="492" y="162"/>
                    </a:lnTo>
                    <a:lnTo>
                      <a:pt x="486" y="168"/>
                    </a:lnTo>
                    <a:lnTo>
                      <a:pt x="486" y="174"/>
                    </a:lnTo>
                    <a:lnTo>
                      <a:pt x="480" y="174"/>
                    </a:lnTo>
                    <a:lnTo>
                      <a:pt x="480" y="180"/>
                    </a:lnTo>
                    <a:lnTo>
                      <a:pt x="480" y="186"/>
                    </a:lnTo>
                    <a:lnTo>
                      <a:pt x="474" y="186"/>
                    </a:lnTo>
                    <a:lnTo>
                      <a:pt x="468" y="186"/>
                    </a:lnTo>
                    <a:lnTo>
                      <a:pt x="462" y="186"/>
                    </a:lnTo>
                    <a:lnTo>
                      <a:pt x="462" y="192"/>
                    </a:lnTo>
                    <a:lnTo>
                      <a:pt x="456" y="192"/>
                    </a:lnTo>
                    <a:lnTo>
                      <a:pt x="456" y="198"/>
                    </a:lnTo>
                    <a:lnTo>
                      <a:pt x="450" y="198"/>
                    </a:lnTo>
                    <a:lnTo>
                      <a:pt x="450" y="204"/>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US" sz="800" dirty="0">
                  <a:solidFill>
                    <a:srgbClr val="000000"/>
                  </a:solidFill>
                </a:endParaRPr>
              </a:p>
            </p:txBody>
          </p:sp>
          <p:sp>
            <p:nvSpPr>
              <p:cNvPr id="64" name="Freeform 75"/>
              <p:cNvSpPr>
                <a:spLocks/>
              </p:cNvSpPr>
              <p:nvPr/>
            </p:nvSpPr>
            <p:spPr bwMode="gray">
              <a:xfrm>
                <a:off x="2271255" y="2251628"/>
                <a:ext cx="1343311" cy="1215426"/>
              </a:xfrm>
              <a:custGeom>
                <a:avLst/>
                <a:gdLst>
                  <a:gd name="T0" fmla="*/ 948 w 1044"/>
                  <a:gd name="T1" fmla="*/ 384 h 954"/>
                  <a:gd name="T2" fmla="*/ 978 w 1044"/>
                  <a:gd name="T3" fmla="*/ 432 h 954"/>
                  <a:gd name="T4" fmla="*/ 948 w 1044"/>
                  <a:gd name="T5" fmla="*/ 456 h 954"/>
                  <a:gd name="T6" fmla="*/ 984 w 1044"/>
                  <a:gd name="T7" fmla="*/ 450 h 954"/>
                  <a:gd name="T8" fmla="*/ 1020 w 1044"/>
                  <a:gd name="T9" fmla="*/ 456 h 954"/>
                  <a:gd name="T10" fmla="*/ 1032 w 1044"/>
                  <a:gd name="T11" fmla="*/ 468 h 954"/>
                  <a:gd name="T12" fmla="*/ 978 w 1044"/>
                  <a:gd name="T13" fmla="*/ 504 h 954"/>
                  <a:gd name="T14" fmla="*/ 912 w 1044"/>
                  <a:gd name="T15" fmla="*/ 540 h 954"/>
                  <a:gd name="T16" fmla="*/ 846 w 1044"/>
                  <a:gd name="T17" fmla="*/ 588 h 954"/>
                  <a:gd name="T18" fmla="*/ 870 w 1044"/>
                  <a:gd name="T19" fmla="*/ 660 h 954"/>
                  <a:gd name="T20" fmla="*/ 936 w 1044"/>
                  <a:gd name="T21" fmla="*/ 648 h 954"/>
                  <a:gd name="T22" fmla="*/ 918 w 1044"/>
                  <a:gd name="T23" fmla="*/ 690 h 954"/>
                  <a:gd name="T24" fmla="*/ 888 w 1044"/>
                  <a:gd name="T25" fmla="*/ 720 h 954"/>
                  <a:gd name="T26" fmla="*/ 900 w 1044"/>
                  <a:gd name="T27" fmla="*/ 762 h 954"/>
                  <a:gd name="T28" fmla="*/ 888 w 1044"/>
                  <a:gd name="T29" fmla="*/ 804 h 954"/>
                  <a:gd name="T30" fmla="*/ 846 w 1044"/>
                  <a:gd name="T31" fmla="*/ 804 h 954"/>
                  <a:gd name="T32" fmla="*/ 792 w 1044"/>
                  <a:gd name="T33" fmla="*/ 804 h 954"/>
                  <a:gd name="T34" fmla="*/ 768 w 1044"/>
                  <a:gd name="T35" fmla="*/ 846 h 954"/>
                  <a:gd name="T36" fmla="*/ 726 w 1044"/>
                  <a:gd name="T37" fmla="*/ 852 h 954"/>
                  <a:gd name="T38" fmla="*/ 756 w 1044"/>
                  <a:gd name="T39" fmla="*/ 828 h 954"/>
                  <a:gd name="T40" fmla="*/ 756 w 1044"/>
                  <a:gd name="T41" fmla="*/ 774 h 954"/>
                  <a:gd name="T42" fmla="*/ 762 w 1044"/>
                  <a:gd name="T43" fmla="*/ 738 h 954"/>
                  <a:gd name="T44" fmla="*/ 684 w 1044"/>
                  <a:gd name="T45" fmla="*/ 732 h 954"/>
                  <a:gd name="T46" fmla="*/ 696 w 1044"/>
                  <a:gd name="T47" fmla="*/ 714 h 954"/>
                  <a:gd name="T48" fmla="*/ 666 w 1044"/>
                  <a:gd name="T49" fmla="*/ 720 h 954"/>
                  <a:gd name="T50" fmla="*/ 660 w 1044"/>
                  <a:gd name="T51" fmla="*/ 738 h 954"/>
                  <a:gd name="T52" fmla="*/ 630 w 1044"/>
                  <a:gd name="T53" fmla="*/ 762 h 954"/>
                  <a:gd name="T54" fmla="*/ 648 w 1044"/>
                  <a:gd name="T55" fmla="*/ 810 h 954"/>
                  <a:gd name="T56" fmla="*/ 648 w 1044"/>
                  <a:gd name="T57" fmla="*/ 876 h 954"/>
                  <a:gd name="T58" fmla="*/ 606 w 1044"/>
                  <a:gd name="T59" fmla="*/ 924 h 954"/>
                  <a:gd name="T60" fmla="*/ 582 w 1044"/>
                  <a:gd name="T61" fmla="*/ 954 h 954"/>
                  <a:gd name="T62" fmla="*/ 540 w 1044"/>
                  <a:gd name="T63" fmla="*/ 918 h 954"/>
                  <a:gd name="T64" fmla="*/ 486 w 1044"/>
                  <a:gd name="T65" fmla="*/ 876 h 954"/>
                  <a:gd name="T66" fmla="*/ 462 w 1044"/>
                  <a:gd name="T67" fmla="*/ 822 h 954"/>
                  <a:gd name="T68" fmla="*/ 438 w 1044"/>
                  <a:gd name="T69" fmla="*/ 792 h 954"/>
                  <a:gd name="T70" fmla="*/ 408 w 1044"/>
                  <a:gd name="T71" fmla="*/ 786 h 954"/>
                  <a:gd name="T72" fmla="*/ 348 w 1044"/>
                  <a:gd name="T73" fmla="*/ 768 h 954"/>
                  <a:gd name="T74" fmla="*/ 306 w 1044"/>
                  <a:gd name="T75" fmla="*/ 744 h 954"/>
                  <a:gd name="T76" fmla="*/ 216 w 1044"/>
                  <a:gd name="T77" fmla="*/ 744 h 954"/>
                  <a:gd name="T78" fmla="*/ 168 w 1044"/>
                  <a:gd name="T79" fmla="*/ 696 h 954"/>
                  <a:gd name="T80" fmla="*/ 144 w 1044"/>
                  <a:gd name="T81" fmla="*/ 606 h 954"/>
                  <a:gd name="T82" fmla="*/ 72 w 1044"/>
                  <a:gd name="T83" fmla="*/ 564 h 954"/>
                  <a:gd name="T84" fmla="*/ 42 w 1044"/>
                  <a:gd name="T85" fmla="*/ 492 h 954"/>
                  <a:gd name="T86" fmla="*/ 42 w 1044"/>
                  <a:gd name="T87" fmla="*/ 384 h 954"/>
                  <a:gd name="T88" fmla="*/ 126 w 1044"/>
                  <a:gd name="T89" fmla="*/ 294 h 954"/>
                  <a:gd name="T90" fmla="*/ 198 w 1044"/>
                  <a:gd name="T91" fmla="*/ 324 h 954"/>
                  <a:gd name="T92" fmla="*/ 300 w 1044"/>
                  <a:gd name="T93" fmla="*/ 276 h 954"/>
                  <a:gd name="T94" fmla="*/ 372 w 1044"/>
                  <a:gd name="T95" fmla="*/ 180 h 954"/>
                  <a:gd name="T96" fmla="*/ 444 w 1044"/>
                  <a:gd name="T97" fmla="*/ 102 h 954"/>
                  <a:gd name="T98" fmla="*/ 516 w 1044"/>
                  <a:gd name="T99" fmla="*/ 18 h 954"/>
                  <a:gd name="T100" fmla="*/ 558 w 1044"/>
                  <a:gd name="T101" fmla="*/ 36 h 954"/>
                  <a:gd name="T102" fmla="*/ 612 w 1044"/>
                  <a:gd name="T103" fmla="*/ 66 h 954"/>
                  <a:gd name="T104" fmla="*/ 624 w 1044"/>
                  <a:gd name="T105" fmla="*/ 120 h 954"/>
                  <a:gd name="T106" fmla="*/ 684 w 1044"/>
                  <a:gd name="T107" fmla="*/ 126 h 954"/>
                  <a:gd name="T108" fmla="*/ 720 w 1044"/>
                  <a:gd name="T109" fmla="*/ 174 h 954"/>
                  <a:gd name="T110" fmla="*/ 756 w 1044"/>
                  <a:gd name="T111" fmla="*/ 246 h 954"/>
                  <a:gd name="T112" fmla="*/ 780 w 1044"/>
                  <a:gd name="T113" fmla="*/ 288 h 954"/>
                  <a:gd name="T114" fmla="*/ 774 w 1044"/>
                  <a:gd name="T115" fmla="*/ 318 h 954"/>
                  <a:gd name="T116" fmla="*/ 798 w 1044"/>
                  <a:gd name="T117" fmla="*/ 294 h 954"/>
                  <a:gd name="T118" fmla="*/ 834 w 1044"/>
                  <a:gd name="T119" fmla="*/ 282 h 954"/>
                  <a:gd name="T120" fmla="*/ 870 w 1044"/>
                  <a:gd name="T121" fmla="*/ 282 h 954"/>
                  <a:gd name="T122" fmla="*/ 888 w 1044"/>
                  <a:gd name="T123" fmla="*/ 336 h 954"/>
                  <a:gd name="T124" fmla="*/ 924 w 1044"/>
                  <a:gd name="T125" fmla="*/ 330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44" h="954">
                    <a:moveTo>
                      <a:pt x="930" y="330"/>
                    </a:moveTo>
                    <a:lnTo>
                      <a:pt x="936" y="330"/>
                    </a:lnTo>
                    <a:lnTo>
                      <a:pt x="936" y="336"/>
                    </a:lnTo>
                    <a:lnTo>
                      <a:pt x="936" y="342"/>
                    </a:lnTo>
                    <a:lnTo>
                      <a:pt x="942" y="342"/>
                    </a:lnTo>
                    <a:lnTo>
                      <a:pt x="942" y="348"/>
                    </a:lnTo>
                    <a:lnTo>
                      <a:pt x="942" y="354"/>
                    </a:lnTo>
                    <a:lnTo>
                      <a:pt x="936" y="354"/>
                    </a:lnTo>
                    <a:lnTo>
                      <a:pt x="936" y="360"/>
                    </a:lnTo>
                    <a:lnTo>
                      <a:pt x="936" y="354"/>
                    </a:lnTo>
                    <a:lnTo>
                      <a:pt x="942" y="354"/>
                    </a:lnTo>
                    <a:lnTo>
                      <a:pt x="942" y="360"/>
                    </a:lnTo>
                    <a:lnTo>
                      <a:pt x="936" y="360"/>
                    </a:lnTo>
                    <a:lnTo>
                      <a:pt x="942" y="360"/>
                    </a:lnTo>
                    <a:lnTo>
                      <a:pt x="942" y="366"/>
                    </a:lnTo>
                    <a:lnTo>
                      <a:pt x="948" y="366"/>
                    </a:lnTo>
                    <a:lnTo>
                      <a:pt x="948" y="372"/>
                    </a:lnTo>
                    <a:lnTo>
                      <a:pt x="948" y="378"/>
                    </a:lnTo>
                    <a:lnTo>
                      <a:pt x="948" y="384"/>
                    </a:lnTo>
                    <a:lnTo>
                      <a:pt x="954" y="384"/>
                    </a:lnTo>
                    <a:lnTo>
                      <a:pt x="960" y="384"/>
                    </a:lnTo>
                    <a:lnTo>
                      <a:pt x="960" y="390"/>
                    </a:lnTo>
                    <a:lnTo>
                      <a:pt x="966" y="390"/>
                    </a:lnTo>
                    <a:lnTo>
                      <a:pt x="972" y="390"/>
                    </a:lnTo>
                    <a:lnTo>
                      <a:pt x="972" y="396"/>
                    </a:lnTo>
                    <a:lnTo>
                      <a:pt x="972" y="402"/>
                    </a:lnTo>
                    <a:lnTo>
                      <a:pt x="978" y="402"/>
                    </a:lnTo>
                    <a:lnTo>
                      <a:pt x="978" y="408"/>
                    </a:lnTo>
                    <a:lnTo>
                      <a:pt x="978" y="414"/>
                    </a:lnTo>
                    <a:lnTo>
                      <a:pt x="972" y="414"/>
                    </a:lnTo>
                    <a:lnTo>
                      <a:pt x="972" y="420"/>
                    </a:lnTo>
                    <a:lnTo>
                      <a:pt x="966" y="420"/>
                    </a:lnTo>
                    <a:lnTo>
                      <a:pt x="960" y="420"/>
                    </a:lnTo>
                    <a:lnTo>
                      <a:pt x="960" y="426"/>
                    </a:lnTo>
                    <a:lnTo>
                      <a:pt x="966" y="426"/>
                    </a:lnTo>
                    <a:lnTo>
                      <a:pt x="966" y="432"/>
                    </a:lnTo>
                    <a:lnTo>
                      <a:pt x="972" y="432"/>
                    </a:lnTo>
                    <a:lnTo>
                      <a:pt x="978" y="432"/>
                    </a:lnTo>
                    <a:lnTo>
                      <a:pt x="984" y="432"/>
                    </a:lnTo>
                    <a:lnTo>
                      <a:pt x="984" y="438"/>
                    </a:lnTo>
                    <a:lnTo>
                      <a:pt x="984" y="432"/>
                    </a:lnTo>
                    <a:lnTo>
                      <a:pt x="990" y="432"/>
                    </a:lnTo>
                    <a:lnTo>
                      <a:pt x="990" y="438"/>
                    </a:lnTo>
                    <a:lnTo>
                      <a:pt x="984" y="438"/>
                    </a:lnTo>
                    <a:lnTo>
                      <a:pt x="978" y="438"/>
                    </a:lnTo>
                    <a:lnTo>
                      <a:pt x="978" y="444"/>
                    </a:lnTo>
                    <a:lnTo>
                      <a:pt x="978" y="438"/>
                    </a:lnTo>
                    <a:lnTo>
                      <a:pt x="978" y="444"/>
                    </a:lnTo>
                    <a:lnTo>
                      <a:pt x="972" y="444"/>
                    </a:lnTo>
                    <a:lnTo>
                      <a:pt x="966" y="444"/>
                    </a:lnTo>
                    <a:lnTo>
                      <a:pt x="966" y="450"/>
                    </a:lnTo>
                    <a:lnTo>
                      <a:pt x="960" y="450"/>
                    </a:lnTo>
                    <a:lnTo>
                      <a:pt x="954" y="450"/>
                    </a:lnTo>
                    <a:lnTo>
                      <a:pt x="954" y="456"/>
                    </a:lnTo>
                    <a:lnTo>
                      <a:pt x="954" y="450"/>
                    </a:lnTo>
                    <a:lnTo>
                      <a:pt x="954" y="456"/>
                    </a:lnTo>
                    <a:lnTo>
                      <a:pt x="948" y="456"/>
                    </a:lnTo>
                    <a:lnTo>
                      <a:pt x="948" y="462"/>
                    </a:lnTo>
                    <a:lnTo>
                      <a:pt x="954" y="462"/>
                    </a:lnTo>
                    <a:lnTo>
                      <a:pt x="948" y="462"/>
                    </a:lnTo>
                    <a:lnTo>
                      <a:pt x="948" y="468"/>
                    </a:lnTo>
                    <a:lnTo>
                      <a:pt x="954" y="468"/>
                    </a:lnTo>
                    <a:lnTo>
                      <a:pt x="960" y="468"/>
                    </a:lnTo>
                    <a:lnTo>
                      <a:pt x="954" y="468"/>
                    </a:lnTo>
                    <a:lnTo>
                      <a:pt x="954" y="462"/>
                    </a:lnTo>
                    <a:lnTo>
                      <a:pt x="960" y="462"/>
                    </a:lnTo>
                    <a:lnTo>
                      <a:pt x="960" y="456"/>
                    </a:lnTo>
                    <a:lnTo>
                      <a:pt x="960" y="462"/>
                    </a:lnTo>
                    <a:lnTo>
                      <a:pt x="966" y="462"/>
                    </a:lnTo>
                    <a:lnTo>
                      <a:pt x="972" y="462"/>
                    </a:lnTo>
                    <a:lnTo>
                      <a:pt x="972" y="456"/>
                    </a:lnTo>
                    <a:lnTo>
                      <a:pt x="972" y="462"/>
                    </a:lnTo>
                    <a:lnTo>
                      <a:pt x="972" y="456"/>
                    </a:lnTo>
                    <a:lnTo>
                      <a:pt x="978" y="456"/>
                    </a:lnTo>
                    <a:lnTo>
                      <a:pt x="984" y="456"/>
                    </a:lnTo>
                    <a:lnTo>
                      <a:pt x="984" y="450"/>
                    </a:lnTo>
                    <a:lnTo>
                      <a:pt x="984" y="456"/>
                    </a:lnTo>
                    <a:lnTo>
                      <a:pt x="984" y="450"/>
                    </a:lnTo>
                    <a:lnTo>
                      <a:pt x="984" y="444"/>
                    </a:lnTo>
                    <a:lnTo>
                      <a:pt x="990" y="444"/>
                    </a:lnTo>
                    <a:lnTo>
                      <a:pt x="996" y="444"/>
                    </a:lnTo>
                    <a:lnTo>
                      <a:pt x="996" y="450"/>
                    </a:lnTo>
                    <a:lnTo>
                      <a:pt x="996" y="444"/>
                    </a:lnTo>
                    <a:lnTo>
                      <a:pt x="996" y="450"/>
                    </a:lnTo>
                    <a:lnTo>
                      <a:pt x="1002" y="450"/>
                    </a:lnTo>
                    <a:lnTo>
                      <a:pt x="1008" y="450"/>
                    </a:lnTo>
                    <a:lnTo>
                      <a:pt x="1008" y="444"/>
                    </a:lnTo>
                    <a:lnTo>
                      <a:pt x="1008" y="450"/>
                    </a:lnTo>
                    <a:lnTo>
                      <a:pt x="1014" y="450"/>
                    </a:lnTo>
                    <a:lnTo>
                      <a:pt x="1008" y="450"/>
                    </a:lnTo>
                    <a:lnTo>
                      <a:pt x="1014" y="450"/>
                    </a:lnTo>
                    <a:lnTo>
                      <a:pt x="1014" y="456"/>
                    </a:lnTo>
                    <a:lnTo>
                      <a:pt x="1020" y="456"/>
                    </a:lnTo>
                    <a:lnTo>
                      <a:pt x="1020" y="450"/>
                    </a:lnTo>
                    <a:lnTo>
                      <a:pt x="1020" y="456"/>
                    </a:lnTo>
                    <a:lnTo>
                      <a:pt x="1020" y="450"/>
                    </a:lnTo>
                    <a:lnTo>
                      <a:pt x="1020" y="456"/>
                    </a:lnTo>
                    <a:lnTo>
                      <a:pt x="1026" y="456"/>
                    </a:lnTo>
                    <a:lnTo>
                      <a:pt x="1026" y="450"/>
                    </a:lnTo>
                    <a:lnTo>
                      <a:pt x="1026" y="456"/>
                    </a:lnTo>
                    <a:lnTo>
                      <a:pt x="1026" y="450"/>
                    </a:lnTo>
                    <a:lnTo>
                      <a:pt x="1032" y="450"/>
                    </a:lnTo>
                    <a:lnTo>
                      <a:pt x="1026" y="450"/>
                    </a:lnTo>
                    <a:lnTo>
                      <a:pt x="1032" y="450"/>
                    </a:lnTo>
                    <a:lnTo>
                      <a:pt x="1032" y="444"/>
                    </a:lnTo>
                    <a:lnTo>
                      <a:pt x="1038" y="444"/>
                    </a:lnTo>
                    <a:lnTo>
                      <a:pt x="1044" y="444"/>
                    </a:lnTo>
                    <a:lnTo>
                      <a:pt x="1044" y="450"/>
                    </a:lnTo>
                    <a:lnTo>
                      <a:pt x="1044" y="456"/>
                    </a:lnTo>
                    <a:lnTo>
                      <a:pt x="1038" y="462"/>
                    </a:lnTo>
                    <a:lnTo>
                      <a:pt x="1032" y="462"/>
                    </a:lnTo>
                    <a:lnTo>
                      <a:pt x="1032" y="468"/>
                    </a:lnTo>
                    <a:lnTo>
                      <a:pt x="1032" y="474"/>
                    </a:lnTo>
                    <a:lnTo>
                      <a:pt x="1032" y="468"/>
                    </a:lnTo>
                    <a:lnTo>
                      <a:pt x="1032" y="474"/>
                    </a:lnTo>
                    <a:lnTo>
                      <a:pt x="1026" y="474"/>
                    </a:lnTo>
                    <a:lnTo>
                      <a:pt x="1032" y="474"/>
                    </a:lnTo>
                    <a:lnTo>
                      <a:pt x="1032" y="480"/>
                    </a:lnTo>
                    <a:lnTo>
                      <a:pt x="1026" y="480"/>
                    </a:lnTo>
                    <a:lnTo>
                      <a:pt x="1020" y="480"/>
                    </a:lnTo>
                    <a:lnTo>
                      <a:pt x="1020" y="474"/>
                    </a:lnTo>
                    <a:lnTo>
                      <a:pt x="1020" y="480"/>
                    </a:lnTo>
                    <a:lnTo>
                      <a:pt x="1014" y="480"/>
                    </a:lnTo>
                    <a:lnTo>
                      <a:pt x="1008" y="480"/>
                    </a:lnTo>
                    <a:lnTo>
                      <a:pt x="1008" y="486"/>
                    </a:lnTo>
                    <a:lnTo>
                      <a:pt x="1002" y="486"/>
                    </a:lnTo>
                    <a:lnTo>
                      <a:pt x="996" y="486"/>
                    </a:lnTo>
                    <a:lnTo>
                      <a:pt x="996" y="492"/>
                    </a:lnTo>
                    <a:lnTo>
                      <a:pt x="996" y="498"/>
                    </a:lnTo>
                    <a:lnTo>
                      <a:pt x="990" y="498"/>
                    </a:lnTo>
                    <a:lnTo>
                      <a:pt x="984" y="498"/>
                    </a:lnTo>
                    <a:lnTo>
                      <a:pt x="984" y="504"/>
                    </a:lnTo>
                    <a:lnTo>
                      <a:pt x="978" y="504"/>
                    </a:lnTo>
                    <a:lnTo>
                      <a:pt x="972" y="504"/>
                    </a:lnTo>
                    <a:lnTo>
                      <a:pt x="972" y="510"/>
                    </a:lnTo>
                    <a:lnTo>
                      <a:pt x="966" y="510"/>
                    </a:lnTo>
                    <a:lnTo>
                      <a:pt x="966" y="516"/>
                    </a:lnTo>
                    <a:lnTo>
                      <a:pt x="960" y="516"/>
                    </a:lnTo>
                    <a:lnTo>
                      <a:pt x="954" y="516"/>
                    </a:lnTo>
                    <a:lnTo>
                      <a:pt x="948" y="516"/>
                    </a:lnTo>
                    <a:lnTo>
                      <a:pt x="954" y="516"/>
                    </a:lnTo>
                    <a:lnTo>
                      <a:pt x="954" y="522"/>
                    </a:lnTo>
                    <a:lnTo>
                      <a:pt x="948" y="522"/>
                    </a:lnTo>
                    <a:lnTo>
                      <a:pt x="942" y="522"/>
                    </a:lnTo>
                    <a:lnTo>
                      <a:pt x="936" y="522"/>
                    </a:lnTo>
                    <a:lnTo>
                      <a:pt x="936" y="528"/>
                    </a:lnTo>
                    <a:lnTo>
                      <a:pt x="936" y="534"/>
                    </a:lnTo>
                    <a:lnTo>
                      <a:pt x="930" y="534"/>
                    </a:lnTo>
                    <a:lnTo>
                      <a:pt x="924" y="534"/>
                    </a:lnTo>
                    <a:lnTo>
                      <a:pt x="924" y="540"/>
                    </a:lnTo>
                    <a:lnTo>
                      <a:pt x="918" y="540"/>
                    </a:lnTo>
                    <a:lnTo>
                      <a:pt x="912" y="540"/>
                    </a:lnTo>
                    <a:lnTo>
                      <a:pt x="912" y="546"/>
                    </a:lnTo>
                    <a:lnTo>
                      <a:pt x="906" y="546"/>
                    </a:lnTo>
                    <a:lnTo>
                      <a:pt x="900" y="546"/>
                    </a:lnTo>
                    <a:lnTo>
                      <a:pt x="900" y="552"/>
                    </a:lnTo>
                    <a:lnTo>
                      <a:pt x="894" y="552"/>
                    </a:lnTo>
                    <a:lnTo>
                      <a:pt x="894" y="558"/>
                    </a:lnTo>
                    <a:lnTo>
                      <a:pt x="888" y="558"/>
                    </a:lnTo>
                    <a:lnTo>
                      <a:pt x="888" y="564"/>
                    </a:lnTo>
                    <a:lnTo>
                      <a:pt x="882" y="564"/>
                    </a:lnTo>
                    <a:lnTo>
                      <a:pt x="876" y="564"/>
                    </a:lnTo>
                    <a:lnTo>
                      <a:pt x="876" y="570"/>
                    </a:lnTo>
                    <a:lnTo>
                      <a:pt x="876" y="576"/>
                    </a:lnTo>
                    <a:lnTo>
                      <a:pt x="870" y="576"/>
                    </a:lnTo>
                    <a:lnTo>
                      <a:pt x="870" y="582"/>
                    </a:lnTo>
                    <a:lnTo>
                      <a:pt x="864" y="582"/>
                    </a:lnTo>
                    <a:lnTo>
                      <a:pt x="858" y="582"/>
                    </a:lnTo>
                    <a:lnTo>
                      <a:pt x="852" y="582"/>
                    </a:lnTo>
                    <a:lnTo>
                      <a:pt x="852" y="588"/>
                    </a:lnTo>
                    <a:lnTo>
                      <a:pt x="846" y="588"/>
                    </a:lnTo>
                    <a:lnTo>
                      <a:pt x="846" y="594"/>
                    </a:lnTo>
                    <a:lnTo>
                      <a:pt x="840" y="594"/>
                    </a:lnTo>
                    <a:lnTo>
                      <a:pt x="840" y="600"/>
                    </a:lnTo>
                    <a:lnTo>
                      <a:pt x="840" y="606"/>
                    </a:lnTo>
                    <a:lnTo>
                      <a:pt x="834" y="606"/>
                    </a:lnTo>
                    <a:lnTo>
                      <a:pt x="834" y="612"/>
                    </a:lnTo>
                    <a:lnTo>
                      <a:pt x="840" y="612"/>
                    </a:lnTo>
                    <a:lnTo>
                      <a:pt x="840" y="618"/>
                    </a:lnTo>
                    <a:lnTo>
                      <a:pt x="840" y="624"/>
                    </a:lnTo>
                    <a:lnTo>
                      <a:pt x="840" y="630"/>
                    </a:lnTo>
                    <a:lnTo>
                      <a:pt x="840" y="636"/>
                    </a:lnTo>
                    <a:lnTo>
                      <a:pt x="846" y="636"/>
                    </a:lnTo>
                    <a:lnTo>
                      <a:pt x="846" y="642"/>
                    </a:lnTo>
                    <a:lnTo>
                      <a:pt x="852" y="648"/>
                    </a:lnTo>
                    <a:lnTo>
                      <a:pt x="852" y="654"/>
                    </a:lnTo>
                    <a:lnTo>
                      <a:pt x="858" y="654"/>
                    </a:lnTo>
                    <a:lnTo>
                      <a:pt x="864" y="654"/>
                    </a:lnTo>
                    <a:lnTo>
                      <a:pt x="864" y="660"/>
                    </a:lnTo>
                    <a:lnTo>
                      <a:pt x="870" y="660"/>
                    </a:lnTo>
                    <a:lnTo>
                      <a:pt x="876" y="660"/>
                    </a:lnTo>
                    <a:lnTo>
                      <a:pt x="882" y="660"/>
                    </a:lnTo>
                    <a:lnTo>
                      <a:pt x="882" y="654"/>
                    </a:lnTo>
                    <a:lnTo>
                      <a:pt x="882" y="660"/>
                    </a:lnTo>
                    <a:lnTo>
                      <a:pt x="888" y="660"/>
                    </a:lnTo>
                    <a:lnTo>
                      <a:pt x="888" y="666"/>
                    </a:lnTo>
                    <a:lnTo>
                      <a:pt x="894" y="666"/>
                    </a:lnTo>
                    <a:lnTo>
                      <a:pt x="894" y="660"/>
                    </a:lnTo>
                    <a:lnTo>
                      <a:pt x="900" y="660"/>
                    </a:lnTo>
                    <a:lnTo>
                      <a:pt x="906" y="660"/>
                    </a:lnTo>
                    <a:lnTo>
                      <a:pt x="912" y="660"/>
                    </a:lnTo>
                    <a:lnTo>
                      <a:pt x="918" y="660"/>
                    </a:lnTo>
                    <a:lnTo>
                      <a:pt x="924" y="660"/>
                    </a:lnTo>
                    <a:lnTo>
                      <a:pt x="924" y="654"/>
                    </a:lnTo>
                    <a:lnTo>
                      <a:pt x="930" y="654"/>
                    </a:lnTo>
                    <a:lnTo>
                      <a:pt x="930" y="648"/>
                    </a:lnTo>
                    <a:lnTo>
                      <a:pt x="936" y="648"/>
                    </a:lnTo>
                    <a:lnTo>
                      <a:pt x="936" y="642"/>
                    </a:lnTo>
                    <a:lnTo>
                      <a:pt x="936" y="648"/>
                    </a:lnTo>
                    <a:lnTo>
                      <a:pt x="942" y="648"/>
                    </a:lnTo>
                    <a:lnTo>
                      <a:pt x="942" y="654"/>
                    </a:lnTo>
                    <a:lnTo>
                      <a:pt x="942" y="660"/>
                    </a:lnTo>
                    <a:lnTo>
                      <a:pt x="942" y="666"/>
                    </a:lnTo>
                    <a:lnTo>
                      <a:pt x="942" y="672"/>
                    </a:lnTo>
                    <a:lnTo>
                      <a:pt x="948" y="672"/>
                    </a:lnTo>
                    <a:lnTo>
                      <a:pt x="948" y="678"/>
                    </a:lnTo>
                    <a:lnTo>
                      <a:pt x="948" y="684"/>
                    </a:lnTo>
                    <a:lnTo>
                      <a:pt x="948" y="690"/>
                    </a:lnTo>
                    <a:lnTo>
                      <a:pt x="948" y="684"/>
                    </a:lnTo>
                    <a:lnTo>
                      <a:pt x="942" y="684"/>
                    </a:lnTo>
                    <a:lnTo>
                      <a:pt x="942" y="690"/>
                    </a:lnTo>
                    <a:lnTo>
                      <a:pt x="936" y="690"/>
                    </a:lnTo>
                    <a:lnTo>
                      <a:pt x="930" y="690"/>
                    </a:lnTo>
                    <a:lnTo>
                      <a:pt x="930" y="684"/>
                    </a:lnTo>
                    <a:lnTo>
                      <a:pt x="924" y="690"/>
                    </a:lnTo>
                    <a:lnTo>
                      <a:pt x="924" y="684"/>
                    </a:lnTo>
                    <a:lnTo>
                      <a:pt x="924" y="690"/>
                    </a:lnTo>
                    <a:lnTo>
                      <a:pt x="918" y="690"/>
                    </a:lnTo>
                    <a:lnTo>
                      <a:pt x="912" y="690"/>
                    </a:lnTo>
                    <a:lnTo>
                      <a:pt x="912" y="696"/>
                    </a:lnTo>
                    <a:lnTo>
                      <a:pt x="906" y="696"/>
                    </a:lnTo>
                    <a:lnTo>
                      <a:pt x="906" y="690"/>
                    </a:lnTo>
                    <a:lnTo>
                      <a:pt x="900" y="690"/>
                    </a:lnTo>
                    <a:lnTo>
                      <a:pt x="894" y="690"/>
                    </a:lnTo>
                    <a:lnTo>
                      <a:pt x="894" y="696"/>
                    </a:lnTo>
                    <a:lnTo>
                      <a:pt x="888" y="696"/>
                    </a:lnTo>
                    <a:lnTo>
                      <a:pt x="882" y="696"/>
                    </a:lnTo>
                    <a:lnTo>
                      <a:pt x="882" y="702"/>
                    </a:lnTo>
                    <a:lnTo>
                      <a:pt x="882" y="708"/>
                    </a:lnTo>
                    <a:lnTo>
                      <a:pt x="888" y="708"/>
                    </a:lnTo>
                    <a:lnTo>
                      <a:pt x="882" y="714"/>
                    </a:lnTo>
                    <a:lnTo>
                      <a:pt x="888" y="714"/>
                    </a:lnTo>
                    <a:lnTo>
                      <a:pt x="888" y="720"/>
                    </a:lnTo>
                    <a:lnTo>
                      <a:pt x="894" y="720"/>
                    </a:lnTo>
                    <a:lnTo>
                      <a:pt x="888" y="720"/>
                    </a:lnTo>
                    <a:lnTo>
                      <a:pt x="888" y="726"/>
                    </a:lnTo>
                    <a:lnTo>
                      <a:pt x="888" y="720"/>
                    </a:lnTo>
                    <a:lnTo>
                      <a:pt x="882" y="726"/>
                    </a:lnTo>
                    <a:lnTo>
                      <a:pt x="882" y="720"/>
                    </a:lnTo>
                    <a:lnTo>
                      <a:pt x="882" y="726"/>
                    </a:lnTo>
                    <a:lnTo>
                      <a:pt x="876" y="726"/>
                    </a:lnTo>
                    <a:lnTo>
                      <a:pt x="876" y="732"/>
                    </a:lnTo>
                    <a:lnTo>
                      <a:pt x="882" y="732"/>
                    </a:lnTo>
                    <a:lnTo>
                      <a:pt x="882" y="738"/>
                    </a:lnTo>
                    <a:lnTo>
                      <a:pt x="882" y="732"/>
                    </a:lnTo>
                    <a:lnTo>
                      <a:pt x="888" y="732"/>
                    </a:lnTo>
                    <a:lnTo>
                      <a:pt x="888" y="738"/>
                    </a:lnTo>
                    <a:lnTo>
                      <a:pt x="888" y="732"/>
                    </a:lnTo>
                    <a:lnTo>
                      <a:pt x="894" y="732"/>
                    </a:lnTo>
                    <a:lnTo>
                      <a:pt x="894" y="738"/>
                    </a:lnTo>
                    <a:lnTo>
                      <a:pt x="900" y="738"/>
                    </a:lnTo>
                    <a:lnTo>
                      <a:pt x="906" y="744"/>
                    </a:lnTo>
                    <a:lnTo>
                      <a:pt x="906" y="750"/>
                    </a:lnTo>
                    <a:lnTo>
                      <a:pt x="906" y="756"/>
                    </a:lnTo>
                    <a:lnTo>
                      <a:pt x="906" y="762"/>
                    </a:lnTo>
                    <a:lnTo>
                      <a:pt x="900" y="762"/>
                    </a:lnTo>
                    <a:lnTo>
                      <a:pt x="900" y="768"/>
                    </a:lnTo>
                    <a:lnTo>
                      <a:pt x="894" y="774"/>
                    </a:lnTo>
                    <a:lnTo>
                      <a:pt x="888" y="774"/>
                    </a:lnTo>
                    <a:lnTo>
                      <a:pt x="888" y="768"/>
                    </a:lnTo>
                    <a:lnTo>
                      <a:pt x="888" y="762"/>
                    </a:lnTo>
                    <a:lnTo>
                      <a:pt x="882" y="762"/>
                    </a:lnTo>
                    <a:lnTo>
                      <a:pt x="876" y="762"/>
                    </a:lnTo>
                    <a:lnTo>
                      <a:pt x="876" y="768"/>
                    </a:lnTo>
                    <a:lnTo>
                      <a:pt x="882" y="768"/>
                    </a:lnTo>
                    <a:lnTo>
                      <a:pt x="882" y="774"/>
                    </a:lnTo>
                    <a:lnTo>
                      <a:pt x="882" y="780"/>
                    </a:lnTo>
                    <a:lnTo>
                      <a:pt x="876" y="780"/>
                    </a:lnTo>
                    <a:lnTo>
                      <a:pt x="882" y="780"/>
                    </a:lnTo>
                    <a:lnTo>
                      <a:pt x="882" y="786"/>
                    </a:lnTo>
                    <a:lnTo>
                      <a:pt x="876" y="786"/>
                    </a:lnTo>
                    <a:lnTo>
                      <a:pt x="882" y="792"/>
                    </a:lnTo>
                    <a:lnTo>
                      <a:pt x="882" y="798"/>
                    </a:lnTo>
                    <a:lnTo>
                      <a:pt x="888" y="798"/>
                    </a:lnTo>
                    <a:lnTo>
                      <a:pt x="888" y="804"/>
                    </a:lnTo>
                    <a:lnTo>
                      <a:pt x="894" y="804"/>
                    </a:lnTo>
                    <a:lnTo>
                      <a:pt x="894" y="810"/>
                    </a:lnTo>
                    <a:lnTo>
                      <a:pt x="888" y="810"/>
                    </a:lnTo>
                    <a:lnTo>
                      <a:pt x="888" y="816"/>
                    </a:lnTo>
                    <a:lnTo>
                      <a:pt x="882" y="816"/>
                    </a:lnTo>
                    <a:lnTo>
                      <a:pt x="876" y="816"/>
                    </a:lnTo>
                    <a:lnTo>
                      <a:pt x="870" y="816"/>
                    </a:lnTo>
                    <a:lnTo>
                      <a:pt x="870" y="810"/>
                    </a:lnTo>
                    <a:lnTo>
                      <a:pt x="864" y="810"/>
                    </a:lnTo>
                    <a:lnTo>
                      <a:pt x="858" y="810"/>
                    </a:lnTo>
                    <a:lnTo>
                      <a:pt x="858" y="804"/>
                    </a:lnTo>
                    <a:lnTo>
                      <a:pt x="864" y="804"/>
                    </a:lnTo>
                    <a:lnTo>
                      <a:pt x="864" y="798"/>
                    </a:lnTo>
                    <a:lnTo>
                      <a:pt x="858" y="798"/>
                    </a:lnTo>
                    <a:lnTo>
                      <a:pt x="852" y="798"/>
                    </a:lnTo>
                    <a:lnTo>
                      <a:pt x="852" y="804"/>
                    </a:lnTo>
                    <a:lnTo>
                      <a:pt x="852" y="798"/>
                    </a:lnTo>
                    <a:lnTo>
                      <a:pt x="846" y="798"/>
                    </a:lnTo>
                    <a:lnTo>
                      <a:pt x="846" y="804"/>
                    </a:lnTo>
                    <a:lnTo>
                      <a:pt x="852" y="804"/>
                    </a:lnTo>
                    <a:lnTo>
                      <a:pt x="846" y="804"/>
                    </a:lnTo>
                    <a:lnTo>
                      <a:pt x="846" y="810"/>
                    </a:lnTo>
                    <a:lnTo>
                      <a:pt x="840" y="810"/>
                    </a:lnTo>
                    <a:lnTo>
                      <a:pt x="840" y="804"/>
                    </a:lnTo>
                    <a:lnTo>
                      <a:pt x="834" y="804"/>
                    </a:lnTo>
                    <a:lnTo>
                      <a:pt x="828" y="804"/>
                    </a:lnTo>
                    <a:lnTo>
                      <a:pt x="822" y="804"/>
                    </a:lnTo>
                    <a:lnTo>
                      <a:pt x="822" y="798"/>
                    </a:lnTo>
                    <a:lnTo>
                      <a:pt x="816" y="798"/>
                    </a:lnTo>
                    <a:lnTo>
                      <a:pt x="816" y="804"/>
                    </a:lnTo>
                    <a:lnTo>
                      <a:pt x="810" y="804"/>
                    </a:lnTo>
                    <a:lnTo>
                      <a:pt x="804" y="804"/>
                    </a:lnTo>
                    <a:lnTo>
                      <a:pt x="804" y="798"/>
                    </a:lnTo>
                    <a:lnTo>
                      <a:pt x="804" y="792"/>
                    </a:lnTo>
                    <a:lnTo>
                      <a:pt x="798" y="792"/>
                    </a:lnTo>
                    <a:lnTo>
                      <a:pt x="798" y="798"/>
                    </a:lnTo>
                    <a:lnTo>
                      <a:pt x="798" y="804"/>
                    </a:lnTo>
                    <a:lnTo>
                      <a:pt x="792" y="804"/>
                    </a:lnTo>
                    <a:lnTo>
                      <a:pt x="792" y="810"/>
                    </a:lnTo>
                    <a:lnTo>
                      <a:pt x="792" y="816"/>
                    </a:lnTo>
                    <a:lnTo>
                      <a:pt x="792" y="822"/>
                    </a:lnTo>
                    <a:lnTo>
                      <a:pt x="786" y="822"/>
                    </a:lnTo>
                    <a:lnTo>
                      <a:pt x="786" y="828"/>
                    </a:lnTo>
                    <a:lnTo>
                      <a:pt x="780" y="828"/>
                    </a:lnTo>
                    <a:lnTo>
                      <a:pt x="780" y="834"/>
                    </a:lnTo>
                    <a:lnTo>
                      <a:pt x="780" y="828"/>
                    </a:lnTo>
                    <a:lnTo>
                      <a:pt x="774" y="828"/>
                    </a:lnTo>
                    <a:lnTo>
                      <a:pt x="774" y="834"/>
                    </a:lnTo>
                    <a:lnTo>
                      <a:pt x="780" y="834"/>
                    </a:lnTo>
                    <a:lnTo>
                      <a:pt x="774" y="834"/>
                    </a:lnTo>
                    <a:lnTo>
                      <a:pt x="774" y="840"/>
                    </a:lnTo>
                    <a:lnTo>
                      <a:pt x="780" y="840"/>
                    </a:lnTo>
                    <a:lnTo>
                      <a:pt x="774" y="840"/>
                    </a:lnTo>
                    <a:lnTo>
                      <a:pt x="780" y="840"/>
                    </a:lnTo>
                    <a:lnTo>
                      <a:pt x="774" y="840"/>
                    </a:lnTo>
                    <a:lnTo>
                      <a:pt x="774" y="846"/>
                    </a:lnTo>
                    <a:lnTo>
                      <a:pt x="768" y="846"/>
                    </a:lnTo>
                    <a:lnTo>
                      <a:pt x="768" y="852"/>
                    </a:lnTo>
                    <a:lnTo>
                      <a:pt x="762" y="852"/>
                    </a:lnTo>
                    <a:lnTo>
                      <a:pt x="762" y="846"/>
                    </a:lnTo>
                    <a:lnTo>
                      <a:pt x="762" y="852"/>
                    </a:lnTo>
                    <a:lnTo>
                      <a:pt x="756" y="846"/>
                    </a:lnTo>
                    <a:lnTo>
                      <a:pt x="756" y="852"/>
                    </a:lnTo>
                    <a:lnTo>
                      <a:pt x="750" y="852"/>
                    </a:lnTo>
                    <a:lnTo>
                      <a:pt x="750" y="846"/>
                    </a:lnTo>
                    <a:lnTo>
                      <a:pt x="744" y="846"/>
                    </a:lnTo>
                    <a:lnTo>
                      <a:pt x="744" y="852"/>
                    </a:lnTo>
                    <a:lnTo>
                      <a:pt x="750" y="852"/>
                    </a:lnTo>
                    <a:lnTo>
                      <a:pt x="744" y="852"/>
                    </a:lnTo>
                    <a:lnTo>
                      <a:pt x="744" y="858"/>
                    </a:lnTo>
                    <a:lnTo>
                      <a:pt x="744" y="864"/>
                    </a:lnTo>
                    <a:lnTo>
                      <a:pt x="738" y="864"/>
                    </a:lnTo>
                    <a:lnTo>
                      <a:pt x="738" y="858"/>
                    </a:lnTo>
                    <a:lnTo>
                      <a:pt x="732" y="858"/>
                    </a:lnTo>
                    <a:lnTo>
                      <a:pt x="726" y="858"/>
                    </a:lnTo>
                    <a:lnTo>
                      <a:pt x="726" y="852"/>
                    </a:lnTo>
                    <a:lnTo>
                      <a:pt x="726" y="858"/>
                    </a:lnTo>
                    <a:lnTo>
                      <a:pt x="726" y="852"/>
                    </a:lnTo>
                    <a:lnTo>
                      <a:pt x="720" y="846"/>
                    </a:lnTo>
                    <a:lnTo>
                      <a:pt x="714" y="846"/>
                    </a:lnTo>
                    <a:lnTo>
                      <a:pt x="714" y="840"/>
                    </a:lnTo>
                    <a:lnTo>
                      <a:pt x="714" y="834"/>
                    </a:lnTo>
                    <a:lnTo>
                      <a:pt x="720" y="834"/>
                    </a:lnTo>
                    <a:lnTo>
                      <a:pt x="720" y="828"/>
                    </a:lnTo>
                    <a:lnTo>
                      <a:pt x="726" y="828"/>
                    </a:lnTo>
                    <a:lnTo>
                      <a:pt x="726" y="834"/>
                    </a:lnTo>
                    <a:lnTo>
                      <a:pt x="732" y="834"/>
                    </a:lnTo>
                    <a:lnTo>
                      <a:pt x="738" y="834"/>
                    </a:lnTo>
                    <a:lnTo>
                      <a:pt x="738" y="828"/>
                    </a:lnTo>
                    <a:lnTo>
                      <a:pt x="738" y="834"/>
                    </a:lnTo>
                    <a:lnTo>
                      <a:pt x="744" y="834"/>
                    </a:lnTo>
                    <a:lnTo>
                      <a:pt x="744" y="840"/>
                    </a:lnTo>
                    <a:lnTo>
                      <a:pt x="744" y="834"/>
                    </a:lnTo>
                    <a:lnTo>
                      <a:pt x="750" y="834"/>
                    </a:lnTo>
                    <a:lnTo>
                      <a:pt x="756" y="828"/>
                    </a:lnTo>
                    <a:lnTo>
                      <a:pt x="750" y="828"/>
                    </a:lnTo>
                    <a:lnTo>
                      <a:pt x="756" y="828"/>
                    </a:lnTo>
                    <a:lnTo>
                      <a:pt x="762" y="828"/>
                    </a:lnTo>
                    <a:lnTo>
                      <a:pt x="762" y="822"/>
                    </a:lnTo>
                    <a:lnTo>
                      <a:pt x="756" y="822"/>
                    </a:lnTo>
                    <a:lnTo>
                      <a:pt x="756" y="816"/>
                    </a:lnTo>
                    <a:lnTo>
                      <a:pt x="750" y="816"/>
                    </a:lnTo>
                    <a:lnTo>
                      <a:pt x="750" y="810"/>
                    </a:lnTo>
                    <a:lnTo>
                      <a:pt x="750" y="804"/>
                    </a:lnTo>
                    <a:lnTo>
                      <a:pt x="756" y="804"/>
                    </a:lnTo>
                    <a:lnTo>
                      <a:pt x="756" y="798"/>
                    </a:lnTo>
                    <a:lnTo>
                      <a:pt x="756" y="792"/>
                    </a:lnTo>
                    <a:lnTo>
                      <a:pt x="750" y="792"/>
                    </a:lnTo>
                    <a:lnTo>
                      <a:pt x="750" y="786"/>
                    </a:lnTo>
                    <a:lnTo>
                      <a:pt x="744" y="786"/>
                    </a:lnTo>
                    <a:lnTo>
                      <a:pt x="744" y="780"/>
                    </a:lnTo>
                    <a:lnTo>
                      <a:pt x="750" y="780"/>
                    </a:lnTo>
                    <a:lnTo>
                      <a:pt x="750" y="774"/>
                    </a:lnTo>
                    <a:lnTo>
                      <a:pt x="756" y="774"/>
                    </a:lnTo>
                    <a:lnTo>
                      <a:pt x="756" y="780"/>
                    </a:lnTo>
                    <a:lnTo>
                      <a:pt x="762" y="780"/>
                    </a:lnTo>
                    <a:lnTo>
                      <a:pt x="762" y="774"/>
                    </a:lnTo>
                    <a:lnTo>
                      <a:pt x="768" y="774"/>
                    </a:lnTo>
                    <a:lnTo>
                      <a:pt x="768" y="768"/>
                    </a:lnTo>
                    <a:lnTo>
                      <a:pt x="768" y="762"/>
                    </a:lnTo>
                    <a:lnTo>
                      <a:pt x="768" y="768"/>
                    </a:lnTo>
                    <a:lnTo>
                      <a:pt x="768" y="762"/>
                    </a:lnTo>
                    <a:lnTo>
                      <a:pt x="768" y="756"/>
                    </a:lnTo>
                    <a:lnTo>
                      <a:pt x="762" y="756"/>
                    </a:lnTo>
                    <a:lnTo>
                      <a:pt x="756" y="756"/>
                    </a:lnTo>
                    <a:lnTo>
                      <a:pt x="762" y="756"/>
                    </a:lnTo>
                    <a:lnTo>
                      <a:pt x="756" y="756"/>
                    </a:lnTo>
                    <a:lnTo>
                      <a:pt x="756" y="750"/>
                    </a:lnTo>
                    <a:lnTo>
                      <a:pt x="762" y="750"/>
                    </a:lnTo>
                    <a:lnTo>
                      <a:pt x="762" y="744"/>
                    </a:lnTo>
                    <a:lnTo>
                      <a:pt x="756" y="744"/>
                    </a:lnTo>
                    <a:lnTo>
                      <a:pt x="762" y="744"/>
                    </a:lnTo>
                    <a:lnTo>
                      <a:pt x="762" y="738"/>
                    </a:lnTo>
                    <a:lnTo>
                      <a:pt x="756" y="738"/>
                    </a:lnTo>
                    <a:lnTo>
                      <a:pt x="756" y="732"/>
                    </a:lnTo>
                    <a:lnTo>
                      <a:pt x="750" y="732"/>
                    </a:lnTo>
                    <a:lnTo>
                      <a:pt x="744" y="738"/>
                    </a:lnTo>
                    <a:lnTo>
                      <a:pt x="738" y="738"/>
                    </a:lnTo>
                    <a:lnTo>
                      <a:pt x="738" y="744"/>
                    </a:lnTo>
                    <a:lnTo>
                      <a:pt x="732" y="744"/>
                    </a:lnTo>
                    <a:lnTo>
                      <a:pt x="732" y="738"/>
                    </a:lnTo>
                    <a:lnTo>
                      <a:pt x="726" y="738"/>
                    </a:lnTo>
                    <a:lnTo>
                      <a:pt x="720" y="738"/>
                    </a:lnTo>
                    <a:lnTo>
                      <a:pt x="720" y="744"/>
                    </a:lnTo>
                    <a:lnTo>
                      <a:pt x="714" y="744"/>
                    </a:lnTo>
                    <a:lnTo>
                      <a:pt x="708" y="744"/>
                    </a:lnTo>
                    <a:lnTo>
                      <a:pt x="702" y="744"/>
                    </a:lnTo>
                    <a:lnTo>
                      <a:pt x="696" y="744"/>
                    </a:lnTo>
                    <a:lnTo>
                      <a:pt x="696" y="738"/>
                    </a:lnTo>
                    <a:lnTo>
                      <a:pt x="690" y="738"/>
                    </a:lnTo>
                    <a:lnTo>
                      <a:pt x="684" y="738"/>
                    </a:lnTo>
                    <a:lnTo>
                      <a:pt x="684" y="732"/>
                    </a:lnTo>
                    <a:lnTo>
                      <a:pt x="684" y="726"/>
                    </a:lnTo>
                    <a:lnTo>
                      <a:pt x="690" y="726"/>
                    </a:lnTo>
                    <a:lnTo>
                      <a:pt x="684" y="726"/>
                    </a:lnTo>
                    <a:lnTo>
                      <a:pt x="684" y="720"/>
                    </a:lnTo>
                    <a:lnTo>
                      <a:pt x="684" y="714"/>
                    </a:lnTo>
                    <a:lnTo>
                      <a:pt x="684" y="720"/>
                    </a:lnTo>
                    <a:lnTo>
                      <a:pt x="690" y="720"/>
                    </a:lnTo>
                    <a:lnTo>
                      <a:pt x="690" y="714"/>
                    </a:lnTo>
                    <a:lnTo>
                      <a:pt x="690" y="720"/>
                    </a:lnTo>
                    <a:lnTo>
                      <a:pt x="696" y="720"/>
                    </a:lnTo>
                    <a:lnTo>
                      <a:pt x="696" y="726"/>
                    </a:lnTo>
                    <a:lnTo>
                      <a:pt x="702" y="726"/>
                    </a:lnTo>
                    <a:lnTo>
                      <a:pt x="708" y="726"/>
                    </a:lnTo>
                    <a:lnTo>
                      <a:pt x="708" y="720"/>
                    </a:lnTo>
                    <a:lnTo>
                      <a:pt x="702" y="720"/>
                    </a:lnTo>
                    <a:lnTo>
                      <a:pt x="696" y="720"/>
                    </a:lnTo>
                    <a:lnTo>
                      <a:pt x="690" y="720"/>
                    </a:lnTo>
                    <a:lnTo>
                      <a:pt x="690" y="714"/>
                    </a:lnTo>
                    <a:lnTo>
                      <a:pt x="696" y="714"/>
                    </a:lnTo>
                    <a:lnTo>
                      <a:pt x="690" y="714"/>
                    </a:lnTo>
                    <a:lnTo>
                      <a:pt x="690" y="708"/>
                    </a:lnTo>
                    <a:lnTo>
                      <a:pt x="696" y="708"/>
                    </a:lnTo>
                    <a:lnTo>
                      <a:pt x="696" y="714"/>
                    </a:lnTo>
                    <a:lnTo>
                      <a:pt x="702" y="708"/>
                    </a:lnTo>
                    <a:lnTo>
                      <a:pt x="696" y="708"/>
                    </a:lnTo>
                    <a:lnTo>
                      <a:pt x="696" y="702"/>
                    </a:lnTo>
                    <a:lnTo>
                      <a:pt x="702" y="702"/>
                    </a:lnTo>
                    <a:lnTo>
                      <a:pt x="702" y="696"/>
                    </a:lnTo>
                    <a:lnTo>
                      <a:pt x="696" y="696"/>
                    </a:lnTo>
                    <a:lnTo>
                      <a:pt x="690" y="696"/>
                    </a:lnTo>
                    <a:lnTo>
                      <a:pt x="684" y="696"/>
                    </a:lnTo>
                    <a:lnTo>
                      <a:pt x="678" y="696"/>
                    </a:lnTo>
                    <a:lnTo>
                      <a:pt x="678" y="702"/>
                    </a:lnTo>
                    <a:lnTo>
                      <a:pt x="678" y="708"/>
                    </a:lnTo>
                    <a:lnTo>
                      <a:pt x="672" y="708"/>
                    </a:lnTo>
                    <a:lnTo>
                      <a:pt x="672" y="714"/>
                    </a:lnTo>
                    <a:lnTo>
                      <a:pt x="672" y="720"/>
                    </a:lnTo>
                    <a:lnTo>
                      <a:pt x="666" y="720"/>
                    </a:lnTo>
                    <a:lnTo>
                      <a:pt x="660" y="720"/>
                    </a:lnTo>
                    <a:lnTo>
                      <a:pt x="654" y="720"/>
                    </a:lnTo>
                    <a:lnTo>
                      <a:pt x="648" y="720"/>
                    </a:lnTo>
                    <a:lnTo>
                      <a:pt x="648" y="714"/>
                    </a:lnTo>
                    <a:lnTo>
                      <a:pt x="648" y="708"/>
                    </a:lnTo>
                    <a:lnTo>
                      <a:pt x="642" y="714"/>
                    </a:lnTo>
                    <a:lnTo>
                      <a:pt x="642" y="708"/>
                    </a:lnTo>
                    <a:lnTo>
                      <a:pt x="636" y="708"/>
                    </a:lnTo>
                    <a:lnTo>
                      <a:pt x="636" y="714"/>
                    </a:lnTo>
                    <a:lnTo>
                      <a:pt x="642" y="714"/>
                    </a:lnTo>
                    <a:lnTo>
                      <a:pt x="642" y="720"/>
                    </a:lnTo>
                    <a:lnTo>
                      <a:pt x="642" y="726"/>
                    </a:lnTo>
                    <a:lnTo>
                      <a:pt x="642" y="732"/>
                    </a:lnTo>
                    <a:lnTo>
                      <a:pt x="642" y="726"/>
                    </a:lnTo>
                    <a:lnTo>
                      <a:pt x="648" y="726"/>
                    </a:lnTo>
                    <a:lnTo>
                      <a:pt x="648" y="732"/>
                    </a:lnTo>
                    <a:lnTo>
                      <a:pt x="654" y="732"/>
                    </a:lnTo>
                    <a:lnTo>
                      <a:pt x="660" y="732"/>
                    </a:lnTo>
                    <a:lnTo>
                      <a:pt x="660" y="738"/>
                    </a:lnTo>
                    <a:lnTo>
                      <a:pt x="660" y="744"/>
                    </a:lnTo>
                    <a:lnTo>
                      <a:pt x="654" y="744"/>
                    </a:lnTo>
                    <a:lnTo>
                      <a:pt x="654" y="750"/>
                    </a:lnTo>
                    <a:lnTo>
                      <a:pt x="654" y="744"/>
                    </a:lnTo>
                    <a:lnTo>
                      <a:pt x="654" y="750"/>
                    </a:lnTo>
                    <a:lnTo>
                      <a:pt x="648" y="750"/>
                    </a:lnTo>
                    <a:lnTo>
                      <a:pt x="642" y="750"/>
                    </a:lnTo>
                    <a:lnTo>
                      <a:pt x="642" y="744"/>
                    </a:lnTo>
                    <a:lnTo>
                      <a:pt x="642" y="738"/>
                    </a:lnTo>
                    <a:lnTo>
                      <a:pt x="636" y="738"/>
                    </a:lnTo>
                    <a:lnTo>
                      <a:pt x="636" y="732"/>
                    </a:lnTo>
                    <a:lnTo>
                      <a:pt x="636" y="738"/>
                    </a:lnTo>
                    <a:lnTo>
                      <a:pt x="636" y="744"/>
                    </a:lnTo>
                    <a:lnTo>
                      <a:pt x="630" y="744"/>
                    </a:lnTo>
                    <a:lnTo>
                      <a:pt x="636" y="744"/>
                    </a:lnTo>
                    <a:lnTo>
                      <a:pt x="636" y="750"/>
                    </a:lnTo>
                    <a:lnTo>
                      <a:pt x="636" y="756"/>
                    </a:lnTo>
                    <a:lnTo>
                      <a:pt x="630" y="756"/>
                    </a:lnTo>
                    <a:lnTo>
                      <a:pt x="630" y="762"/>
                    </a:lnTo>
                    <a:lnTo>
                      <a:pt x="630" y="768"/>
                    </a:lnTo>
                    <a:lnTo>
                      <a:pt x="624" y="768"/>
                    </a:lnTo>
                    <a:lnTo>
                      <a:pt x="630" y="768"/>
                    </a:lnTo>
                    <a:lnTo>
                      <a:pt x="630" y="774"/>
                    </a:lnTo>
                    <a:lnTo>
                      <a:pt x="636" y="774"/>
                    </a:lnTo>
                    <a:lnTo>
                      <a:pt x="642" y="774"/>
                    </a:lnTo>
                    <a:lnTo>
                      <a:pt x="642" y="780"/>
                    </a:lnTo>
                    <a:lnTo>
                      <a:pt x="636" y="780"/>
                    </a:lnTo>
                    <a:lnTo>
                      <a:pt x="636" y="786"/>
                    </a:lnTo>
                    <a:lnTo>
                      <a:pt x="636" y="780"/>
                    </a:lnTo>
                    <a:lnTo>
                      <a:pt x="636" y="786"/>
                    </a:lnTo>
                    <a:lnTo>
                      <a:pt x="636" y="792"/>
                    </a:lnTo>
                    <a:lnTo>
                      <a:pt x="636" y="798"/>
                    </a:lnTo>
                    <a:lnTo>
                      <a:pt x="630" y="798"/>
                    </a:lnTo>
                    <a:lnTo>
                      <a:pt x="630" y="804"/>
                    </a:lnTo>
                    <a:lnTo>
                      <a:pt x="636" y="804"/>
                    </a:lnTo>
                    <a:lnTo>
                      <a:pt x="642" y="804"/>
                    </a:lnTo>
                    <a:lnTo>
                      <a:pt x="648" y="804"/>
                    </a:lnTo>
                    <a:lnTo>
                      <a:pt x="648" y="810"/>
                    </a:lnTo>
                    <a:lnTo>
                      <a:pt x="648" y="816"/>
                    </a:lnTo>
                    <a:lnTo>
                      <a:pt x="648" y="822"/>
                    </a:lnTo>
                    <a:lnTo>
                      <a:pt x="654" y="822"/>
                    </a:lnTo>
                    <a:lnTo>
                      <a:pt x="654" y="828"/>
                    </a:lnTo>
                    <a:lnTo>
                      <a:pt x="660" y="828"/>
                    </a:lnTo>
                    <a:lnTo>
                      <a:pt x="654" y="828"/>
                    </a:lnTo>
                    <a:lnTo>
                      <a:pt x="654" y="834"/>
                    </a:lnTo>
                    <a:lnTo>
                      <a:pt x="654" y="840"/>
                    </a:lnTo>
                    <a:lnTo>
                      <a:pt x="648" y="840"/>
                    </a:lnTo>
                    <a:lnTo>
                      <a:pt x="654" y="840"/>
                    </a:lnTo>
                    <a:lnTo>
                      <a:pt x="648" y="840"/>
                    </a:lnTo>
                    <a:lnTo>
                      <a:pt x="648" y="846"/>
                    </a:lnTo>
                    <a:lnTo>
                      <a:pt x="648" y="852"/>
                    </a:lnTo>
                    <a:lnTo>
                      <a:pt x="648" y="858"/>
                    </a:lnTo>
                    <a:lnTo>
                      <a:pt x="654" y="858"/>
                    </a:lnTo>
                    <a:lnTo>
                      <a:pt x="654" y="864"/>
                    </a:lnTo>
                    <a:lnTo>
                      <a:pt x="654" y="870"/>
                    </a:lnTo>
                    <a:lnTo>
                      <a:pt x="648" y="870"/>
                    </a:lnTo>
                    <a:lnTo>
                      <a:pt x="648" y="876"/>
                    </a:lnTo>
                    <a:lnTo>
                      <a:pt x="648" y="882"/>
                    </a:lnTo>
                    <a:lnTo>
                      <a:pt x="654" y="882"/>
                    </a:lnTo>
                    <a:lnTo>
                      <a:pt x="648" y="882"/>
                    </a:lnTo>
                    <a:lnTo>
                      <a:pt x="648" y="888"/>
                    </a:lnTo>
                    <a:lnTo>
                      <a:pt x="642" y="888"/>
                    </a:lnTo>
                    <a:lnTo>
                      <a:pt x="642" y="894"/>
                    </a:lnTo>
                    <a:lnTo>
                      <a:pt x="636" y="894"/>
                    </a:lnTo>
                    <a:lnTo>
                      <a:pt x="630" y="894"/>
                    </a:lnTo>
                    <a:lnTo>
                      <a:pt x="630" y="900"/>
                    </a:lnTo>
                    <a:lnTo>
                      <a:pt x="624" y="900"/>
                    </a:lnTo>
                    <a:lnTo>
                      <a:pt x="618" y="900"/>
                    </a:lnTo>
                    <a:lnTo>
                      <a:pt x="618" y="906"/>
                    </a:lnTo>
                    <a:lnTo>
                      <a:pt x="612" y="906"/>
                    </a:lnTo>
                    <a:lnTo>
                      <a:pt x="606" y="906"/>
                    </a:lnTo>
                    <a:lnTo>
                      <a:pt x="606" y="912"/>
                    </a:lnTo>
                    <a:lnTo>
                      <a:pt x="606" y="918"/>
                    </a:lnTo>
                    <a:lnTo>
                      <a:pt x="600" y="918"/>
                    </a:lnTo>
                    <a:lnTo>
                      <a:pt x="600" y="924"/>
                    </a:lnTo>
                    <a:lnTo>
                      <a:pt x="606" y="924"/>
                    </a:lnTo>
                    <a:lnTo>
                      <a:pt x="612" y="924"/>
                    </a:lnTo>
                    <a:lnTo>
                      <a:pt x="612" y="930"/>
                    </a:lnTo>
                    <a:lnTo>
                      <a:pt x="618" y="930"/>
                    </a:lnTo>
                    <a:lnTo>
                      <a:pt x="624" y="930"/>
                    </a:lnTo>
                    <a:lnTo>
                      <a:pt x="624" y="936"/>
                    </a:lnTo>
                    <a:lnTo>
                      <a:pt x="630" y="936"/>
                    </a:lnTo>
                    <a:lnTo>
                      <a:pt x="624" y="936"/>
                    </a:lnTo>
                    <a:lnTo>
                      <a:pt x="618" y="936"/>
                    </a:lnTo>
                    <a:lnTo>
                      <a:pt x="618" y="942"/>
                    </a:lnTo>
                    <a:lnTo>
                      <a:pt x="612" y="942"/>
                    </a:lnTo>
                    <a:lnTo>
                      <a:pt x="612" y="948"/>
                    </a:lnTo>
                    <a:lnTo>
                      <a:pt x="606" y="948"/>
                    </a:lnTo>
                    <a:lnTo>
                      <a:pt x="600" y="948"/>
                    </a:lnTo>
                    <a:lnTo>
                      <a:pt x="600" y="954"/>
                    </a:lnTo>
                    <a:lnTo>
                      <a:pt x="594" y="954"/>
                    </a:lnTo>
                    <a:lnTo>
                      <a:pt x="594" y="948"/>
                    </a:lnTo>
                    <a:lnTo>
                      <a:pt x="588" y="948"/>
                    </a:lnTo>
                    <a:lnTo>
                      <a:pt x="582" y="948"/>
                    </a:lnTo>
                    <a:lnTo>
                      <a:pt x="582" y="954"/>
                    </a:lnTo>
                    <a:lnTo>
                      <a:pt x="576" y="954"/>
                    </a:lnTo>
                    <a:lnTo>
                      <a:pt x="576" y="948"/>
                    </a:lnTo>
                    <a:lnTo>
                      <a:pt x="570" y="948"/>
                    </a:lnTo>
                    <a:lnTo>
                      <a:pt x="570" y="942"/>
                    </a:lnTo>
                    <a:lnTo>
                      <a:pt x="570" y="936"/>
                    </a:lnTo>
                    <a:lnTo>
                      <a:pt x="564" y="936"/>
                    </a:lnTo>
                    <a:lnTo>
                      <a:pt x="564" y="942"/>
                    </a:lnTo>
                    <a:lnTo>
                      <a:pt x="558" y="942"/>
                    </a:lnTo>
                    <a:lnTo>
                      <a:pt x="552" y="942"/>
                    </a:lnTo>
                    <a:lnTo>
                      <a:pt x="552" y="936"/>
                    </a:lnTo>
                    <a:lnTo>
                      <a:pt x="558" y="936"/>
                    </a:lnTo>
                    <a:lnTo>
                      <a:pt x="558" y="930"/>
                    </a:lnTo>
                    <a:lnTo>
                      <a:pt x="552" y="930"/>
                    </a:lnTo>
                    <a:lnTo>
                      <a:pt x="552" y="924"/>
                    </a:lnTo>
                    <a:lnTo>
                      <a:pt x="546" y="924"/>
                    </a:lnTo>
                    <a:lnTo>
                      <a:pt x="540" y="924"/>
                    </a:lnTo>
                    <a:lnTo>
                      <a:pt x="546" y="924"/>
                    </a:lnTo>
                    <a:lnTo>
                      <a:pt x="546" y="918"/>
                    </a:lnTo>
                    <a:lnTo>
                      <a:pt x="540" y="918"/>
                    </a:lnTo>
                    <a:lnTo>
                      <a:pt x="540" y="912"/>
                    </a:lnTo>
                    <a:lnTo>
                      <a:pt x="534" y="912"/>
                    </a:lnTo>
                    <a:lnTo>
                      <a:pt x="534" y="918"/>
                    </a:lnTo>
                    <a:lnTo>
                      <a:pt x="528" y="918"/>
                    </a:lnTo>
                    <a:lnTo>
                      <a:pt x="528" y="912"/>
                    </a:lnTo>
                    <a:lnTo>
                      <a:pt x="522" y="912"/>
                    </a:lnTo>
                    <a:lnTo>
                      <a:pt x="522" y="906"/>
                    </a:lnTo>
                    <a:lnTo>
                      <a:pt x="516" y="906"/>
                    </a:lnTo>
                    <a:lnTo>
                      <a:pt x="510" y="906"/>
                    </a:lnTo>
                    <a:lnTo>
                      <a:pt x="510" y="912"/>
                    </a:lnTo>
                    <a:lnTo>
                      <a:pt x="504" y="912"/>
                    </a:lnTo>
                    <a:lnTo>
                      <a:pt x="504" y="906"/>
                    </a:lnTo>
                    <a:lnTo>
                      <a:pt x="498" y="906"/>
                    </a:lnTo>
                    <a:lnTo>
                      <a:pt x="498" y="900"/>
                    </a:lnTo>
                    <a:lnTo>
                      <a:pt x="498" y="894"/>
                    </a:lnTo>
                    <a:lnTo>
                      <a:pt x="498" y="888"/>
                    </a:lnTo>
                    <a:lnTo>
                      <a:pt x="498" y="882"/>
                    </a:lnTo>
                    <a:lnTo>
                      <a:pt x="492" y="876"/>
                    </a:lnTo>
                    <a:lnTo>
                      <a:pt x="486" y="876"/>
                    </a:lnTo>
                    <a:lnTo>
                      <a:pt x="486" y="882"/>
                    </a:lnTo>
                    <a:lnTo>
                      <a:pt x="480" y="882"/>
                    </a:lnTo>
                    <a:lnTo>
                      <a:pt x="480" y="876"/>
                    </a:lnTo>
                    <a:lnTo>
                      <a:pt x="480" y="870"/>
                    </a:lnTo>
                    <a:lnTo>
                      <a:pt x="474" y="870"/>
                    </a:lnTo>
                    <a:lnTo>
                      <a:pt x="474" y="864"/>
                    </a:lnTo>
                    <a:lnTo>
                      <a:pt x="468" y="864"/>
                    </a:lnTo>
                    <a:lnTo>
                      <a:pt x="462" y="864"/>
                    </a:lnTo>
                    <a:lnTo>
                      <a:pt x="462" y="858"/>
                    </a:lnTo>
                    <a:lnTo>
                      <a:pt x="462" y="852"/>
                    </a:lnTo>
                    <a:lnTo>
                      <a:pt x="462" y="846"/>
                    </a:lnTo>
                    <a:lnTo>
                      <a:pt x="468" y="846"/>
                    </a:lnTo>
                    <a:lnTo>
                      <a:pt x="468" y="840"/>
                    </a:lnTo>
                    <a:lnTo>
                      <a:pt x="474" y="840"/>
                    </a:lnTo>
                    <a:lnTo>
                      <a:pt x="468" y="840"/>
                    </a:lnTo>
                    <a:lnTo>
                      <a:pt x="468" y="834"/>
                    </a:lnTo>
                    <a:lnTo>
                      <a:pt x="468" y="828"/>
                    </a:lnTo>
                    <a:lnTo>
                      <a:pt x="468" y="822"/>
                    </a:lnTo>
                    <a:lnTo>
                      <a:pt x="462" y="822"/>
                    </a:lnTo>
                    <a:lnTo>
                      <a:pt x="462" y="816"/>
                    </a:lnTo>
                    <a:lnTo>
                      <a:pt x="462" y="822"/>
                    </a:lnTo>
                    <a:lnTo>
                      <a:pt x="456" y="822"/>
                    </a:lnTo>
                    <a:lnTo>
                      <a:pt x="456" y="828"/>
                    </a:lnTo>
                    <a:lnTo>
                      <a:pt x="456" y="834"/>
                    </a:lnTo>
                    <a:lnTo>
                      <a:pt x="450" y="834"/>
                    </a:lnTo>
                    <a:lnTo>
                      <a:pt x="450" y="828"/>
                    </a:lnTo>
                    <a:lnTo>
                      <a:pt x="444" y="828"/>
                    </a:lnTo>
                    <a:lnTo>
                      <a:pt x="444" y="822"/>
                    </a:lnTo>
                    <a:lnTo>
                      <a:pt x="438" y="822"/>
                    </a:lnTo>
                    <a:lnTo>
                      <a:pt x="438" y="816"/>
                    </a:lnTo>
                    <a:lnTo>
                      <a:pt x="432" y="816"/>
                    </a:lnTo>
                    <a:lnTo>
                      <a:pt x="432" y="810"/>
                    </a:lnTo>
                    <a:lnTo>
                      <a:pt x="426" y="810"/>
                    </a:lnTo>
                    <a:lnTo>
                      <a:pt x="426" y="804"/>
                    </a:lnTo>
                    <a:lnTo>
                      <a:pt x="432" y="804"/>
                    </a:lnTo>
                    <a:lnTo>
                      <a:pt x="432" y="798"/>
                    </a:lnTo>
                    <a:lnTo>
                      <a:pt x="438" y="798"/>
                    </a:lnTo>
                    <a:lnTo>
                      <a:pt x="438" y="792"/>
                    </a:lnTo>
                    <a:lnTo>
                      <a:pt x="444" y="792"/>
                    </a:lnTo>
                    <a:lnTo>
                      <a:pt x="444" y="786"/>
                    </a:lnTo>
                    <a:lnTo>
                      <a:pt x="444" y="792"/>
                    </a:lnTo>
                    <a:lnTo>
                      <a:pt x="444" y="786"/>
                    </a:lnTo>
                    <a:lnTo>
                      <a:pt x="438" y="786"/>
                    </a:lnTo>
                    <a:lnTo>
                      <a:pt x="432" y="786"/>
                    </a:lnTo>
                    <a:lnTo>
                      <a:pt x="432" y="780"/>
                    </a:lnTo>
                    <a:lnTo>
                      <a:pt x="432" y="774"/>
                    </a:lnTo>
                    <a:lnTo>
                      <a:pt x="432" y="768"/>
                    </a:lnTo>
                    <a:lnTo>
                      <a:pt x="426" y="768"/>
                    </a:lnTo>
                    <a:lnTo>
                      <a:pt x="426" y="774"/>
                    </a:lnTo>
                    <a:lnTo>
                      <a:pt x="420" y="774"/>
                    </a:lnTo>
                    <a:lnTo>
                      <a:pt x="420" y="768"/>
                    </a:lnTo>
                    <a:lnTo>
                      <a:pt x="420" y="774"/>
                    </a:lnTo>
                    <a:lnTo>
                      <a:pt x="414" y="780"/>
                    </a:lnTo>
                    <a:lnTo>
                      <a:pt x="420" y="780"/>
                    </a:lnTo>
                    <a:lnTo>
                      <a:pt x="420" y="786"/>
                    </a:lnTo>
                    <a:lnTo>
                      <a:pt x="414" y="786"/>
                    </a:lnTo>
                    <a:lnTo>
                      <a:pt x="408" y="786"/>
                    </a:lnTo>
                    <a:lnTo>
                      <a:pt x="402" y="786"/>
                    </a:lnTo>
                    <a:lnTo>
                      <a:pt x="396" y="786"/>
                    </a:lnTo>
                    <a:lnTo>
                      <a:pt x="390" y="786"/>
                    </a:lnTo>
                    <a:lnTo>
                      <a:pt x="384" y="780"/>
                    </a:lnTo>
                    <a:lnTo>
                      <a:pt x="384" y="774"/>
                    </a:lnTo>
                    <a:lnTo>
                      <a:pt x="378" y="774"/>
                    </a:lnTo>
                    <a:lnTo>
                      <a:pt x="372" y="774"/>
                    </a:lnTo>
                    <a:lnTo>
                      <a:pt x="372" y="768"/>
                    </a:lnTo>
                    <a:lnTo>
                      <a:pt x="366" y="768"/>
                    </a:lnTo>
                    <a:lnTo>
                      <a:pt x="360" y="768"/>
                    </a:lnTo>
                    <a:lnTo>
                      <a:pt x="360" y="774"/>
                    </a:lnTo>
                    <a:lnTo>
                      <a:pt x="360" y="780"/>
                    </a:lnTo>
                    <a:lnTo>
                      <a:pt x="354" y="780"/>
                    </a:lnTo>
                    <a:lnTo>
                      <a:pt x="354" y="774"/>
                    </a:lnTo>
                    <a:lnTo>
                      <a:pt x="354" y="768"/>
                    </a:lnTo>
                    <a:lnTo>
                      <a:pt x="354" y="762"/>
                    </a:lnTo>
                    <a:lnTo>
                      <a:pt x="354" y="768"/>
                    </a:lnTo>
                    <a:lnTo>
                      <a:pt x="354" y="762"/>
                    </a:lnTo>
                    <a:lnTo>
                      <a:pt x="348" y="768"/>
                    </a:lnTo>
                    <a:lnTo>
                      <a:pt x="348" y="762"/>
                    </a:lnTo>
                    <a:lnTo>
                      <a:pt x="342" y="762"/>
                    </a:lnTo>
                    <a:lnTo>
                      <a:pt x="342" y="756"/>
                    </a:lnTo>
                    <a:lnTo>
                      <a:pt x="342" y="762"/>
                    </a:lnTo>
                    <a:lnTo>
                      <a:pt x="336" y="762"/>
                    </a:lnTo>
                    <a:lnTo>
                      <a:pt x="330" y="762"/>
                    </a:lnTo>
                    <a:lnTo>
                      <a:pt x="330" y="756"/>
                    </a:lnTo>
                    <a:lnTo>
                      <a:pt x="336" y="756"/>
                    </a:lnTo>
                    <a:lnTo>
                      <a:pt x="342" y="756"/>
                    </a:lnTo>
                    <a:lnTo>
                      <a:pt x="342" y="750"/>
                    </a:lnTo>
                    <a:lnTo>
                      <a:pt x="336" y="750"/>
                    </a:lnTo>
                    <a:lnTo>
                      <a:pt x="330" y="750"/>
                    </a:lnTo>
                    <a:lnTo>
                      <a:pt x="324" y="750"/>
                    </a:lnTo>
                    <a:lnTo>
                      <a:pt x="318" y="750"/>
                    </a:lnTo>
                    <a:lnTo>
                      <a:pt x="312" y="750"/>
                    </a:lnTo>
                    <a:lnTo>
                      <a:pt x="312" y="744"/>
                    </a:lnTo>
                    <a:lnTo>
                      <a:pt x="312" y="738"/>
                    </a:lnTo>
                    <a:lnTo>
                      <a:pt x="306" y="738"/>
                    </a:lnTo>
                    <a:lnTo>
                      <a:pt x="306" y="744"/>
                    </a:lnTo>
                    <a:lnTo>
                      <a:pt x="300" y="744"/>
                    </a:lnTo>
                    <a:lnTo>
                      <a:pt x="294" y="744"/>
                    </a:lnTo>
                    <a:lnTo>
                      <a:pt x="288" y="744"/>
                    </a:lnTo>
                    <a:lnTo>
                      <a:pt x="282" y="744"/>
                    </a:lnTo>
                    <a:lnTo>
                      <a:pt x="276" y="744"/>
                    </a:lnTo>
                    <a:lnTo>
                      <a:pt x="270" y="744"/>
                    </a:lnTo>
                    <a:lnTo>
                      <a:pt x="270" y="750"/>
                    </a:lnTo>
                    <a:lnTo>
                      <a:pt x="264" y="750"/>
                    </a:lnTo>
                    <a:lnTo>
                      <a:pt x="258" y="750"/>
                    </a:lnTo>
                    <a:lnTo>
                      <a:pt x="258" y="744"/>
                    </a:lnTo>
                    <a:lnTo>
                      <a:pt x="252" y="744"/>
                    </a:lnTo>
                    <a:lnTo>
                      <a:pt x="246" y="744"/>
                    </a:lnTo>
                    <a:lnTo>
                      <a:pt x="240" y="744"/>
                    </a:lnTo>
                    <a:lnTo>
                      <a:pt x="234" y="744"/>
                    </a:lnTo>
                    <a:lnTo>
                      <a:pt x="228" y="744"/>
                    </a:lnTo>
                    <a:lnTo>
                      <a:pt x="228" y="750"/>
                    </a:lnTo>
                    <a:lnTo>
                      <a:pt x="222" y="750"/>
                    </a:lnTo>
                    <a:lnTo>
                      <a:pt x="222" y="744"/>
                    </a:lnTo>
                    <a:lnTo>
                      <a:pt x="216" y="744"/>
                    </a:lnTo>
                    <a:lnTo>
                      <a:pt x="216" y="750"/>
                    </a:lnTo>
                    <a:lnTo>
                      <a:pt x="210" y="750"/>
                    </a:lnTo>
                    <a:lnTo>
                      <a:pt x="204" y="750"/>
                    </a:lnTo>
                    <a:lnTo>
                      <a:pt x="198" y="750"/>
                    </a:lnTo>
                    <a:lnTo>
                      <a:pt x="198" y="744"/>
                    </a:lnTo>
                    <a:lnTo>
                      <a:pt x="204" y="744"/>
                    </a:lnTo>
                    <a:lnTo>
                      <a:pt x="198" y="744"/>
                    </a:lnTo>
                    <a:lnTo>
                      <a:pt x="192" y="744"/>
                    </a:lnTo>
                    <a:lnTo>
                      <a:pt x="192" y="738"/>
                    </a:lnTo>
                    <a:lnTo>
                      <a:pt x="186" y="738"/>
                    </a:lnTo>
                    <a:lnTo>
                      <a:pt x="186" y="732"/>
                    </a:lnTo>
                    <a:lnTo>
                      <a:pt x="186" y="726"/>
                    </a:lnTo>
                    <a:lnTo>
                      <a:pt x="180" y="720"/>
                    </a:lnTo>
                    <a:lnTo>
                      <a:pt x="180" y="714"/>
                    </a:lnTo>
                    <a:lnTo>
                      <a:pt x="174" y="714"/>
                    </a:lnTo>
                    <a:lnTo>
                      <a:pt x="174" y="708"/>
                    </a:lnTo>
                    <a:lnTo>
                      <a:pt x="174" y="702"/>
                    </a:lnTo>
                    <a:lnTo>
                      <a:pt x="174" y="696"/>
                    </a:lnTo>
                    <a:lnTo>
                      <a:pt x="168" y="696"/>
                    </a:lnTo>
                    <a:lnTo>
                      <a:pt x="168" y="690"/>
                    </a:lnTo>
                    <a:lnTo>
                      <a:pt x="168" y="684"/>
                    </a:lnTo>
                    <a:lnTo>
                      <a:pt x="168" y="678"/>
                    </a:lnTo>
                    <a:lnTo>
                      <a:pt x="162" y="678"/>
                    </a:lnTo>
                    <a:lnTo>
                      <a:pt x="162" y="672"/>
                    </a:lnTo>
                    <a:lnTo>
                      <a:pt x="156" y="672"/>
                    </a:lnTo>
                    <a:lnTo>
                      <a:pt x="156" y="666"/>
                    </a:lnTo>
                    <a:lnTo>
                      <a:pt x="150" y="666"/>
                    </a:lnTo>
                    <a:lnTo>
                      <a:pt x="150" y="660"/>
                    </a:lnTo>
                    <a:lnTo>
                      <a:pt x="150" y="654"/>
                    </a:lnTo>
                    <a:lnTo>
                      <a:pt x="144" y="654"/>
                    </a:lnTo>
                    <a:lnTo>
                      <a:pt x="144" y="648"/>
                    </a:lnTo>
                    <a:lnTo>
                      <a:pt x="144" y="642"/>
                    </a:lnTo>
                    <a:lnTo>
                      <a:pt x="144" y="636"/>
                    </a:lnTo>
                    <a:lnTo>
                      <a:pt x="144" y="630"/>
                    </a:lnTo>
                    <a:lnTo>
                      <a:pt x="144" y="624"/>
                    </a:lnTo>
                    <a:lnTo>
                      <a:pt x="144" y="618"/>
                    </a:lnTo>
                    <a:lnTo>
                      <a:pt x="144" y="612"/>
                    </a:lnTo>
                    <a:lnTo>
                      <a:pt x="144" y="606"/>
                    </a:lnTo>
                    <a:lnTo>
                      <a:pt x="138" y="606"/>
                    </a:lnTo>
                    <a:lnTo>
                      <a:pt x="132" y="606"/>
                    </a:lnTo>
                    <a:lnTo>
                      <a:pt x="132" y="612"/>
                    </a:lnTo>
                    <a:lnTo>
                      <a:pt x="126" y="612"/>
                    </a:lnTo>
                    <a:lnTo>
                      <a:pt x="120" y="612"/>
                    </a:lnTo>
                    <a:lnTo>
                      <a:pt x="114" y="612"/>
                    </a:lnTo>
                    <a:lnTo>
                      <a:pt x="108" y="612"/>
                    </a:lnTo>
                    <a:lnTo>
                      <a:pt x="102" y="612"/>
                    </a:lnTo>
                    <a:lnTo>
                      <a:pt x="96" y="606"/>
                    </a:lnTo>
                    <a:lnTo>
                      <a:pt x="90" y="600"/>
                    </a:lnTo>
                    <a:lnTo>
                      <a:pt x="90" y="594"/>
                    </a:lnTo>
                    <a:lnTo>
                      <a:pt x="84" y="594"/>
                    </a:lnTo>
                    <a:lnTo>
                      <a:pt x="84" y="588"/>
                    </a:lnTo>
                    <a:lnTo>
                      <a:pt x="78" y="588"/>
                    </a:lnTo>
                    <a:lnTo>
                      <a:pt x="78" y="582"/>
                    </a:lnTo>
                    <a:lnTo>
                      <a:pt x="72" y="582"/>
                    </a:lnTo>
                    <a:lnTo>
                      <a:pt x="72" y="576"/>
                    </a:lnTo>
                    <a:lnTo>
                      <a:pt x="72" y="570"/>
                    </a:lnTo>
                    <a:lnTo>
                      <a:pt x="72" y="564"/>
                    </a:lnTo>
                    <a:lnTo>
                      <a:pt x="72" y="558"/>
                    </a:lnTo>
                    <a:lnTo>
                      <a:pt x="72" y="552"/>
                    </a:lnTo>
                    <a:lnTo>
                      <a:pt x="78" y="552"/>
                    </a:lnTo>
                    <a:lnTo>
                      <a:pt x="78" y="546"/>
                    </a:lnTo>
                    <a:lnTo>
                      <a:pt x="78" y="540"/>
                    </a:lnTo>
                    <a:lnTo>
                      <a:pt x="84" y="540"/>
                    </a:lnTo>
                    <a:lnTo>
                      <a:pt x="84" y="534"/>
                    </a:lnTo>
                    <a:lnTo>
                      <a:pt x="84" y="528"/>
                    </a:lnTo>
                    <a:lnTo>
                      <a:pt x="84" y="522"/>
                    </a:lnTo>
                    <a:lnTo>
                      <a:pt x="84" y="504"/>
                    </a:lnTo>
                    <a:lnTo>
                      <a:pt x="84" y="498"/>
                    </a:lnTo>
                    <a:lnTo>
                      <a:pt x="84" y="492"/>
                    </a:lnTo>
                    <a:lnTo>
                      <a:pt x="78" y="492"/>
                    </a:lnTo>
                    <a:lnTo>
                      <a:pt x="72" y="492"/>
                    </a:lnTo>
                    <a:lnTo>
                      <a:pt x="72" y="486"/>
                    </a:lnTo>
                    <a:lnTo>
                      <a:pt x="66" y="492"/>
                    </a:lnTo>
                    <a:lnTo>
                      <a:pt x="60" y="492"/>
                    </a:lnTo>
                    <a:lnTo>
                      <a:pt x="48" y="492"/>
                    </a:lnTo>
                    <a:lnTo>
                      <a:pt x="42" y="492"/>
                    </a:lnTo>
                    <a:lnTo>
                      <a:pt x="36" y="486"/>
                    </a:lnTo>
                    <a:lnTo>
                      <a:pt x="30" y="480"/>
                    </a:lnTo>
                    <a:lnTo>
                      <a:pt x="24" y="480"/>
                    </a:lnTo>
                    <a:lnTo>
                      <a:pt x="18" y="474"/>
                    </a:lnTo>
                    <a:lnTo>
                      <a:pt x="12" y="474"/>
                    </a:lnTo>
                    <a:lnTo>
                      <a:pt x="6" y="474"/>
                    </a:lnTo>
                    <a:lnTo>
                      <a:pt x="6" y="468"/>
                    </a:lnTo>
                    <a:lnTo>
                      <a:pt x="0" y="468"/>
                    </a:lnTo>
                    <a:lnTo>
                      <a:pt x="0" y="462"/>
                    </a:lnTo>
                    <a:lnTo>
                      <a:pt x="0" y="456"/>
                    </a:lnTo>
                    <a:lnTo>
                      <a:pt x="0" y="450"/>
                    </a:lnTo>
                    <a:lnTo>
                      <a:pt x="6" y="438"/>
                    </a:lnTo>
                    <a:lnTo>
                      <a:pt x="6" y="432"/>
                    </a:lnTo>
                    <a:lnTo>
                      <a:pt x="6" y="420"/>
                    </a:lnTo>
                    <a:lnTo>
                      <a:pt x="12" y="414"/>
                    </a:lnTo>
                    <a:lnTo>
                      <a:pt x="12" y="408"/>
                    </a:lnTo>
                    <a:lnTo>
                      <a:pt x="18" y="402"/>
                    </a:lnTo>
                    <a:lnTo>
                      <a:pt x="30" y="396"/>
                    </a:lnTo>
                    <a:lnTo>
                      <a:pt x="42" y="384"/>
                    </a:lnTo>
                    <a:lnTo>
                      <a:pt x="48" y="378"/>
                    </a:lnTo>
                    <a:lnTo>
                      <a:pt x="54" y="372"/>
                    </a:lnTo>
                    <a:lnTo>
                      <a:pt x="54" y="366"/>
                    </a:lnTo>
                    <a:lnTo>
                      <a:pt x="60" y="366"/>
                    </a:lnTo>
                    <a:lnTo>
                      <a:pt x="66" y="360"/>
                    </a:lnTo>
                    <a:lnTo>
                      <a:pt x="66" y="354"/>
                    </a:lnTo>
                    <a:lnTo>
                      <a:pt x="72" y="348"/>
                    </a:lnTo>
                    <a:lnTo>
                      <a:pt x="72" y="342"/>
                    </a:lnTo>
                    <a:lnTo>
                      <a:pt x="78" y="330"/>
                    </a:lnTo>
                    <a:lnTo>
                      <a:pt x="84" y="324"/>
                    </a:lnTo>
                    <a:lnTo>
                      <a:pt x="84" y="318"/>
                    </a:lnTo>
                    <a:lnTo>
                      <a:pt x="90" y="312"/>
                    </a:lnTo>
                    <a:lnTo>
                      <a:pt x="96" y="312"/>
                    </a:lnTo>
                    <a:lnTo>
                      <a:pt x="102" y="306"/>
                    </a:lnTo>
                    <a:lnTo>
                      <a:pt x="108" y="300"/>
                    </a:lnTo>
                    <a:lnTo>
                      <a:pt x="114" y="300"/>
                    </a:lnTo>
                    <a:lnTo>
                      <a:pt x="120" y="300"/>
                    </a:lnTo>
                    <a:lnTo>
                      <a:pt x="120" y="294"/>
                    </a:lnTo>
                    <a:lnTo>
                      <a:pt x="126" y="294"/>
                    </a:lnTo>
                    <a:lnTo>
                      <a:pt x="126" y="300"/>
                    </a:lnTo>
                    <a:lnTo>
                      <a:pt x="132" y="300"/>
                    </a:lnTo>
                    <a:lnTo>
                      <a:pt x="138" y="306"/>
                    </a:lnTo>
                    <a:lnTo>
                      <a:pt x="144" y="312"/>
                    </a:lnTo>
                    <a:lnTo>
                      <a:pt x="144" y="318"/>
                    </a:lnTo>
                    <a:lnTo>
                      <a:pt x="144" y="324"/>
                    </a:lnTo>
                    <a:lnTo>
                      <a:pt x="144" y="330"/>
                    </a:lnTo>
                    <a:lnTo>
                      <a:pt x="150" y="330"/>
                    </a:lnTo>
                    <a:lnTo>
                      <a:pt x="150" y="336"/>
                    </a:lnTo>
                    <a:lnTo>
                      <a:pt x="156" y="342"/>
                    </a:lnTo>
                    <a:lnTo>
                      <a:pt x="162" y="342"/>
                    </a:lnTo>
                    <a:lnTo>
                      <a:pt x="168" y="342"/>
                    </a:lnTo>
                    <a:lnTo>
                      <a:pt x="174" y="342"/>
                    </a:lnTo>
                    <a:lnTo>
                      <a:pt x="174" y="336"/>
                    </a:lnTo>
                    <a:lnTo>
                      <a:pt x="180" y="336"/>
                    </a:lnTo>
                    <a:lnTo>
                      <a:pt x="186" y="336"/>
                    </a:lnTo>
                    <a:lnTo>
                      <a:pt x="186" y="330"/>
                    </a:lnTo>
                    <a:lnTo>
                      <a:pt x="192" y="330"/>
                    </a:lnTo>
                    <a:lnTo>
                      <a:pt x="198" y="324"/>
                    </a:lnTo>
                    <a:lnTo>
                      <a:pt x="204" y="324"/>
                    </a:lnTo>
                    <a:lnTo>
                      <a:pt x="210" y="324"/>
                    </a:lnTo>
                    <a:lnTo>
                      <a:pt x="216" y="324"/>
                    </a:lnTo>
                    <a:lnTo>
                      <a:pt x="222" y="318"/>
                    </a:lnTo>
                    <a:lnTo>
                      <a:pt x="228" y="318"/>
                    </a:lnTo>
                    <a:lnTo>
                      <a:pt x="234" y="318"/>
                    </a:lnTo>
                    <a:lnTo>
                      <a:pt x="240" y="318"/>
                    </a:lnTo>
                    <a:lnTo>
                      <a:pt x="246" y="318"/>
                    </a:lnTo>
                    <a:lnTo>
                      <a:pt x="252" y="318"/>
                    </a:lnTo>
                    <a:lnTo>
                      <a:pt x="258" y="318"/>
                    </a:lnTo>
                    <a:lnTo>
                      <a:pt x="264" y="318"/>
                    </a:lnTo>
                    <a:lnTo>
                      <a:pt x="270" y="318"/>
                    </a:lnTo>
                    <a:lnTo>
                      <a:pt x="270" y="312"/>
                    </a:lnTo>
                    <a:lnTo>
                      <a:pt x="276" y="312"/>
                    </a:lnTo>
                    <a:lnTo>
                      <a:pt x="282" y="312"/>
                    </a:lnTo>
                    <a:lnTo>
                      <a:pt x="288" y="306"/>
                    </a:lnTo>
                    <a:lnTo>
                      <a:pt x="288" y="300"/>
                    </a:lnTo>
                    <a:lnTo>
                      <a:pt x="294" y="288"/>
                    </a:lnTo>
                    <a:lnTo>
                      <a:pt x="300" y="276"/>
                    </a:lnTo>
                    <a:lnTo>
                      <a:pt x="306" y="270"/>
                    </a:lnTo>
                    <a:lnTo>
                      <a:pt x="312" y="270"/>
                    </a:lnTo>
                    <a:lnTo>
                      <a:pt x="318" y="264"/>
                    </a:lnTo>
                    <a:lnTo>
                      <a:pt x="318" y="258"/>
                    </a:lnTo>
                    <a:lnTo>
                      <a:pt x="324" y="252"/>
                    </a:lnTo>
                    <a:lnTo>
                      <a:pt x="324" y="246"/>
                    </a:lnTo>
                    <a:lnTo>
                      <a:pt x="330" y="246"/>
                    </a:lnTo>
                    <a:lnTo>
                      <a:pt x="330" y="240"/>
                    </a:lnTo>
                    <a:lnTo>
                      <a:pt x="330" y="234"/>
                    </a:lnTo>
                    <a:lnTo>
                      <a:pt x="330" y="228"/>
                    </a:lnTo>
                    <a:lnTo>
                      <a:pt x="336" y="222"/>
                    </a:lnTo>
                    <a:lnTo>
                      <a:pt x="336" y="216"/>
                    </a:lnTo>
                    <a:lnTo>
                      <a:pt x="336" y="210"/>
                    </a:lnTo>
                    <a:lnTo>
                      <a:pt x="342" y="204"/>
                    </a:lnTo>
                    <a:lnTo>
                      <a:pt x="348" y="198"/>
                    </a:lnTo>
                    <a:lnTo>
                      <a:pt x="354" y="192"/>
                    </a:lnTo>
                    <a:lnTo>
                      <a:pt x="360" y="192"/>
                    </a:lnTo>
                    <a:lnTo>
                      <a:pt x="366" y="186"/>
                    </a:lnTo>
                    <a:lnTo>
                      <a:pt x="372" y="180"/>
                    </a:lnTo>
                    <a:lnTo>
                      <a:pt x="378" y="180"/>
                    </a:lnTo>
                    <a:lnTo>
                      <a:pt x="384" y="174"/>
                    </a:lnTo>
                    <a:lnTo>
                      <a:pt x="390" y="174"/>
                    </a:lnTo>
                    <a:lnTo>
                      <a:pt x="402" y="168"/>
                    </a:lnTo>
                    <a:lnTo>
                      <a:pt x="414" y="162"/>
                    </a:lnTo>
                    <a:lnTo>
                      <a:pt x="414" y="156"/>
                    </a:lnTo>
                    <a:lnTo>
                      <a:pt x="420" y="150"/>
                    </a:lnTo>
                    <a:lnTo>
                      <a:pt x="420" y="144"/>
                    </a:lnTo>
                    <a:lnTo>
                      <a:pt x="426" y="144"/>
                    </a:lnTo>
                    <a:lnTo>
                      <a:pt x="426" y="138"/>
                    </a:lnTo>
                    <a:lnTo>
                      <a:pt x="432" y="138"/>
                    </a:lnTo>
                    <a:lnTo>
                      <a:pt x="432" y="132"/>
                    </a:lnTo>
                    <a:lnTo>
                      <a:pt x="432" y="126"/>
                    </a:lnTo>
                    <a:lnTo>
                      <a:pt x="438" y="126"/>
                    </a:lnTo>
                    <a:lnTo>
                      <a:pt x="438" y="120"/>
                    </a:lnTo>
                    <a:lnTo>
                      <a:pt x="438" y="114"/>
                    </a:lnTo>
                    <a:lnTo>
                      <a:pt x="444" y="114"/>
                    </a:lnTo>
                    <a:lnTo>
                      <a:pt x="444" y="108"/>
                    </a:lnTo>
                    <a:lnTo>
                      <a:pt x="444" y="102"/>
                    </a:lnTo>
                    <a:lnTo>
                      <a:pt x="450" y="96"/>
                    </a:lnTo>
                    <a:lnTo>
                      <a:pt x="456" y="90"/>
                    </a:lnTo>
                    <a:lnTo>
                      <a:pt x="456" y="84"/>
                    </a:lnTo>
                    <a:lnTo>
                      <a:pt x="456" y="78"/>
                    </a:lnTo>
                    <a:lnTo>
                      <a:pt x="456" y="72"/>
                    </a:lnTo>
                    <a:lnTo>
                      <a:pt x="462" y="72"/>
                    </a:lnTo>
                    <a:lnTo>
                      <a:pt x="462" y="66"/>
                    </a:lnTo>
                    <a:lnTo>
                      <a:pt x="462" y="54"/>
                    </a:lnTo>
                    <a:lnTo>
                      <a:pt x="468" y="42"/>
                    </a:lnTo>
                    <a:lnTo>
                      <a:pt x="468" y="36"/>
                    </a:lnTo>
                    <a:lnTo>
                      <a:pt x="474" y="30"/>
                    </a:lnTo>
                    <a:lnTo>
                      <a:pt x="480" y="30"/>
                    </a:lnTo>
                    <a:lnTo>
                      <a:pt x="486" y="30"/>
                    </a:lnTo>
                    <a:lnTo>
                      <a:pt x="492" y="24"/>
                    </a:lnTo>
                    <a:lnTo>
                      <a:pt x="498" y="24"/>
                    </a:lnTo>
                    <a:lnTo>
                      <a:pt x="504" y="24"/>
                    </a:lnTo>
                    <a:lnTo>
                      <a:pt x="510" y="24"/>
                    </a:lnTo>
                    <a:lnTo>
                      <a:pt x="510" y="18"/>
                    </a:lnTo>
                    <a:lnTo>
                      <a:pt x="516" y="18"/>
                    </a:lnTo>
                    <a:lnTo>
                      <a:pt x="522" y="18"/>
                    </a:lnTo>
                    <a:lnTo>
                      <a:pt x="528" y="12"/>
                    </a:lnTo>
                    <a:lnTo>
                      <a:pt x="528" y="6"/>
                    </a:lnTo>
                    <a:lnTo>
                      <a:pt x="534" y="6"/>
                    </a:lnTo>
                    <a:lnTo>
                      <a:pt x="534" y="0"/>
                    </a:lnTo>
                    <a:lnTo>
                      <a:pt x="540" y="0"/>
                    </a:lnTo>
                    <a:lnTo>
                      <a:pt x="534" y="0"/>
                    </a:lnTo>
                    <a:lnTo>
                      <a:pt x="534" y="6"/>
                    </a:lnTo>
                    <a:lnTo>
                      <a:pt x="534" y="12"/>
                    </a:lnTo>
                    <a:lnTo>
                      <a:pt x="534" y="18"/>
                    </a:lnTo>
                    <a:lnTo>
                      <a:pt x="528" y="18"/>
                    </a:lnTo>
                    <a:lnTo>
                      <a:pt x="528" y="24"/>
                    </a:lnTo>
                    <a:lnTo>
                      <a:pt x="528" y="30"/>
                    </a:lnTo>
                    <a:lnTo>
                      <a:pt x="534" y="30"/>
                    </a:lnTo>
                    <a:lnTo>
                      <a:pt x="540" y="30"/>
                    </a:lnTo>
                    <a:lnTo>
                      <a:pt x="546" y="30"/>
                    </a:lnTo>
                    <a:lnTo>
                      <a:pt x="552" y="30"/>
                    </a:lnTo>
                    <a:lnTo>
                      <a:pt x="552" y="36"/>
                    </a:lnTo>
                    <a:lnTo>
                      <a:pt x="558" y="36"/>
                    </a:lnTo>
                    <a:lnTo>
                      <a:pt x="564" y="36"/>
                    </a:lnTo>
                    <a:lnTo>
                      <a:pt x="570" y="36"/>
                    </a:lnTo>
                    <a:lnTo>
                      <a:pt x="576" y="36"/>
                    </a:lnTo>
                    <a:lnTo>
                      <a:pt x="582" y="36"/>
                    </a:lnTo>
                    <a:lnTo>
                      <a:pt x="588" y="36"/>
                    </a:lnTo>
                    <a:lnTo>
                      <a:pt x="594" y="36"/>
                    </a:lnTo>
                    <a:lnTo>
                      <a:pt x="600" y="36"/>
                    </a:lnTo>
                    <a:lnTo>
                      <a:pt x="600" y="42"/>
                    </a:lnTo>
                    <a:lnTo>
                      <a:pt x="606" y="42"/>
                    </a:lnTo>
                    <a:lnTo>
                      <a:pt x="606" y="48"/>
                    </a:lnTo>
                    <a:lnTo>
                      <a:pt x="600" y="48"/>
                    </a:lnTo>
                    <a:lnTo>
                      <a:pt x="600" y="54"/>
                    </a:lnTo>
                    <a:lnTo>
                      <a:pt x="594" y="54"/>
                    </a:lnTo>
                    <a:lnTo>
                      <a:pt x="594" y="60"/>
                    </a:lnTo>
                    <a:lnTo>
                      <a:pt x="594" y="66"/>
                    </a:lnTo>
                    <a:lnTo>
                      <a:pt x="600" y="66"/>
                    </a:lnTo>
                    <a:lnTo>
                      <a:pt x="606" y="60"/>
                    </a:lnTo>
                    <a:lnTo>
                      <a:pt x="612" y="60"/>
                    </a:lnTo>
                    <a:lnTo>
                      <a:pt x="612" y="66"/>
                    </a:lnTo>
                    <a:lnTo>
                      <a:pt x="612" y="72"/>
                    </a:lnTo>
                    <a:lnTo>
                      <a:pt x="612" y="78"/>
                    </a:lnTo>
                    <a:lnTo>
                      <a:pt x="612" y="84"/>
                    </a:lnTo>
                    <a:lnTo>
                      <a:pt x="606" y="84"/>
                    </a:lnTo>
                    <a:lnTo>
                      <a:pt x="606" y="90"/>
                    </a:lnTo>
                    <a:lnTo>
                      <a:pt x="612" y="90"/>
                    </a:lnTo>
                    <a:lnTo>
                      <a:pt x="612" y="96"/>
                    </a:lnTo>
                    <a:lnTo>
                      <a:pt x="618" y="96"/>
                    </a:lnTo>
                    <a:lnTo>
                      <a:pt x="612" y="96"/>
                    </a:lnTo>
                    <a:lnTo>
                      <a:pt x="612" y="102"/>
                    </a:lnTo>
                    <a:lnTo>
                      <a:pt x="606" y="102"/>
                    </a:lnTo>
                    <a:lnTo>
                      <a:pt x="606" y="108"/>
                    </a:lnTo>
                    <a:lnTo>
                      <a:pt x="606" y="114"/>
                    </a:lnTo>
                    <a:lnTo>
                      <a:pt x="606" y="120"/>
                    </a:lnTo>
                    <a:lnTo>
                      <a:pt x="612" y="120"/>
                    </a:lnTo>
                    <a:lnTo>
                      <a:pt x="612" y="126"/>
                    </a:lnTo>
                    <a:lnTo>
                      <a:pt x="618" y="126"/>
                    </a:lnTo>
                    <a:lnTo>
                      <a:pt x="618" y="120"/>
                    </a:lnTo>
                    <a:lnTo>
                      <a:pt x="624" y="120"/>
                    </a:lnTo>
                    <a:lnTo>
                      <a:pt x="624" y="126"/>
                    </a:lnTo>
                    <a:lnTo>
                      <a:pt x="630" y="126"/>
                    </a:lnTo>
                    <a:lnTo>
                      <a:pt x="630" y="120"/>
                    </a:lnTo>
                    <a:lnTo>
                      <a:pt x="636" y="120"/>
                    </a:lnTo>
                    <a:lnTo>
                      <a:pt x="642" y="114"/>
                    </a:lnTo>
                    <a:lnTo>
                      <a:pt x="642" y="120"/>
                    </a:lnTo>
                    <a:lnTo>
                      <a:pt x="648" y="120"/>
                    </a:lnTo>
                    <a:lnTo>
                      <a:pt x="648" y="126"/>
                    </a:lnTo>
                    <a:lnTo>
                      <a:pt x="654" y="126"/>
                    </a:lnTo>
                    <a:lnTo>
                      <a:pt x="654" y="132"/>
                    </a:lnTo>
                    <a:lnTo>
                      <a:pt x="660" y="132"/>
                    </a:lnTo>
                    <a:lnTo>
                      <a:pt x="660" y="126"/>
                    </a:lnTo>
                    <a:lnTo>
                      <a:pt x="666" y="126"/>
                    </a:lnTo>
                    <a:lnTo>
                      <a:pt x="666" y="132"/>
                    </a:lnTo>
                    <a:lnTo>
                      <a:pt x="672" y="132"/>
                    </a:lnTo>
                    <a:lnTo>
                      <a:pt x="672" y="138"/>
                    </a:lnTo>
                    <a:lnTo>
                      <a:pt x="672" y="132"/>
                    </a:lnTo>
                    <a:lnTo>
                      <a:pt x="678" y="132"/>
                    </a:lnTo>
                    <a:lnTo>
                      <a:pt x="684" y="126"/>
                    </a:lnTo>
                    <a:lnTo>
                      <a:pt x="684" y="132"/>
                    </a:lnTo>
                    <a:lnTo>
                      <a:pt x="690" y="132"/>
                    </a:lnTo>
                    <a:lnTo>
                      <a:pt x="696" y="132"/>
                    </a:lnTo>
                    <a:lnTo>
                      <a:pt x="696" y="126"/>
                    </a:lnTo>
                    <a:lnTo>
                      <a:pt x="702" y="126"/>
                    </a:lnTo>
                    <a:lnTo>
                      <a:pt x="702" y="132"/>
                    </a:lnTo>
                    <a:lnTo>
                      <a:pt x="696" y="132"/>
                    </a:lnTo>
                    <a:lnTo>
                      <a:pt x="702" y="132"/>
                    </a:lnTo>
                    <a:lnTo>
                      <a:pt x="708" y="132"/>
                    </a:lnTo>
                    <a:lnTo>
                      <a:pt x="708" y="138"/>
                    </a:lnTo>
                    <a:lnTo>
                      <a:pt x="708" y="144"/>
                    </a:lnTo>
                    <a:lnTo>
                      <a:pt x="702" y="144"/>
                    </a:lnTo>
                    <a:lnTo>
                      <a:pt x="708" y="150"/>
                    </a:lnTo>
                    <a:lnTo>
                      <a:pt x="708" y="156"/>
                    </a:lnTo>
                    <a:lnTo>
                      <a:pt x="714" y="156"/>
                    </a:lnTo>
                    <a:lnTo>
                      <a:pt x="714" y="162"/>
                    </a:lnTo>
                    <a:lnTo>
                      <a:pt x="720" y="162"/>
                    </a:lnTo>
                    <a:lnTo>
                      <a:pt x="720" y="168"/>
                    </a:lnTo>
                    <a:lnTo>
                      <a:pt x="720" y="174"/>
                    </a:lnTo>
                    <a:lnTo>
                      <a:pt x="714" y="174"/>
                    </a:lnTo>
                    <a:lnTo>
                      <a:pt x="720" y="180"/>
                    </a:lnTo>
                    <a:lnTo>
                      <a:pt x="720" y="186"/>
                    </a:lnTo>
                    <a:lnTo>
                      <a:pt x="720" y="192"/>
                    </a:lnTo>
                    <a:lnTo>
                      <a:pt x="720" y="198"/>
                    </a:lnTo>
                    <a:lnTo>
                      <a:pt x="726" y="198"/>
                    </a:lnTo>
                    <a:lnTo>
                      <a:pt x="726" y="204"/>
                    </a:lnTo>
                    <a:lnTo>
                      <a:pt x="726" y="210"/>
                    </a:lnTo>
                    <a:lnTo>
                      <a:pt x="726" y="216"/>
                    </a:lnTo>
                    <a:lnTo>
                      <a:pt x="732" y="216"/>
                    </a:lnTo>
                    <a:lnTo>
                      <a:pt x="732" y="222"/>
                    </a:lnTo>
                    <a:lnTo>
                      <a:pt x="738" y="228"/>
                    </a:lnTo>
                    <a:lnTo>
                      <a:pt x="738" y="234"/>
                    </a:lnTo>
                    <a:lnTo>
                      <a:pt x="744" y="234"/>
                    </a:lnTo>
                    <a:lnTo>
                      <a:pt x="750" y="234"/>
                    </a:lnTo>
                    <a:lnTo>
                      <a:pt x="750" y="240"/>
                    </a:lnTo>
                    <a:lnTo>
                      <a:pt x="756" y="240"/>
                    </a:lnTo>
                    <a:lnTo>
                      <a:pt x="750" y="246"/>
                    </a:lnTo>
                    <a:lnTo>
                      <a:pt x="756" y="246"/>
                    </a:lnTo>
                    <a:lnTo>
                      <a:pt x="762" y="246"/>
                    </a:lnTo>
                    <a:lnTo>
                      <a:pt x="768" y="246"/>
                    </a:lnTo>
                    <a:lnTo>
                      <a:pt x="768" y="252"/>
                    </a:lnTo>
                    <a:lnTo>
                      <a:pt x="774" y="252"/>
                    </a:lnTo>
                    <a:lnTo>
                      <a:pt x="774" y="258"/>
                    </a:lnTo>
                    <a:lnTo>
                      <a:pt x="780" y="258"/>
                    </a:lnTo>
                    <a:lnTo>
                      <a:pt x="780" y="264"/>
                    </a:lnTo>
                    <a:lnTo>
                      <a:pt x="780" y="270"/>
                    </a:lnTo>
                    <a:lnTo>
                      <a:pt x="786" y="270"/>
                    </a:lnTo>
                    <a:lnTo>
                      <a:pt x="786" y="276"/>
                    </a:lnTo>
                    <a:lnTo>
                      <a:pt x="786" y="282"/>
                    </a:lnTo>
                    <a:lnTo>
                      <a:pt x="792" y="282"/>
                    </a:lnTo>
                    <a:lnTo>
                      <a:pt x="786" y="282"/>
                    </a:lnTo>
                    <a:lnTo>
                      <a:pt x="786" y="276"/>
                    </a:lnTo>
                    <a:lnTo>
                      <a:pt x="780" y="276"/>
                    </a:lnTo>
                    <a:lnTo>
                      <a:pt x="780" y="282"/>
                    </a:lnTo>
                    <a:lnTo>
                      <a:pt x="774" y="282"/>
                    </a:lnTo>
                    <a:lnTo>
                      <a:pt x="774" y="288"/>
                    </a:lnTo>
                    <a:lnTo>
                      <a:pt x="780" y="288"/>
                    </a:lnTo>
                    <a:lnTo>
                      <a:pt x="780" y="294"/>
                    </a:lnTo>
                    <a:lnTo>
                      <a:pt x="774" y="294"/>
                    </a:lnTo>
                    <a:lnTo>
                      <a:pt x="780" y="294"/>
                    </a:lnTo>
                    <a:lnTo>
                      <a:pt x="780" y="288"/>
                    </a:lnTo>
                    <a:lnTo>
                      <a:pt x="786" y="294"/>
                    </a:lnTo>
                    <a:lnTo>
                      <a:pt x="780" y="294"/>
                    </a:lnTo>
                    <a:lnTo>
                      <a:pt x="780" y="300"/>
                    </a:lnTo>
                    <a:lnTo>
                      <a:pt x="774" y="300"/>
                    </a:lnTo>
                    <a:lnTo>
                      <a:pt x="780" y="300"/>
                    </a:lnTo>
                    <a:lnTo>
                      <a:pt x="774" y="300"/>
                    </a:lnTo>
                    <a:lnTo>
                      <a:pt x="774" y="306"/>
                    </a:lnTo>
                    <a:lnTo>
                      <a:pt x="780" y="306"/>
                    </a:lnTo>
                    <a:lnTo>
                      <a:pt x="774" y="306"/>
                    </a:lnTo>
                    <a:lnTo>
                      <a:pt x="774" y="312"/>
                    </a:lnTo>
                    <a:lnTo>
                      <a:pt x="780" y="312"/>
                    </a:lnTo>
                    <a:lnTo>
                      <a:pt x="780" y="318"/>
                    </a:lnTo>
                    <a:lnTo>
                      <a:pt x="774" y="318"/>
                    </a:lnTo>
                    <a:lnTo>
                      <a:pt x="780" y="318"/>
                    </a:lnTo>
                    <a:lnTo>
                      <a:pt x="774" y="318"/>
                    </a:lnTo>
                    <a:lnTo>
                      <a:pt x="774" y="324"/>
                    </a:lnTo>
                    <a:lnTo>
                      <a:pt x="780" y="324"/>
                    </a:lnTo>
                    <a:lnTo>
                      <a:pt x="786" y="324"/>
                    </a:lnTo>
                    <a:lnTo>
                      <a:pt x="792" y="324"/>
                    </a:lnTo>
                    <a:lnTo>
                      <a:pt x="792" y="318"/>
                    </a:lnTo>
                    <a:lnTo>
                      <a:pt x="792" y="324"/>
                    </a:lnTo>
                    <a:lnTo>
                      <a:pt x="798" y="324"/>
                    </a:lnTo>
                    <a:lnTo>
                      <a:pt x="798" y="330"/>
                    </a:lnTo>
                    <a:lnTo>
                      <a:pt x="804" y="330"/>
                    </a:lnTo>
                    <a:lnTo>
                      <a:pt x="804" y="324"/>
                    </a:lnTo>
                    <a:lnTo>
                      <a:pt x="804" y="318"/>
                    </a:lnTo>
                    <a:lnTo>
                      <a:pt x="798" y="312"/>
                    </a:lnTo>
                    <a:lnTo>
                      <a:pt x="798" y="306"/>
                    </a:lnTo>
                    <a:lnTo>
                      <a:pt x="804" y="306"/>
                    </a:lnTo>
                    <a:lnTo>
                      <a:pt x="798" y="306"/>
                    </a:lnTo>
                    <a:lnTo>
                      <a:pt x="798" y="300"/>
                    </a:lnTo>
                    <a:lnTo>
                      <a:pt x="804" y="300"/>
                    </a:lnTo>
                    <a:lnTo>
                      <a:pt x="804" y="294"/>
                    </a:lnTo>
                    <a:lnTo>
                      <a:pt x="798" y="294"/>
                    </a:lnTo>
                    <a:lnTo>
                      <a:pt x="804" y="294"/>
                    </a:lnTo>
                    <a:lnTo>
                      <a:pt x="810" y="294"/>
                    </a:lnTo>
                    <a:lnTo>
                      <a:pt x="816" y="294"/>
                    </a:lnTo>
                    <a:lnTo>
                      <a:pt x="816" y="300"/>
                    </a:lnTo>
                    <a:lnTo>
                      <a:pt x="822" y="294"/>
                    </a:lnTo>
                    <a:lnTo>
                      <a:pt x="816" y="288"/>
                    </a:lnTo>
                    <a:lnTo>
                      <a:pt x="822" y="288"/>
                    </a:lnTo>
                    <a:lnTo>
                      <a:pt x="822" y="282"/>
                    </a:lnTo>
                    <a:lnTo>
                      <a:pt x="816" y="282"/>
                    </a:lnTo>
                    <a:lnTo>
                      <a:pt x="810" y="276"/>
                    </a:lnTo>
                    <a:lnTo>
                      <a:pt x="816" y="276"/>
                    </a:lnTo>
                    <a:lnTo>
                      <a:pt x="822" y="276"/>
                    </a:lnTo>
                    <a:lnTo>
                      <a:pt x="822" y="282"/>
                    </a:lnTo>
                    <a:lnTo>
                      <a:pt x="828" y="282"/>
                    </a:lnTo>
                    <a:lnTo>
                      <a:pt x="828" y="288"/>
                    </a:lnTo>
                    <a:lnTo>
                      <a:pt x="834" y="288"/>
                    </a:lnTo>
                    <a:lnTo>
                      <a:pt x="834" y="282"/>
                    </a:lnTo>
                    <a:lnTo>
                      <a:pt x="828" y="282"/>
                    </a:lnTo>
                    <a:lnTo>
                      <a:pt x="834" y="282"/>
                    </a:lnTo>
                    <a:lnTo>
                      <a:pt x="840" y="282"/>
                    </a:lnTo>
                    <a:lnTo>
                      <a:pt x="840" y="288"/>
                    </a:lnTo>
                    <a:lnTo>
                      <a:pt x="834" y="288"/>
                    </a:lnTo>
                    <a:lnTo>
                      <a:pt x="840" y="294"/>
                    </a:lnTo>
                    <a:lnTo>
                      <a:pt x="834" y="294"/>
                    </a:lnTo>
                    <a:lnTo>
                      <a:pt x="840" y="294"/>
                    </a:lnTo>
                    <a:lnTo>
                      <a:pt x="840" y="300"/>
                    </a:lnTo>
                    <a:lnTo>
                      <a:pt x="840" y="294"/>
                    </a:lnTo>
                    <a:lnTo>
                      <a:pt x="846" y="294"/>
                    </a:lnTo>
                    <a:lnTo>
                      <a:pt x="846" y="300"/>
                    </a:lnTo>
                    <a:lnTo>
                      <a:pt x="846" y="306"/>
                    </a:lnTo>
                    <a:lnTo>
                      <a:pt x="846" y="300"/>
                    </a:lnTo>
                    <a:lnTo>
                      <a:pt x="852" y="300"/>
                    </a:lnTo>
                    <a:lnTo>
                      <a:pt x="858" y="300"/>
                    </a:lnTo>
                    <a:lnTo>
                      <a:pt x="858" y="294"/>
                    </a:lnTo>
                    <a:lnTo>
                      <a:pt x="858" y="288"/>
                    </a:lnTo>
                    <a:lnTo>
                      <a:pt x="864" y="288"/>
                    </a:lnTo>
                    <a:lnTo>
                      <a:pt x="864" y="282"/>
                    </a:lnTo>
                    <a:lnTo>
                      <a:pt x="870" y="282"/>
                    </a:lnTo>
                    <a:lnTo>
                      <a:pt x="876" y="282"/>
                    </a:lnTo>
                    <a:lnTo>
                      <a:pt x="876" y="276"/>
                    </a:lnTo>
                    <a:lnTo>
                      <a:pt x="876" y="270"/>
                    </a:lnTo>
                    <a:lnTo>
                      <a:pt x="882" y="270"/>
                    </a:lnTo>
                    <a:lnTo>
                      <a:pt x="882" y="276"/>
                    </a:lnTo>
                    <a:lnTo>
                      <a:pt x="888" y="276"/>
                    </a:lnTo>
                    <a:lnTo>
                      <a:pt x="888" y="282"/>
                    </a:lnTo>
                    <a:lnTo>
                      <a:pt x="894" y="282"/>
                    </a:lnTo>
                    <a:lnTo>
                      <a:pt x="894" y="288"/>
                    </a:lnTo>
                    <a:lnTo>
                      <a:pt x="894" y="294"/>
                    </a:lnTo>
                    <a:lnTo>
                      <a:pt x="894" y="300"/>
                    </a:lnTo>
                    <a:lnTo>
                      <a:pt x="888" y="300"/>
                    </a:lnTo>
                    <a:lnTo>
                      <a:pt x="888" y="306"/>
                    </a:lnTo>
                    <a:lnTo>
                      <a:pt x="888" y="312"/>
                    </a:lnTo>
                    <a:lnTo>
                      <a:pt x="888" y="318"/>
                    </a:lnTo>
                    <a:lnTo>
                      <a:pt x="894" y="324"/>
                    </a:lnTo>
                    <a:lnTo>
                      <a:pt x="888" y="324"/>
                    </a:lnTo>
                    <a:lnTo>
                      <a:pt x="888" y="330"/>
                    </a:lnTo>
                    <a:lnTo>
                      <a:pt x="888" y="336"/>
                    </a:lnTo>
                    <a:lnTo>
                      <a:pt x="888" y="342"/>
                    </a:lnTo>
                    <a:lnTo>
                      <a:pt x="882" y="342"/>
                    </a:lnTo>
                    <a:lnTo>
                      <a:pt x="888" y="342"/>
                    </a:lnTo>
                    <a:lnTo>
                      <a:pt x="888" y="348"/>
                    </a:lnTo>
                    <a:lnTo>
                      <a:pt x="894" y="348"/>
                    </a:lnTo>
                    <a:lnTo>
                      <a:pt x="894" y="342"/>
                    </a:lnTo>
                    <a:lnTo>
                      <a:pt x="900" y="342"/>
                    </a:lnTo>
                    <a:lnTo>
                      <a:pt x="900" y="336"/>
                    </a:lnTo>
                    <a:lnTo>
                      <a:pt x="906" y="336"/>
                    </a:lnTo>
                    <a:lnTo>
                      <a:pt x="906" y="330"/>
                    </a:lnTo>
                    <a:lnTo>
                      <a:pt x="900" y="330"/>
                    </a:lnTo>
                    <a:lnTo>
                      <a:pt x="906" y="330"/>
                    </a:lnTo>
                    <a:lnTo>
                      <a:pt x="906" y="324"/>
                    </a:lnTo>
                    <a:lnTo>
                      <a:pt x="906" y="330"/>
                    </a:lnTo>
                    <a:lnTo>
                      <a:pt x="912" y="330"/>
                    </a:lnTo>
                    <a:lnTo>
                      <a:pt x="918" y="330"/>
                    </a:lnTo>
                    <a:lnTo>
                      <a:pt x="918" y="324"/>
                    </a:lnTo>
                    <a:lnTo>
                      <a:pt x="918" y="330"/>
                    </a:lnTo>
                    <a:lnTo>
                      <a:pt x="924" y="330"/>
                    </a:lnTo>
                    <a:lnTo>
                      <a:pt x="918" y="330"/>
                    </a:lnTo>
                    <a:lnTo>
                      <a:pt x="924" y="330"/>
                    </a:lnTo>
                    <a:lnTo>
                      <a:pt x="924" y="324"/>
                    </a:lnTo>
                    <a:lnTo>
                      <a:pt x="924" y="330"/>
                    </a:lnTo>
                    <a:lnTo>
                      <a:pt x="930" y="330"/>
                    </a:lnTo>
                    <a:lnTo>
                      <a:pt x="930" y="324"/>
                    </a:lnTo>
                    <a:lnTo>
                      <a:pt x="930" y="330"/>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US" sz="800" dirty="0">
                  <a:solidFill>
                    <a:srgbClr val="000000"/>
                  </a:solidFill>
                </a:endParaRPr>
              </a:p>
            </p:txBody>
          </p:sp>
          <p:sp>
            <p:nvSpPr>
              <p:cNvPr id="65" name="Freeform 76"/>
              <p:cNvSpPr>
                <a:spLocks/>
              </p:cNvSpPr>
              <p:nvPr/>
            </p:nvSpPr>
            <p:spPr bwMode="gray">
              <a:xfrm>
                <a:off x="2973791" y="2832586"/>
                <a:ext cx="1343311" cy="963168"/>
              </a:xfrm>
              <a:custGeom>
                <a:avLst/>
                <a:gdLst>
                  <a:gd name="T0" fmla="*/ 582 w 1044"/>
                  <a:gd name="T1" fmla="*/ 18 h 756"/>
                  <a:gd name="T2" fmla="*/ 600 w 1044"/>
                  <a:gd name="T3" fmla="*/ 78 h 756"/>
                  <a:gd name="T4" fmla="*/ 564 w 1044"/>
                  <a:gd name="T5" fmla="*/ 150 h 756"/>
                  <a:gd name="T6" fmla="*/ 522 w 1044"/>
                  <a:gd name="T7" fmla="*/ 180 h 756"/>
                  <a:gd name="T8" fmla="*/ 504 w 1044"/>
                  <a:gd name="T9" fmla="*/ 252 h 756"/>
                  <a:gd name="T10" fmla="*/ 516 w 1044"/>
                  <a:gd name="T11" fmla="*/ 336 h 756"/>
                  <a:gd name="T12" fmla="*/ 570 w 1044"/>
                  <a:gd name="T13" fmla="*/ 354 h 756"/>
                  <a:gd name="T14" fmla="*/ 564 w 1044"/>
                  <a:gd name="T15" fmla="*/ 288 h 756"/>
                  <a:gd name="T16" fmla="*/ 528 w 1044"/>
                  <a:gd name="T17" fmla="*/ 204 h 756"/>
                  <a:gd name="T18" fmla="*/ 564 w 1044"/>
                  <a:gd name="T19" fmla="*/ 180 h 756"/>
                  <a:gd name="T20" fmla="*/ 582 w 1044"/>
                  <a:gd name="T21" fmla="*/ 192 h 756"/>
                  <a:gd name="T22" fmla="*/ 576 w 1044"/>
                  <a:gd name="T23" fmla="*/ 216 h 756"/>
                  <a:gd name="T24" fmla="*/ 618 w 1044"/>
                  <a:gd name="T25" fmla="*/ 228 h 756"/>
                  <a:gd name="T26" fmla="*/ 642 w 1044"/>
                  <a:gd name="T27" fmla="*/ 234 h 756"/>
                  <a:gd name="T28" fmla="*/ 702 w 1044"/>
                  <a:gd name="T29" fmla="*/ 210 h 756"/>
                  <a:gd name="T30" fmla="*/ 744 w 1044"/>
                  <a:gd name="T31" fmla="*/ 240 h 756"/>
                  <a:gd name="T32" fmla="*/ 768 w 1044"/>
                  <a:gd name="T33" fmla="*/ 240 h 756"/>
                  <a:gd name="T34" fmla="*/ 810 w 1044"/>
                  <a:gd name="T35" fmla="*/ 222 h 756"/>
                  <a:gd name="T36" fmla="*/ 846 w 1044"/>
                  <a:gd name="T37" fmla="*/ 258 h 756"/>
                  <a:gd name="T38" fmla="*/ 888 w 1044"/>
                  <a:gd name="T39" fmla="*/ 228 h 756"/>
                  <a:gd name="T40" fmla="*/ 936 w 1044"/>
                  <a:gd name="T41" fmla="*/ 264 h 756"/>
                  <a:gd name="T42" fmla="*/ 972 w 1044"/>
                  <a:gd name="T43" fmla="*/ 276 h 756"/>
                  <a:gd name="T44" fmla="*/ 1014 w 1044"/>
                  <a:gd name="T45" fmla="*/ 294 h 756"/>
                  <a:gd name="T46" fmla="*/ 1038 w 1044"/>
                  <a:gd name="T47" fmla="*/ 336 h 756"/>
                  <a:gd name="T48" fmla="*/ 1032 w 1044"/>
                  <a:gd name="T49" fmla="*/ 390 h 756"/>
                  <a:gd name="T50" fmla="*/ 954 w 1044"/>
                  <a:gd name="T51" fmla="*/ 396 h 756"/>
                  <a:gd name="T52" fmla="*/ 912 w 1044"/>
                  <a:gd name="T53" fmla="*/ 420 h 756"/>
                  <a:gd name="T54" fmla="*/ 948 w 1044"/>
                  <a:gd name="T55" fmla="*/ 456 h 756"/>
                  <a:gd name="T56" fmla="*/ 930 w 1044"/>
                  <a:gd name="T57" fmla="*/ 522 h 756"/>
                  <a:gd name="T58" fmla="*/ 882 w 1044"/>
                  <a:gd name="T59" fmla="*/ 576 h 756"/>
                  <a:gd name="T60" fmla="*/ 828 w 1044"/>
                  <a:gd name="T61" fmla="*/ 624 h 756"/>
                  <a:gd name="T62" fmla="*/ 792 w 1044"/>
                  <a:gd name="T63" fmla="*/ 720 h 756"/>
                  <a:gd name="T64" fmla="*/ 732 w 1044"/>
                  <a:gd name="T65" fmla="*/ 684 h 756"/>
                  <a:gd name="T66" fmla="*/ 636 w 1044"/>
                  <a:gd name="T67" fmla="*/ 678 h 756"/>
                  <a:gd name="T68" fmla="*/ 552 w 1044"/>
                  <a:gd name="T69" fmla="*/ 702 h 756"/>
                  <a:gd name="T70" fmla="*/ 456 w 1044"/>
                  <a:gd name="T71" fmla="*/ 714 h 756"/>
                  <a:gd name="T72" fmla="*/ 414 w 1044"/>
                  <a:gd name="T73" fmla="*/ 672 h 756"/>
                  <a:gd name="T74" fmla="*/ 336 w 1044"/>
                  <a:gd name="T75" fmla="*/ 684 h 756"/>
                  <a:gd name="T76" fmla="*/ 294 w 1044"/>
                  <a:gd name="T77" fmla="*/ 738 h 756"/>
                  <a:gd name="T78" fmla="*/ 210 w 1044"/>
                  <a:gd name="T79" fmla="*/ 714 h 756"/>
                  <a:gd name="T80" fmla="*/ 102 w 1044"/>
                  <a:gd name="T81" fmla="*/ 684 h 756"/>
                  <a:gd name="T82" fmla="*/ 30 w 1044"/>
                  <a:gd name="T83" fmla="*/ 648 h 756"/>
                  <a:gd name="T84" fmla="*/ 6 w 1044"/>
                  <a:gd name="T85" fmla="*/ 588 h 756"/>
                  <a:gd name="T86" fmla="*/ 6 w 1044"/>
                  <a:gd name="T87" fmla="*/ 564 h 756"/>
                  <a:gd name="T88" fmla="*/ 30 w 1044"/>
                  <a:gd name="T89" fmla="*/ 498 h 756"/>
                  <a:gd name="T90" fmla="*/ 66 w 1044"/>
                  <a:gd name="T91" fmla="*/ 450 h 756"/>
                  <a:gd name="T92" fmla="*/ 108 w 1044"/>
                  <a:gd name="T93" fmla="*/ 372 h 756"/>
                  <a:gd name="T94" fmla="*/ 84 w 1044"/>
                  <a:gd name="T95" fmla="*/ 300 h 756"/>
                  <a:gd name="T96" fmla="*/ 96 w 1044"/>
                  <a:gd name="T97" fmla="*/ 264 h 756"/>
                  <a:gd name="T98" fmla="*/ 150 w 1044"/>
                  <a:gd name="T99" fmla="*/ 258 h 756"/>
                  <a:gd name="T100" fmla="*/ 150 w 1044"/>
                  <a:gd name="T101" fmla="*/ 282 h 756"/>
                  <a:gd name="T102" fmla="*/ 222 w 1044"/>
                  <a:gd name="T103" fmla="*/ 300 h 756"/>
                  <a:gd name="T104" fmla="*/ 210 w 1044"/>
                  <a:gd name="T105" fmla="*/ 372 h 756"/>
                  <a:gd name="T106" fmla="*/ 198 w 1044"/>
                  <a:gd name="T107" fmla="*/ 408 h 756"/>
                  <a:gd name="T108" fmla="*/ 234 w 1044"/>
                  <a:gd name="T109" fmla="*/ 378 h 756"/>
                  <a:gd name="T110" fmla="*/ 300 w 1044"/>
                  <a:gd name="T111" fmla="*/ 348 h 756"/>
                  <a:gd name="T112" fmla="*/ 330 w 1044"/>
                  <a:gd name="T113" fmla="*/ 324 h 756"/>
                  <a:gd name="T114" fmla="*/ 330 w 1044"/>
                  <a:gd name="T115" fmla="*/ 276 h 756"/>
                  <a:gd name="T116" fmla="*/ 378 w 1044"/>
                  <a:gd name="T117" fmla="*/ 228 h 756"/>
                  <a:gd name="T118" fmla="*/ 360 w 1044"/>
                  <a:gd name="T119" fmla="*/ 204 h 756"/>
                  <a:gd name="T120" fmla="*/ 294 w 1044"/>
                  <a:gd name="T121" fmla="*/ 144 h 756"/>
                  <a:gd name="T122" fmla="*/ 384 w 1044"/>
                  <a:gd name="T123" fmla="*/ 78 h 756"/>
                  <a:gd name="T124" fmla="*/ 474 w 1044"/>
                  <a:gd name="T125" fmla="*/ 24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44" h="756">
                    <a:moveTo>
                      <a:pt x="492" y="6"/>
                    </a:moveTo>
                    <a:lnTo>
                      <a:pt x="498" y="6"/>
                    </a:lnTo>
                    <a:lnTo>
                      <a:pt x="498" y="0"/>
                    </a:lnTo>
                    <a:lnTo>
                      <a:pt x="498" y="6"/>
                    </a:lnTo>
                    <a:lnTo>
                      <a:pt x="504" y="6"/>
                    </a:lnTo>
                    <a:lnTo>
                      <a:pt x="504" y="0"/>
                    </a:lnTo>
                    <a:lnTo>
                      <a:pt x="510" y="0"/>
                    </a:lnTo>
                    <a:lnTo>
                      <a:pt x="516" y="0"/>
                    </a:lnTo>
                    <a:lnTo>
                      <a:pt x="516" y="6"/>
                    </a:lnTo>
                    <a:lnTo>
                      <a:pt x="522" y="6"/>
                    </a:lnTo>
                    <a:lnTo>
                      <a:pt x="528" y="6"/>
                    </a:lnTo>
                    <a:lnTo>
                      <a:pt x="528" y="12"/>
                    </a:lnTo>
                    <a:lnTo>
                      <a:pt x="534" y="12"/>
                    </a:lnTo>
                    <a:lnTo>
                      <a:pt x="540" y="12"/>
                    </a:lnTo>
                    <a:lnTo>
                      <a:pt x="546" y="12"/>
                    </a:lnTo>
                    <a:lnTo>
                      <a:pt x="552" y="12"/>
                    </a:lnTo>
                    <a:lnTo>
                      <a:pt x="552" y="6"/>
                    </a:lnTo>
                    <a:lnTo>
                      <a:pt x="558" y="6"/>
                    </a:lnTo>
                    <a:lnTo>
                      <a:pt x="558" y="12"/>
                    </a:lnTo>
                    <a:lnTo>
                      <a:pt x="558" y="6"/>
                    </a:lnTo>
                    <a:lnTo>
                      <a:pt x="564" y="6"/>
                    </a:lnTo>
                    <a:lnTo>
                      <a:pt x="564" y="12"/>
                    </a:lnTo>
                    <a:lnTo>
                      <a:pt x="570" y="12"/>
                    </a:lnTo>
                    <a:lnTo>
                      <a:pt x="570" y="18"/>
                    </a:lnTo>
                    <a:lnTo>
                      <a:pt x="576" y="18"/>
                    </a:lnTo>
                    <a:lnTo>
                      <a:pt x="582" y="18"/>
                    </a:lnTo>
                    <a:lnTo>
                      <a:pt x="588" y="24"/>
                    </a:lnTo>
                    <a:lnTo>
                      <a:pt x="582" y="24"/>
                    </a:lnTo>
                    <a:lnTo>
                      <a:pt x="588" y="24"/>
                    </a:lnTo>
                    <a:lnTo>
                      <a:pt x="594" y="24"/>
                    </a:lnTo>
                    <a:lnTo>
                      <a:pt x="588" y="30"/>
                    </a:lnTo>
                    <a:lnTo>
                      <a:pt x="594" y="30"/>
                    </a:lnTo>
                    <a:lnTo>
                      <a:pt x="594" y="36"/>
                    </a:lnTo>
                    <a:lnTo>
                      <a:pt x="594" y="42"/>
                    </a:lnTo>
                    <a:lnTo>
                      <a:pt x="594" y="48"/>
                    </a:lnTo>
                    <a:lnTo>
                      <a:pt x="600" y="48"/>
                    </a:lnTo>
                    <a:lnTo>
                      <a:pt x="606" y="48"/>
                    </a:lnTo>
                    <a:lnTo>
                      <a:pt x="606" y="54"/>
                    </a:lnTo>
                    <a:lnTo>
                      <a:pt x="606" y="48"/>
                    </a:lnTo>
                    <a:lnTo>
                      <a:pt x="606" y="54"/>
                    </a:lnTo>
                    <a:lnTo>
                      <a:pt x="612" y="48"/>
                    </a:lnTo>
                    <a:lnTo>
                      <a:pt x="612" y="54"/>
                    </a:lnTo>
                    <a:lnTo>
                      <a:pt x="612" y="60"/>
                    </a:lnTo>
                    <a:lnTo>
                      <a:pt x="612" y="54"/>
                    </a:lnTo>
                    <a:lnTo>
                      <a:pt x="612" y="60"/>
                    </a:lnTo>
                    <a:lnTo>
                      <a:pt x="612" y="66"/>
                    </a:lnTo>
                    <a:lnTo>
                      <a:pt x="606" y="66"/>
                    </a:lnTo>
                    <a:lnTo>
                      <a:pt x="612" y="66"/>
                    </a:lnTo>
                    <a:lnTo>
                      <a:pt x="606" y="66"/>
                    </a:lnTo>
                    <a:lnTo>
                      <a:pt x="606" y="72"/>
                    </a:lnTo>
                    <a:lnTo>
                      <a:pt x="600" y="72"/>
                    </a:lnTo>
                    <a:lnTo>
                      <a:pt x="600" y="78"/>
                    </a:lnTo>
                    <a:lnTo>
                      <a:pt x="600" y="84"/>
                    </a:lnTo>
                    <a:lnTo>
                      <a:pt x="594" y="84"/>
                    </a:lnTo>
                    <a:lnTo>
                      <a:pt x="594" y="78"/>
                    </a:lnTo>
                    <a:lnTo>
                      <a:pt x="594" y="84"/>
                    </a:lnTo>
                    <a:lnTo>
                      <a:pt x="594" y="90"/>
                    </a:lnTo>
                    <a:lnTo>
                      <a:pt x="588" y="90"/>
                    </a:lnTo>
                    <a:lnTo>
                      <a:pt x="594" y="90"/>
                    </a:lnTo>
                    <a:lnTo>
                      <a:pt x="594" y="96"/>
                    </a:lnTo>
                    <a:lnTo>
                      <a:pt x="588" y="96"/>
                    </a:lnTo>
                    <a:lnTo>
                      <a:pt x="588" y="102"/>
                    </a:lnTo>
                    <a:lnTo>
                      <a:pt x="594" y="102"/>
                    </a:lnTo>
                    <a:lnTo>
                      <a:pt x="588" y="102"/>
                    </a:lnTo>
                    <a:lnTo>
                      <a:pt x="588" y="108"/>
                    </a:lnTo>
                    <a:lnTo>
                      <a:pt x="588" y="114"/>
                    </a:lnTo>
                    <a:lnTo>
                      <a:pt x="582" y="114"/>
                    </a:lnTo>
                    <a:lnTo>
                      <a:pt x="588" y="114"/>
                    </a:lnTo>
                    <a:lnTo>
                      <a:pt x="582" y="114"/>
                    </a:lnTo>
                    <a:lnTo>
                      <a:pt x="582" y="120"/>
                    </a:lnTo>
                    <a:lnTo>
                      <a:pt x="582" y="126"/>
                    </a:lnTo>
                    <a:lnTo>
                      <a:pt x="576" y="126"/>
                    </a:lnTo>
                    <a:lnTo>
                      <a:pt x="576" y="132"/>
                    </a:lnTo>
                    <a:lnTo>
                      <a:pt x="576" y="138"/>
                    </a:lnTo>
                    <a:lnTo>
                      <a:pt x="570" y="138"/>
                    </a:lnTo>
                    <a:lnTo>
                      <a:pt x="570" y="144"/>
                    </a:lnTo>
                    <a:lnTo>
                      <a:pt x="564" y="144"/>
                    </a:lnTo>
                    <a:lnTo>
                      <a:pt x="564" y="150"/>
                    </a:lnTo>
                    <a:lnTo>
                      <a:pt x="570" y="150"/>
                    </a:lnTo>
                    <a:lnTo>
                      <a:pt x="564" y="150"/>
                    </a:lnTo>
                    <a:lnTo>
                      <a:pt x="564" y="156"/>
                    </a:lnTo>
                    <a:lnTo>
                      <a:pt x="570" y="156"/>
                    </a:lnTo>
                    <a:lnTo>
                      <a:pt x="570" y="162"/>
                    </a:lnTo>
                    <a:lnTo>
                      <a:pt x="564" y="162"/>
                    </a:lnTo>
                    <a:lnTo>
                      <a:pt x="564" y="168"/>
                    </a:lnTo>
                    <a:lnTo>
                      <a:pt x="564" y="162"/>
                    </a:lnTo>
                    <a:lnTo>
                      <a:pt x="564" y="168"/>
                    </a:lnTo>
                    <a:lnTo>
                      <a:pt x="564" y="162"/>
                    </a:lnTo>
                    <a:lnTo>
                      <a:pt x="564" y="168"/>
                    </a:lnTo>
                    <a:lnTo>
                      <a:pt x="558" y="168"/>
                    </a:lnTo>
                    <a:lnTo>
                      <a:pt x="552" y="168"/>
                    </a:lnTo>
                    <a:lnTo>
                      <a:pt x="552" y="174"/>
                    </a:lnTo>
                    <a:lnTo>
                      <a:pt x="546" y="174"/>
                    </a:lnTo>
                    <a:lnTo>
                      <a:pt x="546" y="168"/>
                    </a:lnTo>
                    <a:lnTo>
                      <a:pt x="540" y="168"/>
                    </a:lnTo>
                    <a:lnTo>
                      <a:pt x="540" y="174"/>
                    </a:lnTo>
                    <a:lnTo>
                      <a:pt x="534" y="174"/>
                    </a:lnTo>
                    <a:lnTo>
                      <a:pt x="534" y="168"/>
                    </a:lnTo>
                    <a:lnTo>
                      <a:pt x="528" y="168"/>
                    </a:lnTo>
                    <a:lnTo>
                      <a:pt x="528" y="174"/>
                    </a:lnTo>
                    <a:lnTo>
                      <a:pt x="522" y="174"/>
                    </a:lnTo>
                    <a:lnTo>
                      <a:pt x="522" y="180"/>
                    </a:lnTo>
                    <a:lnTo>
                      <a:pt x="522" y="186"/>
                    </a:lnTo>
                    <a:lnTo>
                      <a:pt x="522" y="180"/>
                    </a:lnTo>
                    <a:lnTo>
                      <a:pt x="522" y="186"/>
                    </a:lnTo>
                    <a:lnTo>
                      <a:pt x="516" y="186"/>
                    </a:lnTo>
                    <a:lnTo>
                      <a:pt x="510" y="186"/>
                    </a:lnTo>
                    <a:lnTo>
                      <a:pt x="510" y="192"/>
                    </a:lnTo>
                    <a:lnTo>
                      <a:pt x="510" y="198"/>
                    </a:lnTo>
                    <a:lnTo>
                      <a:pt x="510" y="204"/>
                    </a:lnTo>
                    <a:lnTo>
                      <a:pt x="510" y="210"/>
                    </a:lnTo>
                    <a:lnTo>
                      <a:pt x="516" y="210"/>
                    </a:lnTo>
                    <a:lnTo>
                      <a:pt x="516" y="216"/>
                    </a:lnTo>
                    <a:lnTo>
                      <a:pt x="522" y="216"/>
                    </a:lnTo>
                    <a:lnTo>
                      <a:pt x="516" y="216"/>
                    </a:lnTo>
                    <a:lnTo>
                      <a:pt x="516" y="222"/>
                    </a:lnTo>
                    <a:lnTo>
                      <a:pt x="522" y="222"/>
                    </a:lnTo>
                    <a:lnTo>
                      <a:pt x="528" y="222"/>
                    </a:lnTo>
                    <a:lnTo>
                      <a:pt x="528" y="228"/>
                    </a:lnTo>
                    <a:lnTo>
                      <a:pt x="522" y="228"/>
                    </a:lnTo>
                    <a:lnTo>
                      <a:pt x="528" y="228"/>
                    </a:lnTo>
                    <a:lnTo>
                      <a:pt x="522" y="228"/>
                    </a:lnTo>
                    <a:lnTo>
                      <a:pt x="516" y="228"/>
                    </a:lnTo>
                    <a:lnTo>
                      <a:pt x="516" y="234"/>
                    </a:lnTo>
                    <a:lnTo>
                      <a:pt x="510" y="234"/>
                    </a:lnTo>
                    <a:lnTo>
                      <a:pt x="510" y="240"/>
                    </a:lnTo>
                    <a:lnTo>
                      <a:pt x="516" y="246"/>
                    </a:lnTo>
                    <a:lnTo>
                      <a:pt x="510" y="246"/>
                    </a:lnTo>
                    <a:lnTo>
                      <a:pt x="510" y="252"/>
                    </a:lnTo>
                    <a:lnTo>
                      <a:pt x="504" y="252"/>
                    </a:lnTo>
                    <a:lnTo>
                      <a:pt x="504" y="258"/>
                    </a:lnTo>
                    <a:lnTo>
                      <a:pt x="498" y="258"/>
                    </a:lnTo>
                    <a:lnTo>
                      <a:pt x="492" y="258"/>
                    </a:lnTo>
                    <a:lnTo>
                      <a:pt x="492" y="264"/>
                    </a:lnTo>
                    <a:lnTo>
                      <a:pt x="498" y="264"/>
                    </a:lnTo>
                    <a:lnTo>
                      <a:pt x="498" y="270"/>
                    </a:lnTo>
                    <a:lnTo>
                      <a:pt x="498" y="276"/>
                    </a:lnTo>
                    <a:lnTo>
                      <a:pt x="498" y="282"/>
                    </a:lnTo>
                    <a:lnTo>
                      <a:pt x="504" y="282"/>
                    </a:lnTo>
                    <a:lnTo>
                      <a:pt x="504" y="288"/>
                    </a:lnTo>
                    <a:lnTo>
                      <a:pt x="504" y="294"/>
                    </a:lnTo>
                    <a:lnTo>
                      <a:pt x="504" y="300"/>
                    </a:lnTo>
                    <a:lnTo>
                      <a:pt x="504" y="306"/>
                    </a:lnTo>
                    <a:lnTo>
                      <a:pt x="498" y="306"/>
                    </a:lnTo>
                    <a:lnTo>
                      <a:pt x="498" y="312"/>
                    </a:lnTo>
                    <a:lnTo>
                      <a:pt x="504" y="312"/>
                    </a:lnTo>
                    <a:lnTo>
                      <a:pt x="498" y="312"/>
                    </a:lnTo>
                    <a:lnTo>
                      <a:pt x="504" y="312"/>
                    </a:lnTo>
                    <a:lnTo>
                      <a:pt x="504" y="318"/>
                    </a:lnTo>
                    <a:lnTo>
                      <a:pt x="510" y="318"/>
                    </a:lnTo>
                    <a:lnTo>
                      <a:pt x="510" y="324"/>
                    </a:lnTo>
                    <a:lnTo>
                      <a:pt x="516" y="324"/>
                    </a:lnTo>
                    <a:lnTo>
                      <a:pt x="516" y="330"/>
                    </a:lnTo>
                    <a:lnTo>
                      <a:pt x="510" y="330"/>
                    </a:lnTo>
                    <a:lnTo>
                      <a:pt x="510" y="336"/>
                    </a:lnTo>
                    <a:lnTo>
                      <a:pt x="516" y="336"/>
                    </a:lnTo>
                    <a:lnTo>
                      <a:pt x="510" y="336"/>
                    </a:lnTo>
                    <a:lnTo>
                      <a:pt x="516" y="336"/>
                    </a:lnTo>
                    <a:lnTo>
                      <a:pt x="516" y="342"/>
                    </a:lnTo>
                    <a:lnTo>
                      <a:pt x="522" y="342"/>
                    </a:lnTo>
                    <a:lnTo>
                      <a:pt x="522" y="336"/>
                    </a:lnTo>
                    <a:lnTo>
                      <a:pt x="528" y="336"/>
                    </a:lnTo>
                    <a:lnTo>
                      <a:pt x="528" y="330"/>
                    </a:lnTo>
                    <a:lnTo>
                      <a:pt x="528" y="324"/>
                    </a:lnTo>
                    <a:lnTo>
                      <a:pt x="534" y="324"/>
                    </a:lnTo>
                    <a:lnTo>
                      <a:pt x="534" y="330"/>
                    </a:lnTo>
                    <a:lnTo>
                      <a:pt x="540" y="330"/>
                    </a:lnTo>
                    <a:lnTo>
                      <a:pt x="540" y="336"/>
                    </a:lnTo>
                    <a:lnTo>
                      <a:pt x="546" y="336"/>
                    </a:lnTo>
                    <a:lnTo>
                      <a:pt x="546" y="342"/>
                    </a:lnTo>
                    <a:lnTo>
                      <a:pt x="552" y="342"/>
                    </a:lnTo>
                    <a:lnTo>
                      <a:pt x="552" y="348"/>
                    </a:lnTo>
                    <a:lnTo>
                      <a:pt x="558" y="348"/>
                    </a:lnTo>
                    <a:lnTo>
                      <a:pt x="558" y="342"/>
                    </a:lnTo>
                    <a:lnTo>
                      <a:pt x="558" y="348"/>
                    </a:lnTo>
                    <a:lnTo>
                      <a:pt x="564" y="348"/>
                    </a:lnTo>
                    <a:lnTo>
                      <a:pt x="564" y="342"/>
                    </a:lnTo>
                    <a:lnTo>
                      <a:pt x="564" y="348"/>
                    </a:lnTo>
                    <a:lnTo>
                      <a:pt x="564" y="354"/>
                    </a:lnTo>
                    <a:lnTo>
                      <a:pt x="570" y="354"/>
                    </a:lnTo>
                    <a:lnTo>
                      <a:pt x="570" y="348"/>
                    </a:lnTo>
                    <a:lnTo>
                      <a:pt x="570" y="354"/>
                    </a:lnTo>
                    <a:lnTo>
                      <a:pt x="570" y="348"/>
                    </a:lnTo>
                    <a:lnTo>
                      <a:pt x="576" y="348"/>
                    </a:lnTo>
                    <a:lnTo>
                      <a:pt x="576" y="342"/>
                    </a:lnTo>
                    <a:lnTo>
                      <a:pt x="582" y="342"/>
                    </a:lnTo>
                    <a:lnTo>
                      <a:pt x="582" y="336"/>
                    </a:lnTo>
                    <a:lnTo>
                      <a:pt x="588" y="336"/>
                    </a:lnTo>
                    <a:lnTo>
                      <a:pt x="588" y="330"/>
                    </a:lnTo>
                    <a:lnTo>
                      <a:pt x="588" y="324"/>
                    </a:lnTo>
                    <a:lnTo>
                      <a:pt x="588" y="318"/>
                    </a:lnTo>
                    <a:lnTo>
                      <a:pt x="582" y="318"/>
                    </a:lnTo>
                    <a:lnTo>
                      <a:pt x="582" y="312"/>
                    </a:lnTo>
                    <a:lnTo>
                      <a:pt x="588" y="312"/>
                    </a:lnTo>
                    <a:lnTo>
                      <a:pt x="588" y="306"/>
                    </a:lnTo>
                    <a:lnTo>
                      <a:pt x="582" y="306"/>
                    </a:lnTo>
                    <a:lnTo>
                      <a:pt x="588" y="306"/>
                    </a:lnTo>
                    <a:lnTo>
                      <a:pt x="582" y="306"/>
                    </a:lnTo>
                    <a:lnTo>
                      <a:pt x="582" y="300"/>
                    </a:lnTo>
                    <a:lnTo>
                      <a:pt x="582" y="294"/>
                    </a:lnTo>
                    <a:lnTo>
                      <a:pt x="576" y="294"/>
                    </a:lnTo>
                    <a:lnTo>
                      <a:pt x="570" y="294"/>
                    </a:lnTo>
                    <a:lnTo>
                      <a:pt x="570" y="300"/>
                    </a:lnTo>
                    <a:lnTo>
                      <a:pt x="564" y="300"/>
                    </a:lnTo>
                    <a:lnTo>
                      <a:pt x="564" y="294"/>
                    </a:lnTo>
                    <a:lnTo>
                      <a:pt x="558" y="294"/>
                    </a:lnTo>
                    <a:lnTo>
                      <a:pt x="558" y="288"/>
                    </a:lnTo>
                    <a:lnTo>
                      <a:pt x="564" y="288"/>
                    </a:lnTo>
                    <a:lnTo>
                      <a:pt x="564" y="282"/>
                    </a:lnTo>
                    <a:lnTo>
                      <a:pt x="564" y="276"/>
                    </a:lnTo>
                    <a:lnTo>
                      <a:pt x="564" y="270"/>
                    </a:lnTo>
                    <a:lnTo>
                      <a:pt x="564" y="264"/>
                    </a:lnTo>
                    <a:lnTo>
                      <a:pt x="558" y="264"/>
                    </a:lnTo>
                    <a:lnTo>
                      <a:pt x="558" y="258"/>
                    </a:lnTo>
                    <a:lnTo>
                      <a:pt x="552" y="258"/>
                    </a:lnTo>
                    <a:lnTo>
                      <a:pt x="552" y="252"/>
                    </a:lnTo>
                    <a:lnTo>
                      <a:pt x="546" y="252"/>
                    </a:lnTo>
                    <a:lnTo>
                      <a:pt x="546" y="246"/>
                    </a:lnTo>
                    <a:lnTo>
                      <a:pt x="546" y="240"/>
                    </a:lnTo>
                    <a:lnTo>
                      <a:pt x="552" y="240"/>
                    </a:lnTo>
                    <a:lnTo>
                      <a:pt x="546" y="240"/>
                    </a:lnTo>
                    <a:lnTo>
                      <a:pt x="546" y="234"/>
                    </a:lnTo>
                    <a:lnTo>
                      <a:pt x="546" y="228"/>
                    </a:lnTo>
                    <a:lnTo>
                      <a:pt x="546" y="222"/>
                    </a:lnTo>
                    <a:lnTo>
                      <a:pt x="540" y="222"/>
                    </a:lnTo>
                    <a:lnTo>
                      <a:pt x="540" y="216"/>
                    </a:lnTo>
                    <a:lnTo>
                      <a:pt x="540" y="210"/>
                    </a:lnTo>
                    <a:lnTo>
                      <a:pt x="534" y="210"/>
                    </a:lnTo>
                    <a:lnTo>
                      <a:pt x="528" y="210"/>
                    </a:lnTo>
                    <a:lnTo>
                      <a:pt x="522" y="210"/>
                    </a:lnTo>
                    <a:lnTo>
                      <a:pt x="522" y="204"/>
                    </a:lnTo>
                    <a:lnTo>
                      <a:pt x="528" y="204"/>
                    </a:lnTo>
                    <a:lnTo>
                      <a:pt x="528" y="210"/>
                    </a:lnTo>
                    <a:lnTo>
                      <a:pt x="528" y="204"/>
                    </a:lnTo>
                    <a:lnTo>
                      <a:pt x="534" y="204"/>
                    </a:lnTo>
                    <a:lnTo>
                      <a:pt x="540" y="204"/>
                    </a:lnTo>
                    <a:lnTo>
                      <a:pt x="534" y="204"/>
                    </a:lnTo>
                    <a:lnTo>
                      <a:pt x="534" y="198"/>
                    </a:lnTo>
                    <a:lnTo>
                      <a:pt x="540" y="198"/>
                    </a:lnTo>
                    <a:lnTo>
                      <a:pt x="540" y="192"/>
                    </a:lnTo>
                    <a:lnTo>
                      <a:pt x="546" y="192"/>
                    </a:lnTo>
                    <a:lnTo>
                      <a:pt x="546" y="186"/>
                    </a:lnTo>
                    <a:lnTo>
                      <a:pt x="552" y="186"/>
                    </a:lnTo>
                    <a:lnTo>
                      <a:pt x="558" y="186"/>
                    </a:lnTo>
                    <a:lnTo>
                      <a:pt x="558" y="192"/>
                    </a:lnTo>
                    <a:lnTo>
                      <a:pt x="552" y="192"/>
                    </a:lnTo>
                    <a:lnTo>
                      <a:pt x="552" y="198"/>
                    </a:lnTo>
                    <a:lnTo>
                      <a:pt x="558" y="198"/>
                    </a:lnTo>
                    <a:lnTo>
                      <a:pt x="564" y="198"/>
                    </a:lnTo>
                    <a:lnTo>
                      <a:pt x="564" y="192"/>
                    </a:lnTo>
                    <a:lnTo>
                      <a:pt x="558" y="192"/>
                    </a:lnTo>
                    <a:lnTo>
                      <a:pt x="564" y="192"/>
                    </a:lnTo>
                    <a:lnTo>
                      <a:pt x="570" y="192"/>
                    </a:lnTo>
                    <a:lnTo>
                      <a:pt x="570" y="186"/>
                    </a:lnTo>
                    <a:lnTo>
                      <a:pt x="564" y="186"/>
                    </a:lnTo>
                    <a:lnTo>
                      <a:pt x="564" y="192"/>
                    </a:lnTo>
                    <a:lnTo>
                      <a:pt x="564" y="186"/>
                    </a:lnTo>
                    <a:lnTo>
                      <a:pt x="558" y="186"/>
                    </a:lnTo>
                    <a:lnTo>
                      <a:pt x="558" y="180"/>
                    </a:lnTo>
                    <a:lnTo>
                      <a:pt x="564" y="180"/>
                    </a:lnTo>
                    <a:lnTo>
                      <a:pt x="564" y="186"/>
                    </a:lnTo>
                    <a:lnTo>
                      <a:pt x="564" y="180"/>
                    </a:lnTo>
                    <a:lnTo>
                      <a:pt x="570" y="180"/>
                    </a:lnTo>
                    <a:lnTo>
                      <a:pt x="570" y="186"/>
                    </a:lnTo>
                    <a:lnTo>
                      <a:pt x="570" y="192"/>
                    </a:lnTo>
                    <a:lnTo>
                      <a:pt x="570" y="186"/>
                    </a:lnTo>
                    <a:lnTo>
                      <a:pt x="570" y="192"/>
                    </a:lnTo>
                    <a:lnTo>
                      <a:pt x="576" y="186"/>
                    </a:lnTo>
                    <a:lnTo>
                      <a:pt x="576" y="180"/>
                    </a:lnTo>
                    <a:lnTo>
                      <a:pt x="570" y="180"/>
                    </a:lnTo>
                    <a:lnTo>
                      <a:pt x="576" y="180"/>
                    </a:lnTo>
                    <a:lnTo>
                      <a:pt x="576" y="174"/>
                    </a:lnTo>
                    <a:lnTo>
                      <a:pt x="582" y="174"/>
                    </a:lnTo>
                    <a:lnTo>
                      <a:pt x="588" y="174"/>
                    </a:lnTo>
                    <a:lnTo>
                      <a:pt x="582" y="174"/>
                    </a:lnTo>
                    <a:lnTo>
                      <a:pt x="582" y="180"/>
                    </a:lnTo>
                    <a:lnTo>
                      <a:pt x="582" y="186"/>
                    </a:lnTo>
                    <a:lnTo>
                      <a:pt x="582" y="192"/>
                    </a:lnTo>
                    <a:lnTo>
                      <a:pt x="582" y="186"/>
                    </a:lnTo>
                    <a:lnTo>
                      <a:pt x="588" y="186"/>
                    </a:lnTo>
                    <a:lnTo>
                      <a:pt x="588" y="192"/>
                    </a:lnTo>
                    <a:lnTo>
                      <a:pt x="588" y="198"/>
                    </a:lnTo>
                    <a:lnTo>
                      <a:pt x="582" y="198"/>
                    </a:lnTo>
                    <a:lnTo>
                      <a:pt x="576" y="198"/>
                    </a:lnTo>
                    <a:lnTo>
                      <a:pt x="582" y="198"/>
                    </a:lnTo>
                    <a:lnTo>
                      <a:pt x="582" y="192"/>
                    </a:lnTo>
                    <a:lnTo>
                      <a:pt x="588" y="192"/>
                    </a:lnTo>
                    <a:lnTo>
                      <a:pt x="582" y="192"/>
                    </a:lnTo>
                    <a:lnTo>
                      <a:pt x="576" y="192"/>
                    </a:lnTo>
                    <a:lnTo>
                      <a:pt x="576" y="198"/>
                    </a:lnTo>
                    <a:lnTo>
                      <a:pt x="570" y="198"/>
                    </a:lnTo>
                    <a:lnTo>
                      <a:pt x="570" y="204"/>
                    </a:lnTo>
                    <a:lnTo>
                      <a:pt x="564" y="204"/>
                    </a:lnTo>
                    <a:lnTo>
                      <a:pt x="564" y="210"/>
                    </a:lnTo>
                    <a:lnTo>
                      <a:pt x="570" y="210"/>
                    </a:lnTo>
                    <a:lnTo>
                      <a:pt x="570" y="204"/>
                    </a:lnTo>
                    <a:lnTo>
                      <a:pt x="570" y="210"/>
                    </a:lnTo>
                    <a:lnTo>
                      <a:pt x="570" y="216"/>
                    </a:lnTo>
                    <a:lnTo>
                      <a:pt x="576" y="216"/>
                    </a:lnTo>
                    <a:lnTo>
                      <a:pt x="576" y="210"/>
                    </a:lnTo>
                    <a:lnTo>
                      <a:pt x="576" y="204"/>
                    </a:lnTo>
                    <a:lnTo>
                      <a:pt x="576" y="198"/>
                    </a:lnTo>
                    <a:lnTo>
                      <a:pt x="582" y="204"/>
                    </a:lnTo>
                    <a:lnTo>
                      <a:pt x="582" y="198"/>
                    </a:lnTo>
                    <a:lnTo>
                      <a:pt x="582" y="204"/>
                    </a:lnTo>
                    <a:lnTo>
                      <a:pt x="588" y="204"/>
                    </a:lnTo>
                    <a:lnTo>
                      <a:pt x="588" y="210"/>
                    </a:lnTo>
                    <a:lnTo>
                      <a:pt x="582" y="210"/>
                    </a:lnTo>
                    <a:lnTo>
                      <a:pt x="582" y="216"/>
                    </a:lnTo>
                    <a:lnTo>
                      <a:pt x="576" y="216"/>
                    </a:lnTo>
                    <a:lnTo>
                      <a:pt x="576" y="210"/>
                    </a:lnTo>
                    <a:lnTo>
                      <a:pt x="576" y="216"/>
                    </a:lnTo>
                    <a:lnTo>
                      <a:pt x="576" y="222"/>
                    </a:lnTo>
                    <a:lnTo>
                      <a:pt x="582" y="222"/>
                    </a:lnTo>
                    <a:lnTo>
                      <a:pt x="582" y="216"/>
                    </a:lnTo>
                    <a:lnTo>
                      <a:pt x="588" y="216"/>
                    </a:lnTo>
                    <a:lnTo>
                      <a:pt x="588" y="222"/>
                    </a:lnTo>
                    <a:lnTo>
                      <a:pt x="594" y="222"/>
                    </a:lnTo>
                    <a:lnTo>
                      <a:pt x="594" y="216"/>
                    </a:lnTo>
                    <a:lnTo>
                      <a:pt x="588" y="216"/>
                    </a:lnTo>
                    <a:lnTo>
                      <a:pt x="588" y="210"/>
                    </a:lnTo>
                    <a:lnTo>
                      <a:pt x="594" y="210"/>
                    </a:lnTo>
                    <a:lnTo>
                      <a:pt x="594" y="216"/>
                    </a:lnTo>
                    <a:lnTo>
                      <a:pt x="600" y="216"/>
                    </a:lnTo>
                    <a:lnTo>
                      <a:pt x="600" y="222"/>
                    </a:lnTo>
                    <a:lnTo>
                      <a:pt x="594" y="222"/>
                    </a:lnTo>
                    <a:lnTo>
                      <a:pt x="594" y="228"/>
                    </a:lnTo>
                    <a:lnTo>
                      <a:pt x="600" y="228"/>
                    </a:lnTo>
                    <a:lnTo>
                      <a:pt x="600" y="222"/>
                    </a:lnTo>
                    <a:lnTo>
                      <a:pt x="606" y="222"/>
                    </a:lnTo>
                    <a:lnTo>
                      <a:pt x="606" y="228"/>
                    </a:lnTo>
                    <a:lnTo>
                      <a:pt x="606" y="234"/>
                    </a:lnTo>
                    <a:lnTo>
                      <a:pt x="606" y="228"/>
                    </a:lnTo>
                    <a:lnTo>
                      <a:pt x="612" y="234"/>
                    </a:lnTo>
                    <a:lnTo>
                      <a:pt x="612" y="228"/>
                    </a:lnTo>
                    <a:lnTo>
                      <a:pt x="618" y="228"/>
                    </a:lnTo>
                    <a:lnTo>
                      <a:pt x="618" y="234"/>
                    </a:lnTo>
                    <a:lnTo>
                      <a:pt x="618" y="228"/>
                    </a:lnTo>
                    <a:lnTo>
                      <a:pt x="618" y="222"/>
                    </a:lnTo>
                    <a:lnTo>
                      <a:pt x="624" y="222"/>
                    </a:lnTo>
                    <a:lnTo>
                      <a:pt x="624" y="228"/>
                    </a:lnTo>
                    <a:lnTo>
                      <a:pt x="630" y="228"/>
                    </a:lnTo>
                    <a:lnTo>
                      <a:pt x="630" y="222"/>
                    </a:lnTo>
                    <a:lnTo>
                      <a:pt x="624" y="222"/>
                    </a:lnTo>
                    <a:lnTo>
                      <a:pt x="624" y="216"/>
                    </a:lnTo>
                    <a:lnTo>
                      <a:pt x="630" y="216"/>
                    </a:lnTo>
                    <a:lnTo>
                      <a:pt x="630" y="222"/>
                    </a:lnTo>
                    <a:lnTo>
                      <a:pt x="630" y="216"/>
                    </a:lnTo>
                    <a:lnTo>
                      <a:pt x="630" y="210"/>
                    </a:lnTo>
                    <a:lnTo>
                      <a:pt x="624" y="210"/>
                    </a:lnTo>
                    <a:lnTo>
                      <a:pt x="624" y="204"/>
                    </a:lnTo>
                    <a:lnTo>
                      <a:pt x="630" y="204"/>
                    </a:lnTo>
                    <a:lnTo>
                      <a:pt x="630" y="210"/>
                    </a:lnTo>
                    <a:lnTo>
                      <a:pt x="636" y="210"/>
                    </a:lnTo>
                    <a:lnTo>
                      <a:pt x="642" y="210"/>
                    </a:lnTo>
                    <a:lnTo>
                      <a:pt x="648" y="210"/>
                    </a:lnTo>
                    <a:lnTo>
                      <a:pt x="648" y="216"/>
                    </a:lnTo>
                    <a:lnTo>
                      <a:pt x="642" y="216"/>
                    </a:lnTo>
                    <a:lnTo>
                      <a:pt x="642" y="222"/>
                    </a:lnTo>
                    <a:lnTo>
                      <a:pt x="636" y="222"/>
                    </a:lnTo>
                    <a:lnTo>
                      <a:pt x="636" y="228"/>
                    </a:lnTo>
                    <a:lnTo>
                      <a:pt x="642" y="234"/>
                    </a:lnTo>
                    <a:lnTo>
                      <a:pt x="642" y="228"/>
                    </a:lnTo>
                    <a:lnTo>
                      <a:pt x="642" y="234"/>
                    </a:lnTo>
                    <a:lnTo>
                      <a:pt x="648" y="228"/>
                    </a:lnTo>
                    <a:lnTo>
                      <a:pt x="648" y="234"/>
                    </a:lnTo>
                    <a:lnTo>
                      <a:pt x="654" y="234"/>
                    </a:lnTo>
                    <a:lnTo>
                      <a:pt x="654" y="228"/>
                    </a:lnTo>
                    <a:lnTo>
                      <a:pt x="660" y="228"/>
                    </a:lnTo>
                    <a:lnTo>
                      <a:pt x="660" y="222"/>
                    </a:lnTo>
                    <a:lnTo>
                      <a:pt x="660" y="228"/>
                    </a:lnTo>
                    <a:lnTo>
                      <a:pt x="666" y="228"/>
                    </a:lnTo>
                    <a:lnTo>
                      <a:pt x="672" y="228"/>
                    </a:lnTo>
                    <a:lnTo>
                      <a:pt x="678" y="228"/>
                    </a:lnTo>
                    <a:lnTo>
                      <a:pt x="684" y="228"/>
                    </a:lnTo>
                    <a:lnTo>
                      <a:pt x="690" y="228"/>
                    </a:lnTo>
                    <a:lnTo>
                      <a:pt x="690" y="234"/>
                    </a:lnTo>
                    <a:lnTo>
                      <a:pt x="696" y="234"/>
                    </a:lnTo>
                    <a:lnTo>
                      <a:pt x="690" y="228"/>
                    </a:lnTo>
                    <a:lnTo>
                      <a:pt x="696" y="228"/>
                    </a:lnTo>
                    <a:lnTo>
                      <a:pt x="696" y="222"/>
                    </a:lnTo>
                    <a:lnTo>
                      <a:pt x="696" y="216"/>
                    </a:lnTo>
                    <a:lnTo>
                      <a:pt x="696" y="210"/>
                    </a:lnTo>
                    <a:lnTo>
                      <a:pt x="696" y="216"/>
                    </a:lnTo>
                    <a:lnTo>
                      <a:pt x="702" y="216"/>
                    </a:lnTo>
                    <a:lnTo>
                      <a:pt x="702" y="210"/>
                    </a:lnTo>
                    <a:lnTo>
                      <a:pt x="702" y="216"/>
                    </a:lnTo>
                    <a:lnTo>
                      <a:pt x="702" y="210"/>
                    </a:lnTo>
                    <a:lnTo>
                      <a:pt x="702" y="216"/>
                    </a:lnTo>
                    <a:lnTo>
                      <a:pt x="702" y="210"/>
                    </a:lnTo>
                    <a:lnTo>
                      <a:pt x="708" y="210"/>
                    </a:lnTo>
                    <a:lnTo>
                      <a:pt x="714" y="210"/>
                    </a:lnTo>
                    <a:lnTo>
                      <a:pt x="708" y="210"/>
                    </a:lnTo>
                    <a:lnTo>
                      <a:pt x="714" y="210"/>
                    </a:lnTo>
                    <a:lnTo>
                      <a:pt x="714" y="204"/>
                    </a:lnTo>
                    <a:lnTo>
                      <a:pt x="714" y="198"/>
                    </a:lnTo>
                    <a:lnTo>
                      <a:pt x="720" y="198"/>
                    </a:lnTo>
                    <a:lnTo>
                      <a:pt x="726" y="198"/>
                    </a:lnTo>
                    <a:lnTo>
                      <a:pt x="732" y="198"/>
                    </a:lnTo>
                    <a:lnTo>
                      <a:pt x="732" y="192"/>
                    </a:lnTo>
                    <a:lnTo>
                      <a:pt x="738" y="192"/>
                    </a:lnTo>
                    <a:lnTo>
                      <a:pt x="744" y="192"/>
                    </a:lnTo>
                    <a:lnTo>
                      <a:pt x="750" y="192"/>
                    </a:lnTo>
                    <a:lnTo>
                      <a:pt x="750" y="198"/>
                    </a:lnTo>
                    <a:lnTo>
                      <a:pt x="750" y="204"/>
                    </a:lnTo>
                    <a:lnTo>
                      <a:pt x="750" y="210"/>
                    </a:lnTo>
                    <a:lnTo>
                      <a:pt x="756" y="210"/>
                    </a:lnTo>
                    <a:lnTo>
                      <a:pt x="756" y="216"/>
                    </a:lnTo>
                    <a:lnTo>
                      <a:pt x="762" y="216"/>
                    </a:lnTo>
                    <a:lnTo>
                      <a:pt x="762" y="222"/>
                    </a:lnTo>
                    <a:lnTo>
                      <a:pt x="756" y="222"/>
                    </a:lnTo>
                    <a:lnTo>
                      <a:pt x="756" y="228"/>
                    </a:lnTo>
                    <a:lnTo>
                      <a:pt x="750" y="228"/>
                    </a:lnTo>
                    <a:lnTo>
                      <a:pt x="750" y="234"/>
                    </a:lnTo>
                    <a:lnTo>
                      <a:pt x="744" y="234"/>
                    </a:lnTo>
                    <a:lnTo>
                      <a:pt x="744" y="240"/>
                    </a:lnTo>
                    <a:lnTo>
                      <a:pt x="744" y="246"/>
                    </a:lnTo>
                    <a:lnTo>
                      <a:pt x="750" y="246"/>
                    </a:lnTo>
                    <a:lnTo>
                      <a:pt x="756" y="246"/>
                    </a:lnTo>
                    <a:lnTo>
                      <a:pt x="756" y="240"/>
                    </a:lnTo>
                    <a:lnTo>
                      <a:pt x="756" y="246"/>
                    </a:lnTo>
                    <a:lnTo>
                      <a:pt x="756" y="240"/>
                    </a:lnTo>
                    <a:lnTo>
                      <a:pt x="762" y="240"/>
                    </a:lnTo>
                    <a:lnTo>
                      <a:pt x="762" y="234"/>
                    </a:lnTo>
                    <a:lnTo>
                      <a:pt x="762" y="240"/>
                    </a:lnTo>
                    <a:lnTo>
                      <a:pt x="762" y="234"/>
                    </a:lnTo>
                    <a:lnTo>
                      <a:pt x="762" y="240"/>
                    </a:lnTo>
                    <a:lnTo>
                      <a:pt x="768" y="240"/>
                    </a:lnTo>
                    <a:lnTo>
                      <a:pt x="762" y="240"/>
                    </a:lnTo>
                    <a:lnTo>
                      <a:pt x="762" y="246"/>
                    </a:lnTo>
                    <a:lnTo>
                      <a:pt x="768" y="246"/>
                    </a:lnTo>
                    <a:lnTo>
                      <a:pt x="762" y="246"/>
                    </a:lnTo>
                    <a:lnTo>
                      <a:pt x="768" y="246"/>
                    </a:lnTo>
                    <a:lnTo>
                      <a:pt x="762" y="246"/>
                    </a:lnTo>
                    <a:lnTo>
                      <a:pt x="768" y="246"/>
                    </a:lnTo>
                    <a:lnTo>
                      <a:pt x="768" y="252"/>
                    </a:lnTo>
                    <a:lnTo>
                      <a:pt x="768" y="246"/>
                    </a:lnTo>
                    <a:lnTo>
                      <a:pt x="774" y="246"/>
                    </a:lnTo>
                    <a:lnTo>
                      <a:pt x="774" y="240"/>
                    </a:lnTo>
                    <a:lnTo>
                      <a:pt x="768" y="240"/>
                    </a:lnTo>
                    <a:lnTo>
                      <a:pt x="774" y="240"/>
                    </a:lnTo>
                    <a:lnTo>
                      <a:pt x="768" y="240"/>
                    </a:lnTo>
                    <a:lnTo>
                      <a:pt x="768" y="234"/>
                    </a:lnTo>
                    <a:lnTo>
                      <a:pt x="774" y="234"/>
                    </a:lnTo>
                    <a:lnTo>
                      <a:pt x="774" y="240"/>
                    </a:lnTo>
                    <a:lnTo>
                      <a:pt x="780" y="240"/>
                    </a:lnTo>
                    <a:lnTo>
                      <a:pt x="780" y="234"/>
                    </a:lnTo>
                    <a:lnTo>
                      <a:pt x="786" y="234"/>
                    </a:lnTo>
                    <a:lnTo>
                      <a:pt x="780" y="234"/>
                    </a:lnTo>
                    <a:lnTo>
                      <a:pt x="780" y="228"/>
                    </a:lnTo>
                    <a:lnTo>
                      <a:pt x="786" y="228"/>
                    </a:lnTo>
                    <a:lnTo>
                      <a:pt x="786" y="234"/>
                    </a:lnTo>
                    <a:lnTo>
                      <a:pt x="792" y="234"/>
                    </a:lnTo>
                    <a:lnTo>
                      <a:pt x="792" y="240"/>
                    </a:lnTo>
                    <a:lnTo>
                      <a:pt x="792" y="234"/>
                    </a:lnTo>
                    <a:lnTo>
                      <a:pt x="792" y="240"/>
                    </a:lnTo>
                    <a:lnTo>
                      <a:pt x="798" y="240"/>
                    </a:lnTo>
                    <a:lnTo>
                      <a:pt x="804" y="240"/>
                    </a:lnTo>
                    <a:lnTo>
                      <a:pt x="804" y="234"/>
                    </a:lnTo>
                    <a:lnTo>
                      <a:pt x="798" y="234"/>
                    </a:lnTo>
                    <a:lnTo>
                      <a:pt x="798" y="228"/>
                    </a:lnTo>
                    <a:lnTo>
                      <a:pt x="792" y="228"/>
                    </a:lnTo>
                    <a:lnTo>
                      <a:pt x="798" y="228"/>
                    </a:lnTo>
                    <a:lnTo>
                      <a:pt x="804" y="228"/>
                    </a:lnTo>
                    <a:lnTo>
                      <a:pt x="810" y="228"/>
                    </a:lnTo>
                    <a:lnTo>
                      <a:pt x="810" y="234"/>
                    </a:lnTo>
                    <a:lnTo>
                      <a:pt x="810" y="228"/>
                    </a:lnTo>
                    <a:lnTo>
                      <a:pt x="810" y="222"/>
                    </a:lnTo>
                    <a:lnTo>
                      <a:pt x="816" y="222"/>
                    </a:lnTo>
                    <a:lnTo>
                      <a:pt x="822" y="222"/>
                    </a:lnTo>
                    <a:lnTo>
                      <a:pt x="822" y="228"/>
                    </a:lnTo>
                    <a:lnTo>
                      <a:pt x="816" y="228"/>
                    </a:lnTo>
                    <a:lnTo>
                      <a:pt x="816" y="234"/>
                    </a:lnTo>
                    <a:lnTo>
                      <a:pt x="816" y="240"/>
                    </a:lnTo>
                    <a:lnTo>
                      <a:pt x="810" y="240"/>
                    </a:lnTo>
                    <a:lnTo>
                      <a:pt x="810" y="246"/>
                    </a:lnTo>
                    <a:lnTo>
                      <a:pt x="810" y="252"/>
                    </a:lnTo>
                    <a:lnTo>
                      <a:pt x="804" y="252"/>
                    </a:lnTo>
                    <a:lnTo>
                      <a:pt x="810" y="252"/>
                    </a:lnTo>
                    <a:lnTo>
                      <a:pt x="810" y="258"/>
                    </a:lnTo>
                    <a:lnTo>
                      <a:pt x="810" y="252"/>
                    </a:lnTo>
                    <a:lnTo>
                      <a:pt x="816" y="252"/>
                    </a:lnTo>
                    <a:lnTo>
                      <a:pt x="822" y="252"/>
                    </a:lnTo>
                    <a:lnTo>
                      <a:pt x="828" y="252"/>
                    </a:lnTo>
                    <a:lnTo>
                      <a:pt x="828" y="258"/>
                    </a:lnTo>
                    <a:lnTo>
                      <a:pt x="828" y="252"/>
                    </a:lnTo>
                    <a:lnTo>
                      <a:pt x="834" y="252"/>
                    </a:lnTo>
                    <a:lnTo>
                      <a:pt x="834" y="258"/>
                    </a:lnTo>
                    <a:lnTo>
                      <a:pt x="834" y="252"/>
                    </a:lnTo>
                    <a:lnTo>
                      <a:pt x="834" y="258"/>
                    </a:lnTo>
                    <a:lnTo>
                      <a:pt x="834" y="252"/>
                    </a:lnTo>
                    <a:lnTo>
                      <a:pt x="840" y="252"/>
                    </a:lnTo>
                    <a:lnTo>
                      <a:pt x="840" y="258"/>
                    </a:lnTo>
                    <a:lnTo>
                      <a:pt x="846" y="258"/>
                    </a:lnTo>
                    <a:lnTo>
                      <a:pt x="852" y="258"/>
                    </a:lnTo>
                    <a:lnTo>
                      <a:pt x="852" y="252"/>
                    </a:lnTo>
                    <a:lnTo>
                      <a:pt x="852" y="258"/>
                    </a:lnTo>
                    <a:lnTo>
                      <a:pt x="858" y="258"/>
                    </a:lnTo>
                    <a:lnTo>
                      <a:pt x="858" y="252"/>
                    </a:lnTo>
                    <a:lnTo>
                      <a:pt x="852" y="252"/>
                    </a:lnTo>
                    <a:lnTo>
                      <a:pt x="858" y="252"/>
                    </a:lnTo>
                    <a:lnTo>
                      <a:pt x="858" y="246"/>
                    </a:lnTo>
                    <a:lnTo>
                      <a:pt x="858" y="240"/>
                    </a:lnTo>
                    <a:lnTo>
                      <a:pt x="864" y="240"/>
                    </a:lnTo>
                    <a:lnTo>
                      <a:pt x="864" y="234"/>
                    </a:lnTo>
                    <a:lnTo>
                      <a:pt x="858" y="234"/>
                    </a:lnTo>
                    <a:lnTo>
                      <a:pt x="858" y="228"/>
                    </a:lnTo>
                    <a:lnTo>
                      <a:pt x="864" y="228"/>
                    </a:lnTo>
                    <a:lnTo>
                      <a:pt x="864" y="222"/>
                    </a:lnTo>
                    <a:lnTo>
                      <a:pt x="870" y="222"/>
                    </a:lnTo>
                    <a:lnTo>
                      <a:pt x="870" y="228"/>
                    </a:lnTo>
                    <a:lnTo>
                      <a:pt x="870" y="222"/>
                    </a:lnTo>
                    <a:lnTo>
                      <a:pt x="876" y="222"/>
                    </a:lnTo>
                    <a:lnTo>
                      <a:pt x="876" y="228"/>
                    </a:lnTo>
                    <a:lnTo>
                      <a:pt x="882" y="228"/>
                    </a:lnTo>
                    <a:lnTo>
                      <a:pt x="882" y="234"/>
                    </a:lnTo>
                    <a:lnTo>
                      <a:pt x="888" y="234"/>
                    </a:lnTo>
                    <a:lnTo>
                      <a:pt x="894" y="234"/>
                    </a:lnTo>
                    <a:lnTo>
                      <a:pt x="888" y="234"/>
                    </a:lnTo>
                    <a:lnTo>
                      <a:pt x="888" y="228"/>
                    </a:lnTo>
                    <a:lnTo>
                      <a:pt x="894" y="228"/>
                    </a:lnTo>
                    <a:lnTo>
                      <a:pt x="894" y="222"/>
                    </a:lnTo>
                    <a:lnTo>
                      <a:pt x="900" y="222"/>
                    </a:lnTo>
                    <a:lnTo>
                      <a:pt x="906" y="222"/>
                    </a:lnTo>
                    <a:lnTo>
                      <a:pt x="906" y="228"/>
                    </a:lnTo>
                    <a:lnTo>
                      <a:pt x="900" y="228"/>
                    </a:lnTo>
                    <a:lnTo>
                      <a:pt x="900" y="234"/>
                    </a:lnTo>
                    <a:lnTo>
                      <a:pt x="906" y="234"/>
                    </a:lnTo>
                    <a:lnTo>
                      <a:pt x="906" y="228"/>
                    </a:lnTo>
                    <a:lnTo>
                      <a:pt x="906" y="234"/>
                    </a:lnTo>
                    <a:lnTo>
                      <a:pt x="900" y="234"/>
                    </a:lnTo>
                    <a:lnTo>
                      <a:pt x="900" y="240"/>
                    </a:lnTo>
                    <a:lnTo>
                      <a:pt x="906" y="240"/>
                    </a:lnTo>
                    <a:lnTo>
                      <a:pt x="906" y="234"/>
                    </a:lnTo>
                    <a:lnTo>
                      <a:pt x="912" y="234"/>
                    </a:lnTo>
                    <a:lnTo>
                      <a:pt x="912" y="240"/>
                    </a:lnTo>
                    <a:lnTo>
                      <a:pt x="918" y="240"/>
                    </a:lnTo>
                    <a:lnTo>
                      <a:pt x="924" y="240"/>
                    </a:lnTo>
                    <a:lnTo>
                      <a:pt x="924" y="246"/>
                    </a:lnTo>
                    <a:lnTo>
                      <a:pt x="930" y="246"/>
                    </a:lnTo>
                    <a:lnTo>
                      <a:pt x="936" y="246"/>
                    </a:lnTo>
                    <a:lnTo>
                      <a:pt x="936" y="252"/>
                    </a:lnTo>
                    <a:lnTo>
                      <a:pt x="942" y="252"/>
                    </a:lnTo>
                    <a:lnTo>
                      <a:pt x="942" y="258"/>
                    </a:lnTo>
                    <a:lnTo>
                      <a:pt x="936" y="258"/>
                    </a:lnTo>
                    <a:lnTo>
                      <a:pt x="936" y="264"/>
                    </a:lnTo>
                    <a:lnTo>
                      <a:pt x="942" y="264"/>
                    </a:lnTo>
                    <a:lnTo>
                      <a:pt x="942" y="270"/>
                    </a:lnTo>
                    <a:lnTo>
                      <a:pt x="948" y="270"/>
                    </a:lnTo>
                    <a:lnTo>
                      <a:pt x="948" y="264"/>
                    </a:lnTo>
                    <a:lnTo>
                      <a:pt x="948" y="270"/>
                    </a:lnTo>
                    <a:lnTo>
                      <a:pt x="948" y="264"/>
                    </a:lnTo>
                    <a:lnTo>
                      <a:pt x="954" y="264"/>
                    </a:lnTo>
                    <a:lnTo>
                      <a:pt x="954" y="270"/>
                    </a:lnTo>
                    <a:lnTo>
                      <a:pt x="960" y="270"/>
                    </a:lnTo>
                    <a:lnTo>
                      <a:pt x="966" y="270"/>
                    </a:lnTo>
                    <a:lnTo>
                      <a:pt x="966" y="276"/>
                    </a:lnTo>
                    <a:lnTo>
                      <a:pt x="966" y="270"/>
                    </a:lnTo>
                    <a:lnTo>
                      <a:pt x="966" y="276"/>
                    </a:lnTo>
                    <a:lnTo>
                      <a:pt x="972" y="276"/>
                    </a:lnTo>
                    <a:lnTo>
                      <a:pt x="972" y="270"/>
                    </a:lnTo>
                    <a:lnTo>
                      <a:pt x="972" y="276"/>
                    </a:lnTo>
                    <a:lnTo>
                      <a:pt x="972" y="270"/>
                    </a:lnTo>
                    <a:lnTo>
                      <a:pt x="978" y="270"/>
                    </a:lnTo>
                    <a:lnTo>
                      <a:pt x="978" y="276"/>
                    </a:lnTo>
                    <a:lnTo>
                      <a:pt x="972" y="276"/>
                    </a:lnTo>
                    <a:lnTo>
                      <a:pt x="978" y="276"/>
                    </a:lnTo>
                    <a:lnTo>
                      <a:pt x="972" y="276"/>
                    </a:lnTo>
                    <a:lnTo>
                      <a:pt x="972" y="282"/>
                    </a:lnTo>
                    <a:lnTo>
                      <a:pt x="978" y="282"/>
                    </a:lnTo>
                    <a:lnTo>
                      <a:pt x="972" y="282"/>
                    </a:lnTo>
                    <a:lnTo>
                      <a:pt x="972" y="276"/>
                    </a:lnTo>
                    <a:lnTo>
                      <a:pt x="978" y="276"/>
                    </a:lnTo>
                    <a:lnTo>
                      <a:pt x="978" y="282"/>
                    </a:lnTo>
                    <a:lnTo>
                      <a:pt x="978" y="276"/>
                    </a:lnTo>
                    <a:lnTo>
                      <a:pt x="978" y="282"/>
                    </a:lnTo>
                    <a:lnTo>
                      <a:pt x="978" y="276"/>
                    </a:lnTo>
                    <a:lnTo>
                      <a:pt x="978" y="282"/>
                    </a:lnTo>
                    <a:lnTo>
                      <a:pt x="978" y="288"/>
                    </a:lnTo>
                    <a:lnTo>
                      <a:pt x="984" y="288"/>
                    </a:lnTo>
                    <a:lnTo>
                      <a:pt x="984" y="294"/>
                    </a:lnTo>
                    <a:lnTo>
                      <a:pt x="984" y="300"/>
                    </a:lnTo>
                    <a:lnTo>
                      <a:pt x="990" y="300"/>
                    </a:lnTo>
                    <a:lnTo>
                      <a:pt x="990" y="294"/>
                    </a:lnTo>
                    <a:lnTo>
                      <a:pt x="990" y="300"/>
                    </a:lnTo>
                    <a:lnTo>
                      <a:pt x="996" y="300"/>
                    </a:lnTo>
                    <a:lnTo>
                      <a:pt x="1002" y="300"/>
                    </a:lnTo>
                    <a:lnTo>
                      <a:pt x="1002" y="294"/>
                    </a:lnTo>
                    <a:lnTo>
                      <a:pt x="996" y="294"/>
                    </a:lnTo>
                    <a:lnTo>
                      <a:pt x="1002" y="294"/>
                    </a:lnTo>
                    <a:lnTo>
                      <a:pt x="996" y="294"/>
                    </a:lnTo>
                    <a:lnTo>
                      <a:pt x="996" y="288"/>
                    </a:lnTo>
                    <a:lnTo>
                      <a:pt x="1002" y="288"/>
                    </a:lnTo>
                    <a:lnTo>
                      <a:pt x="1002" y="282"/>
                    </a:lnTo>
                    <a:lnTo>
                      <a:pt x="1002" y="288"/>
                    </a:lnTo>
                    <a:lnTo>
                      <a:pt x="1008" y="288"/>
                    </a:lnTo>
                    <a:lnTo>
                      <a:pt x="1014" y="288"/>
                    </a:lnTo>
                    <a:lnTo>
                      <a:pt x="1014" y="294"/>
                    </a:lnTo>
                    <a:lnTo>
                      <a:pt x="1020" y="288"/>
                    </a:lnTo>
                    <a:lnTo>
                      <a:pt x="1026" y="288"/>
                    </a:lnTo>
                    <a:lnTo>
                      <a:pt x="1032" y="288"/>
                    </a:lnTo>
                    <a:lnTo>
                      <a:pt x="1032" y="294"/>
                    </a:lnTo>
                    <a:lnTo>
                      <a:pt x="1038" y="294"/>
                    </a:lnTo>
                    <a:lnTo>
                      <a:pt x="1032" y="294"/>
                    </a:lnTo>
                    <a:lnTo>
                      <a:pt x="1038" y="294"/>
                    </a:lnTo>
                    <a:lnTo>
                      <a:pt x="1044" y="294"/>
                    </a:lnTo>
                    <a:lnTo>
                      <a:pt x="1044" y="300"/>
                    </a:lnTo>
                    <a:lnTo>
                      <a:pt x="1044" y="306"/>
                    </a:lnTo>
                    <a:lnTo>
                      <a:pt x="1038" y="306"/>
                    </a:lnTo>
                    <a:lnTo>
                      <a:pt x="1038" y="312"/>
                    </a:lnTo>
                    <a:lnTo>
                      <a:pt x="1038" y="318"/>
                    </a:lnTo>
                    <a:lnTo>
                      <a:pt x="1038" y="324"/>
                    </a:lnTo>
                    <a:lnTo>
                      <a:pt x="1032" y="324"/>
                    </a:lnTo>
                    <a:lnTo>
                      <a:pt x="1038" y="324"/>
                    </a:lnTo>
                    <a:lnTo>
                      <a:pt x="1032" y="324"/>
                    </a:lnTo>
                    <a:lnTo>
                      <a:pt x="1032" y="330"/>
                    </a:lnTo>
                    <a:lnTo>
                      <a:pt x="1038" y="330"/>
                    </a:lnTo>
                    <a:lnTo>
                      <a:pt x="1044" y="330"/>
                    </a:lnTo>
                    <a:lnTo>
                      <a:pt x="1038" y="330"/>
                    </a:lnTo>
                    <a:lnTo>
                      <a:pt x="1044" y="330"/>
                    </a:lnTo>
                    <a:lnTo>
                      <a:pt x="1038" y="330"/>
                    </a:lnTo>
                    <a:lnTo>
                      <a:pt x="1044" y="330"/>
                    </a:lnTo>
                    <a:lnTo>
                      <a:pt x="1044" y="336"/>
                    </a:lnTo>
                    <a:lnTo>
                      <a:pt x="1038" y="336"/>
                    </a:lnTo>
                    <a:lnTo>
                      <a:pt x="1044" y="336"/>
                    </a:lnTo>
                    <a:lnTo>
                      <a:pt x="1038" y="336"/>
                    </a:lnTo>
                    <a:lnTo>
                      <a:pt x="1044" y="336"/>
                    </a:lnTo>
                    <a:lnTo>
                      <a:pt x="1038" y="336"/>
                    </a:lnTo>
                    <a:lnTo>
                      <a:pt x="1044" y="336"/>
                    </a:lnTo>
                    <a:lnTo>
                      <a:pt x="1044" y="342"/>
                    </a:lnTo>
                    <a:lnTo>
                      <a:pt x="1038" y="342"/>
                    </a:lnTo>
                    <a:lnTo>
                      <a:pt x="1038" y="348"/>
                    </a:lnTo>
                    <a:lnTo>
                      <a:pt x="1038" y="354"/>
                    </a:lnTo>
                    <a:lnTo>
                      <a:pt x="1038" y="360"/>
                    </a:lnTo>
                    <a:lnTo>
                      <a:pt x="1032" y="360"/>
                    </a:lnTo>
                    <a:lnTo>
                      <a:pt x="1032" y="354"/>
                    </a:lnTo>
                    <a:lnTo>
                      <a:pt x="1032" y="360"/>
                    </a:lnTo>
                    <a:lnTo>
                      <a:pt x="1026" y="360"/>
                    </a:lnTo>
                    <a:lnTo>
                      <a:pt x="1032" y="360"/>
                    </a:lnTo>
                    <a:lnTo>
                      <a:pt x="1032" y="366"/>
                    </a:lnTo>
                    <a:lnTo>
                      <a:pt x="1038" y="366"/>
                    </a:lnTo>
                    <a:lnTo>
                      <a:pt x="1044" y="366"/>
                    </a:lnTo>
                    <a:lnTo>
                      <a:pt x="1044" y="372"/>
                    </a:lnTo>
                    <a:lnTo>
                      <a:pt x="1038" y="372"/>
                    </a:lnTo>
                    <a:lnTo>
                      <a:pt x="1038" y="378"/>
                    </a:lnTo>
                    <a:lnTo>
                      <a:pt x="1044" y="378"/>
                    </a:lnTo>
                    <a:lnTo>
                      <a:pt x="1044" y="384"/>
                    </a:lnTo>
                    <a:lnTo>
                      <a:pt x="1038" y="384"/>
                    </a:lnTo>
                    <a:lnTo>
                      <a:pt x="1038" y="390"/>
                    </a:lnTo>
                    <a:lnTo>
                      <a:pt x="1032" y="390"/>
                    </a:lnTo>
                    <a:lnTo>
                      <a:pt x="1032" y="384"/>
                    </a:lnTo>
                    <a:lnTo>
                      <a:pt x="1032" y="390"/>
                    </a:lnTo>
                    <a:lnTo>
                      <a:pt x="1026" y="390"/>
                    </a:lnTo>
                    <a:lnTo>
                      <a:pt x="1026" y="396"/>
                    </a:lnTo>
                    <a:lnTo>
                      <a:pt x="1032" y="396"/>
                    </a:lnTo>
                    <a:lnTo>
                      <a:pt x="1026" y="396"/>
                    </a:lnTo>
                    <a:lnTo>
                      <a:pt x="1020" y="396"/>
                    </a:lnTo>
                    <a:lnTo>
                      <a:pt x="1020" y="402"/>
                    </a:lnTo>
                    <a:lnTo>
                      <a:pt x="1014" y="402"/>
                    </a:lnTo>
                    <a:lnTo>
                      <a:pt x="1014" y="408"/>
                    </a:lnTo>
                    <a:lnTo>
                      <a:pt x="1008" y="408"/>
                    </a:lnTo>
                    <a:lnTo>
                      <a:pt x="1008" y="402"/>
                    </a:lnTo>
                    <a:lnTo>
                      <a:pt x="1002" y="402"/>
                    </a:lnTo>
                    <a:lnTo>
                      <a:pt x="996" y="402"/>
                    </a:lnTo>
                    <a:lnTo>
                      <a:pt x="990" y="402"/>
                    </a:lnTo>
                    <a:lnTo>
                      <a:pt x="984" y="402"/>
                    </a:lnTo>
                    <a:lnTo>
                      <a:pt x="978" y="402"/>
                    </a:lnTo>
                    <a:lnTo>
                      <a:pt x="972" y="402"/>
                    </a:lnTo>
                    <a:lnTo>
                      <a:pt x="972" y="396"/>
                    </a:lnTo>
                    <a:lnTo>
                      <a:pt x="978" y="396"/>
                    </a:lnTo>
                    <a:lnTo>
                      <a:pt x="972" y="396"/>
                    </a:lnTo>
                    <a:lnTo>
                      <a:pt x="972" y="402"/>
                    </a:lnTo>
                    <a:lnTo>
                      <a:pt x="966" y="402"/>
                    </a:lnTo>
                    <a:lnTo>
                      <a:pt x="960" y="402"/>
                    </a:lnTo>
                    <a:lnTo>
                      <a:pt x="954" y="402"/>
                    </a:lnTo>
                    <a:lnTo>
                      <a:pt x="954" y="396"/>
                    </a:lnTo>
                    <a:lnTo>
                      <a:pt x="948" y="396"/>
                    </a:lnTo>
                    <a:lnTo>
                      <a:pt x="942" y="396"/>
                    </a:lnTo>
                    <a:lnTo>
                      <a:pt x="936" y="396"/>
                    </a:lnTo>
                    <a:lnTo>
                      <a:pt x="936" y="402"/>
                    </a:lnTo>
                    <a:lnTo>
                      <a:pt x="930" y="402"/>
                    </a:lnTo>
                    <a:lnTo>
                      <a:pt x="924" y="402"/>
                    </a:lnTo>
                    <a:lnTo>
                      <a:pt x="918" y="402"/>
                    </a:lnTo>
                    <a:lnTo>
                      <a:pt x="918" y="396"/>
                    </a:lnTo>
                    <a:lnTo>
                      <a:pt x="912" y="396"/>
                    </a:lnTo>
                    <a:lnTo>
                      <a:pt x="912" y="390"/>
                    </a:lnTo>
                    <a:lnTo>
                      <a:pt x="912" y="384"/>
                    </a:lnTo>
                    <a:lnTo>
                      <a:pt x="906" y="384"/>
                    </a:lnTo>
                    <a:lnTo>
                      <a:pt x="906" y="390"/>
                    </a:lnTo>
                    <a:lnTo>
                      <a:pt x="900" y="390"/>
                    </a:lnTo>
                    <a:lnTo>
                      <a:pt x="906" y="390"/>
                    </a:lnTo>
                    <a:lnTo>
                      <a:pt x="900" y="390"/>
                    </a:lnTo>
                    <a:lnTo>
                      <a:pt x="906" y="396"/>
                    </a:lnTo>
                    <a:lnTo>
                      <a:pt x="900" y="396"/>
                    </a:lnTo>
                    <a:lnTo>
                      <a:pt x="906" y="396"/>
                    </a:lnTo>
                    <a:lnTo>
                      <a:pt x="900" y="396"/>
                    </a:lnTo>
                    <a:lnTo>
                      <a:pt x="906" y="396"/>
                    </a:lnTo>
                    <a:lnTo>
                      <a:pt x="906" y="402"/>
                    </a:lnTo>
                    <a:lnTo>
                      <a:pt x="906" y="408"/>
                    </a:lnTo>
                    <a:lnTo>
                      <a:pt x="912" y="408"/>
                    </a:lnTo>
                    <a:lnTo>
                      <a:pt x="912" y="414"/>
                    </a:lnTo>
                    <a:lnTo>
                      <a:pt x="912" y="420"/>
                    </a:lnTo>
                    <a:lnTo>
                      <a:pt x="906" y="420"/>
                    </a:lnTo>
                    <a:lnTo>
                      <a:pt x="906" y="426"/>
                    </a:lnTo>
                    <a:lnTo>
                      <a:pt x="900" y="426"/>
                    </a:lnTo>
                    <a:lnTo>
                      <a:pt x="906" y="426"/>
                    </a:lnTo>
                    <a:lnTo>
                      <a:pt x="906" y="432"/>
                    </a:lnTo>
                    <a:lnTo>
                      <a:pt x="900" y="432"/>
                    </a:lnTo>
                    <a:lnTo>
                      <a:pt x="900" y="438"/>
                    </a:lnTo>
                    <a:lnTo>
                      <a:pt x="906" y="438"/>
                    </a:lnTo>
                    <a:lnTo>
                      <a:pt x="900" y="438"/>
                    </a:lnTo>
                    <a:lnTo>
                      <a:pt x="906" y="438"/>
                    </a:lnTo>
                    <a:lnTo>
                      <a:pt x="906" y="444"/>
                    </a:lnTo>
                    <a:lnTo>
                      <a:pt x="906" y="438"/>
                    </a:lnTo>
                    <a:lnTo>
                      <a:pt x="912" y="438"/>
                    </a:lnTo>
                    <a:lnTo>
                      <a:pt x="918" y="438"/>
                    </a:lnTo>
                    <a:lnTo>
                      <a:pt x="918" y="432"/>
                    </a:lnTo>
                    <a:lnTo>
                      <a:pt x="924" y="432"/>
                    </a:lnTo>
                    <a:lnTo>
                      <a:pt x="924" y="438"/>
                    </a:lnTo>
                    <a:lnTo>
                      <a:pt x="930" y="438"/>
                    </a:lnTo>
                    <a:lnTo>
                      <a:pt x="936" y="438"/>
                    </a:lnTo>
                    <a:lnTo>
                      <a:pt x="942" y="438"/>
                    </a:lnTo>
                    <a:lnTo>
                      <a:pt x="942" y="444"/>
                    </a:lnTo>
                    <a:lnTo>
                      <a:pt x="948" y="444"/>
                    </a:lnTo>
                    <a:lnTo>
                      <a:pt x="948" y="450"/>
                    </a:lnTo>
                    <a:lnTo>
                      <a:pt x="948" y="456"/>
                    </a:lnTo>
                    <a:lnTo>
                      <a:pt x="948" y="450"/>
                    </a:lnTo>
                    <a:lnTo>
                      <a:pt x="948" y="456"/>
                    </a:lnTo>
                    <a:lnTo>
                      <a:pt x="948" y="450"/>
                    </a:lnTo>
                    <a:lnTo>
                      <a:pt x="954" y="450"/>
                    </a:lnTo>
                    <a:lnTo>
                      <a:pt x="954" y="456"/>
                    </a:lnTo>
                    <a:lnTo>
                      <a:pt x="960" y="456"/>
                    </a:lnTo>
                    <a:lnTo>
                      <a:pt x="966" y="456"/>
                    </a:lnTo>
                    <a:lnTo>
                      <a:pt x="960" y="456"/>
                    </a:lnTo>
                    <a:lnTo>
                      <a:pt x="960" y="462"/>
                    </a:lnTo>
                    <a:lnTo>
                      <a:pt x="966" y="462"/>
                    </a:lnTo>
                    <a:lnTo>
                      <a:pt x="972" y="462"/>
                    </a:lnTo>
                    <a:lnTo>
                      <a:pt x="972" y="468"/>
                    </a:lnTo>
                    <a:lnTo>
                      <a:pt x="972" y="474"/>
                    </a:lnTo>
                    <a:lnTo>
                      <a:pt x="966" y="474"/>
                    </a:lnTo>
                    <a:lnTo>
                      <a:pt x="966" y="480"/>
                    </a:lnTo>
                    <a:lnTo>
                      <a:pt x="966" y="486"/>
                    </a:lnTo>
                    <a:lnTo>
                      <a:pt x="966" y="492"/>
                    </a:lnTo>
                    <a:lnTo>
                      <a:pt x="960" y="492"/>
                    </a:lnTo>
                    <a:lnTo>
                      <a:pt x="954" y="492"/>
                    </a:lnTo>
                    <a:lnTo>
                      <a:pt x="954" y="498"/>
                    </a:lnTo>
                    <a:lnTo>
                      <a:pt x="948" y="498"/>
                    </a:lnTo>
                    <a:lnTo>
                      <a:pt x="942" y="498"/>
                    </a:lnTo>
                    <a:lnTo>
                      <a:pt x="942" y="504"/>
                    </a:lnTo>
                    <a:lnTo>
                      <a:pt x="942" y="510"/>
                    </a:lnTo>
                    <a:lnTo>
                      <a:pt x="942" y="516"/>
                    </a:lnTo>
                    <a:lnTo>
                      <a:pt x="936" y="516"/>
                    </a:lnTo>
                    <a:lnTo>
                      <a:pt x="936" y="522"/>
                    </a:lnTo>
                    <a:lnTo>
                      <a:pt x="930" y="522"/>
                    </a:lnTo>
                    <a:lnTo>
                      <a:pt x="924" y="522"/>
                    </a:lnTo>
                    <a:lnTo>
                      <a:pt x="924" y="528"/>
                    </a:lnTo>
                    <a:lnTo>
                      <a:pt x="924" y="534"/>
                    </a:lnTo>
                    <a:lnTo>
                      <a:pt x="924" y="540"/>
                    </a:lnTo>
                    <a:lnTo>
                      <a:pt x="918" y="540"/>
                    </a:lnTo>
                    <a:lnTo>
                      <a:pt x="918" y="546"/>
                    </a:lnTo>
                    <a:lnTo>
                      <a:pt x="924" y="546"/>
                    </a:lnTo>
                    <a:lnTo>
                      <a:pt x="924" y="552"/>
                    </a:lnTo>
                    <a:lnTo>
                      <a:pt x="918" y="552"/>
                    </a:lnTo>
                    <a:lnTo>
                      <a:pt x="912" y="552"/>
                    </a:lnTo>
                    <a:lnTo>
                      <a:pt x="912" y="558"/>
                    </a:lnTo>
                    <a:lnTo>
                      <a:pt x="906" y="558"/>
                    </a:lnTo>
                    <a:lnTo>
                      <a:pt x="906" y="564"/>
                    </a:lnTo>
                    <a:lnTo>
                      <a:pt x="906" y="570"/>
                    </a:lnTo>
                    <a:lnTo>
                      <a:pt x="900" y="570"/>
                    </a:lnTo>
                    <a:lnTo>
                      <a:pt x="900" y="564"/>
                    </a:lnTo>
                    <a:lnTo>
                      <a:pt x="900" y="570"/>
                    </a:lnTo>
                    <a:lnTo>
                      <a:pt x="894" y="570"/>
                    </a:lnTo>
                    <a:lnTo>
                      <a:pt x="894" y="564"/>
                    </a:lnTo>
                    <a:lnTo>
                      <a:pt x="894" y="570"/>
                    </a:lnTo>
                    <a:lnTo>
                      <a:pt x="888" y="570"/>
                    </a:lnTo>
                    <a:lnTo>
                      <a:pt x="888" y="576"/>
                    </a:lnTo>
                    <a:lnTo>
                      <a:pt x="888" y="570"/>
                    </a:lnTo>
                    <a:lnTo>
                      <a:pt x="882" y="576"/>
                    </a:lnTo>
                    <a:lnTo>
                      <a:pt x="882" y="570"/>
                    </a:lnTo>
                    <a:lnTo>
                      <a:pt x="882" y="576"/>
                    </a:lnTo>
                    <a:lnTo>
                      <a:pt x="882" y="582"/>
                    </a:lnTo>
                    <a:lnTo>
                      <a:pt x="876" y="582"/>
                    </a:lnTo>
                    <a:lnTo>
                      <a:pt x="876" y="576"/>
                    </a:lnTo>
                    <a:lnTo>
                      <a:pt x="876" y="570"/>
                    </a:lnTo>
                    <a:lnTo>
                      <a:pt x="870" y="570"/>
                    </a:lnTo>
                    <a:lnTo>
                      <a:pt x="870" y="576"/>
                    </a:lnTo>
                    <a:lnTo>
                      <a:pt x="864" y="576"/>
                    </a:lnTo>
                    <a:lnTo>
                      <a:pt x="864" y="570"/>
                    </a:lnTo>
                    <a:lnTo>
                      <a:pt x="864" y="576"/>
                    </a:lnTo>
                    <a:lnTo>
                      <a:pt x="858" y="576"/>
                    </a:lnTo>
                    <a:lnTo>
                      <a:pt x="852" y="576"/>
                    </a:lnTo>
                    <a:lnTo>
                      <a:pt x="846" y="576"/>
                    </a:lnTo>
                    <a:lnTo>
                      <a:pt x="846" y="582"/>
                    </a:lnTo>
                    <a:lnTo>
                      <a:pt x="840" y="588"/>
                    </a:lnTo>
                    <a:lnTo>
                      <a:pt x="846" y="588"/>
                    </a:lnTo>
                    <a:lnTo>
                      <a:pt x="846" y="594"/>
                    </a:lnTo>
                    <a:lnTo>
                      <a:pt x="846" y="600"/>
                    </a:lnTo>
                    <a:lnTo>
                      <a:pt x="840" y="600"/>
                    </a:lnTo>
                    <a:lnTo>
                      <a:pt x="840" y="606"/>
                    </a:lnTo>
                    <a:lnTo>
                      <a:pt x="834" y="606"/>
                    </a:lnTo>
                    <a:lnTo>
                      <a:pt x="834" y="612"/>
                    </a:lnTo>
                    <a:lnTo>
                      <a:pt x="834" y="618"/>
                    </a:lnTo>
                    <a:lnTo>
                      <a:pt x="828" y="618"/>
                    </a:lnTo>
                    <a:lnTo>
                      <a:pt x="828" y="624"/>
                    </a:lnTo>
                    <a:lnTo>
                      <a:pt x="828" y="630"/>
                    </a:lnTo>
                    <a:lnTo>
                      <a:pt x="828" y="624"/>
                    </a:lnTo>
                    <a:lnTo>
                      <a:pt x="822" y="624"/>
                    </a:lnTo>
                    <a:lnTo>
                      <a:pt x="822" y="618"/>
                    </a:lnTo>
                    <a:lnTo>
                      <a:pt x="822" y="624"/>
                    </a:lnTo>
                    <a:lnTo>
                      <a:pt x="816" y="624"/>
                    </a:lnTo>
                    <a:lnTo>
                      <a:pt x="816" y="630"/>
                    </a:lnTo>
                    <a:lnTo>
                      <a:pt x="816" y="636"/>
                    </a:lnTo>
                    <a:lnTo>
                      <a:pt x="816" y="642"/>
                    </a:lnTo>
                    <a:lnTo>
                      <a:pt x="810" y="642"/>
                    </a:lnTo>
                    <a:lnTo>
                      <a:pt x="810" y="648"/>
                    </a:lnTo>
                    <a:lnTo>
                      <a:pt x="810" y="654"/>
                    </a:lnTo>
                    <a:lnTo>
                      <a:pt x="810" y="660"/>
                    </a:lnTo>
                    <a:lnTo>
                      <a:pt x="810" y="666"/>
                    </a:lnTo>
                    <a:lnTo>
                      <a:pt x="810" y="672"/>
                    </a:lnTo>
                    <a:lnTo>
                      <a:pt x="804" y="672"/>
                    </a:lnTo>
                    <a:lnTo>
                      <a:pt x="804" y="666"/>
                    </a:lnTo>
                    <a:lnTo>
                      <a:pt x="798" y="666"/>
                    </a:lnTo>
                    <a:lnTo>
                      <a:pt x="798" y="672"/>
                    </a:lnTo>
                    <a:lnTo>
                      <a:pt x="798" y="678"/>
                    </a:lnTo>
                    <a:lnTo>
                      <a:pt x="798" y="684"/>
                    </a:lnTo>
                    <a:lnTo>
                      <a:pt x="798" y="690"/>
                    </a:lnTo>
                    <a:lnTo>
                      <a:pt x="798" y="696"/>
                    </a:lnTo>
                    <a:lnTo>
                      <a:pt x="798" y="702"/>
                    </a:lnTo>
                    <a:lnTo>
                      <a:pt x="798" y="708"/>
                    </a:lnTo>
                    <a:lnTo>
                      <a:pt x="798" y="714"/>
                    </a:lnTo>
                    <a:lnTo>
                      <a:pt x="792" y="714"/>
                    </a:lnTo>
                    <a:lnTo>
                      <a:pt x="792" y="720"/>
                    </a:lnTo>
                    <a:lnTo>
                      <a:pt x="786" y="720"/>
                    </a:lnTo>
                    <a:lnTo>
                      <a:pt x="786" y="726"/>
                    </a:lnTo>
                    <a:lnTo>
                      <a:pt x="786" y="720"/>
                    </a:lnTo>
                    <a:lnTo>
                      <a:pt x="786" y="726"/>
                    </a:lnTo>
                    <a:lnTo>
                      <a:pt x="780" y="726"/>
                    </a:lnTo>
                    <a:lnTo>
                      <a:pt x="780" y="720"/>
                    </a:lnTo>
                    <a:lnTo>
                      <a:pt x="774" y="720"/>
                    </a:lnTo>
                    <a:lnTo>
                      <a:pt x="774" y="714"/>
                    </a:lnTo>
                    <a:lnTo>
                      <a:pt x="768" y="714"/>
                    </a:lnTo>
                    <a:lnTo>
                      <a:pt x="762" y="714"/>
                    </a:lnTo>
                    <a:lnTo>
                      <a:pt x="762" y="720"/>
                    </a:lnTo>
                    <a:lnTo>
                      <a:pt x="762" y="714"/>
                    </a:lnTo>
                    <a:lnTo>
                      <a:pt x="756" y="714"/>
                    </a:lnTo>
                    <a:lnTo>
                      <a:pt x="762" y="714"/>
                    </a:lnTo>
                    <a:lnTo>
                      <a:pt x="762" y="708"/>
                    </a:lnTo>
                    <a:lnTo>
                      <a:pt x="756" y="708"/>
                    </a:lnTo>
                    <a:lnTo>
                      <a:pt x="762" y="708"/>
                    </a:lnTo>
                    <a:lnTo>
                      <a:pt x="762" y="702"/>
                    </a:lnTo>
                    <a:lnTo>
                      <a:pt x="756" y="702"/>
                    </a:lnTo>
                    <a:lnTo>
                      <a:pt x="756" y="696"/>
                    </a:lnTo>
                    <a:lnTo>
                      <a:pt x="750" y="696"/>
                    </a:lnTo>
                    <a:lnTo>
                      <a:pt x="750" y="690"/>
                    </a:lnTo>
                    <a:lnTo>
                      <a:pt x="744" y="690"/>
                    </a:lnTo>
                    <a:lnTo>
                      <a:pt x="744" y="684"/>
                    </a:lnTo>
                    <a:lnTo>
                      <a:pt x="738" y="684"/>
                    </a:lnTo>
                    <a:lnTo>
                      <a:pt x="732" y="684"/>
                    </a:lnTo>
                    <a:lnTo>
                      <a:pt x="726" y="690"/>
                    </a:lnTo>
                    <a:lnTo>
                      <a:pt x="726" y="684"/>
                    </a:lnTo>
                    <a:lnTo>
                      <a:pt x="726" y="690"/>
                    </a:lnTo>
                    <a:lnTo>
                      <a:pt x="720" y="690"/>
                    </a:lnTo>
                    <a:lnTo>
                      <a:pt x="720" y="696"/>
                    </a:lnTo>
                    <a:lnTo>
                      <a:pt x="714" y="696"/>
                    </a:lnTo>
                    <a:lnTo>
                      <a:pt x="708" y="696"/>
                    </a:lnTo>
                    <a:lnTo>
                      <a:pt x="708" y="690"/>
                    </a:lnTo>
                    <a:lnTo>
                      <a:pt x="708" y="696"/>
                    </a:lnTo>
                    <a:lnTo>
                      <a:pt x="708" y="690"/>
                    </a:lnTo>
                    <a:lnTo>
                      <a:pt x="702" y="696"/>
                    </a:lnTo>
                    <a:lnTo>
                      <a:pt x="696" y="696"/>
                    </a:lnTo>
                    <a:lnTo>
                      <a:pt x="690" y="696"/>
                    </a:lnTo>
                    <a:lnTo>
                      <a:pt x="690" y="690"/>
                    </a:lnTo>
                    <a:lnTo>
                      <a:pt x="684" y="690"/>
                    </a:lnTo>
                    <a:lnTo>
                      <a:pt x="678" y="690"/>
                    </a:lnTo>
                    <a:lnTo>
                      <a:pt x="672" y="690"/>
                    </a:lnTo>
                    <a:lnTo>
                      <a:pt x="672" y="696"/>
                    </a:lnTo>
                    <a:lnTo>
                      <a:pt x="666" y="696"/>
                    </a:lnTo>
                    <a:lnTo>
                      <a:pt x="660" y="696"/>
                    </a:lnTo>
                    <a:lnTo>
                      <a:pt x="654" y="696"/>
                    </a:lnTo>
                    <a:lnTo>
                      <a:pt x="654" y="690"/>
                    </a:lnTo>
                    <a:lnTo>
                      <a:pt x="654" y="684"/>
                    </a:lnTo>
                    <a:lnTo>
                      <a:pt x="648" y="678"/>
                    </a:lnTo>
                    <a:lnTo>
                      <a:pt x="642" y="678"/>
                    </a:lnTo>
                    <a:lnTo>
                      <a:pt x="636" y="678"/>
                    </a:lnTo>
                    <a:lnTo>
                      <a:pt x="630" y="678"/>
                    </a:lnTo>
                    <a:lnTo>
                      <a:pt x="624" y="678"/>
                    </a:lnTo>
                    <a:lnTo>
                      <a:pt x="624" y="672"/>
                    </a:lnTo>
                    <a:lnTo>
                      <a:pt x="618" y="672"/>
                    </a:lnTo>
                    <a:lnTo>
                      <a:pt x="618" y="678"/>
                    </a:lnTo>
                    <a:lnTo>
                      <a:pt x="618" y="684"/>
                    </a:lnTo>
                    <a:lnTo>
                      <a:pt x="612" y="684"/>
                    </a:lnTo>
                    <a:lnTo>
                      <a:pt x="612" y="678"/>
                    </a:lnTo>
                    <a:lnTo>
                      <a:pt x="606" y="678"/>
                    </a:lnTo>
                    <a:lnTo>
                      <a:pt x="606" y="684"/>
                    </a:lnTo>
                    <a:lnTo>
                      <a:pt x="606" y="690"/>
                    </a:lnTo>
                    <a:lnTo>
                      <a:pt x="600" y="690"/>
                    </a:lnTo>
                    <a:lnTo>
                      <a:pt x="594" y="690"/>
                    </a:lnTo>
                    <a:lnTo>
                      <a:pt x="594" y="684"/>
                    </a:lnTo>
                    <a:lnTo>
                      <a:pt x="588" y="684"/>
                    </a:lnTo>
                    <a:lnTo>
                      <a:pt x="588" y="690"/>
                    </a:lnTo>
                    <a:lnTo>
                      <a:pt x="582" y="690"/>
                    </a:lnTo>
                    <a:lnTo>
                      <a:pt x="582" y="696"/>
                    </a:lnTo>
                    <a:lnTo>
                      <a:pt x="582" y="702"/>
                    </a:lnTo>
                    <a:lnTo>
                      <a:pt x="576" y="702"/>
                    </a:lnTo>
                    <a:lnTo>
                      <a:pt x="570" y="702"/>
                    </a:lnTo>
                    <a:lnTo>
                      <a:pt x="564" y="702"/>
                    </a:lnTo>
                    <a:lnTo>
                      <a:pt x="558" y="702"/>
                    </a:lnTo>
                    <a:lnTo>
                      <a:pt x="558" y="708"/>
                    </a:lnTo>
                    <a:lnTo>
                      <a:pt x="558" y="702"/>
                    </a:lnTo>
                    <a:lnTo>
                      <a:pt x="552" y="702"/>
                    </a:lnTo>
                    <a:lnTo>
                      <a:pt x="546" y="702"/>
                    </a:lnTo>
                    <a:lnTo>
                      <a:pt x="540" y="702"/>
                    </a:lnTo>
                    <a:lnTo>
                      <a:pt x="540" y="696"/>
                    </a:lnTo>
                    <a:lnTo>
                      <a:pt x="534" y="696"/>
                    </a:lnTo>
                    <a:lnTo>
                      <a:pt x="528" y="696"/>
                    </a:lnTo>
                    <a:lnTo>
                      <a:pt x="528" y="702"/>
                    </a:lnTo>
                    <a:lnTo>
                      <a:pt x="522" y="702"/>
                    </a:lnTo>
                    <a:lnTo>
                      <a:pt x="522" y="696"/>
                    </a:lnTo>
                    <a:lnTo>
                      <a:pt x="522" y="690"/>
                    </a:lnTo>
                    <a:lnTo>
                      <a:pt x="522" y="684"/>
                    </a:lnTo>
                    <a:lnTo>
                      <a:pt x="516" y="684"/>
                    </a:lnTo>
                    <a:lnTo>
                      <a:pt x="516" y="690"/>
                    </a:lnTo>
                    <a:lnTo>
                      <a:pt x="510" y="690"/>
                    </a:lnTo>
                    <a:lnTo>
                      <a:pt x="504" y="690"/>
                    </a:lnTo>
                    <a:lnTo>
                      <a:pt x="498" y="690"/>
                    </a:lnTo>
                    <a:lnTo>
                      <a:pt x="498" y="696"/>
                    </a:lnTo>
                    <a:lnTo>
                      <a:pt x="492" y="696"/>
                    </a:lnTo>
                    <a:lnTo>
                      <a:pt x="492" y="702"/>
                    </a:lnTo>
                    <a:lnTo>
                      <a:pt x="486" y="702"/>
                    </a:lnTo>
                    <a:lnTo>
                      <a:pt x="486" y="708"/>
                    </a:lnTo>
                    <a:lnTo>
                      <a:pt x="480" y="708"/>
                    </a:lnTo>
                    <a:lnTo>
                      <a:pt x="474" y="708"/>
                    </a:lnTo>
                    <a:lnTo>
                      <a:pt x="474" y="714"/>
                    </a:lnTo>
                    <a:lnTo>
                      <a:pt x="468" y="714"/>
                    </a:lnTo>
                    <a:lnTo>
                      <a:pt x="462" y="714"/>
                    </a:lnTo>
                    <a:lnTo>
                      <a:pt x="456" y="714"/>
                    </a:lnTo>
                    <a:lnTo>
                      <a:pt x="450" y="714"/>
                    </a:lnTo>
                    <a:lnTo>
                      <a:pt x="444" y="714"/>
                    </a:lnTo>
                    <a:lnTo>
                      <a:pt x="444" y="720"/>
                    </a:lnTo>
                    <a:lnTo>
                      <a:pt x="438" y="720"/>
                    </a:lnTo>
                    <a:lnTo>
                      <a:pt x="432" y="720"/>
                    </a:lnTo>
                    <a:lnTo>
                      <a:pt x="426" y="720"/>
                    </a:lnTo>
                    <a:lnTo>
                      <a:pt x="426" y="714"/>
                    </a:lnTo>
                    <a:lnTo>
                      <a:pt x="420" y="714"/>
                    </a:lnTo>
                    <a:lnTo>
                      <a:pt x="414" y="714"/>
                    </a:lnTo>
                    <a:lnTo>
                      <a:pt x="408" y="714"/>
                    </a:lnTo>
                    <a:lnTo>
                      <a:pt x="408" y="708"/>
                    </a:lnTo>
                    <a:lnTo>
                      <a:pt x="402" y="708"/>
                    </a:lnTo>
                    <a:lnTo>
                      <a:pt x="402" y="702"/>
                    </a:lnTo>
                    <a:lnTo>
                      <a:pt x="402" y="696"/>
                    </a:lnTo>
                    <a:lnTo>
                      <a:pt x="408" y="696"/>
                    </a:lnTo>
                    <a:lnTo>
                      <a:pt x="414" y="696"/>
                    </a:lnTo>
                    <a:lnTo>
                      <a:pt x="420" y="696"/>
                    </a:lnTo>
                    <a:lnTo>
                      <a:pt x="420" y="690"/>
                    </a:lnTo>
                    <a:lnTo>
                      <a:pt x="414" y="690"/>
                    </a:lnTo>
                    <a:lnTo>
                      <a:pt x="420" y="690"/>
                    </a:lnTo>
                    <a:lnTo>
                      <a:pt x="420" y="684"/>
                    </a:lnTo>
                    <a:lnTo>
                      <a:pt x="420" y="678"/>
                    </a:lnTo>
                    <a:lnTo>
                      <a:pt x="414" y="678"/>
                    </a:lnTo>
                    <a:lnTo>
                      <a:pt x="420" y="678"/>
                    </a:lnTo>
                    <a:lnTo>
                      <a:pt x="414" y="678"/>
                    </a:lnTo>
                    <a:lnTo>
                      <a:pt x="414" y="672"/>
                    </a:lnTo>
                    <a:lnTo>
                      <a:pt x="408" y="672"/>
                    </a:lnTo>
                    <a:lnTo>
                      <a:pt x="402" y="666"/>
                    </a:lnTo>
                    <a:lnTo>
                      <a:pt x="402" y="672"/>
                    </a:lnTo>
                    <a:lnTo>
                      <a:pt x="402" y="666"/>
                    </a:lnTo>
                    <a:lnTo>
                      <a:pt x="402" y="672"/>
                    </a:lnTo>
                    <a:lnTo>
                      <a:pt x="402" y="666"/>
                    </a:lnTo>
                    <a:lnTo>
                      <a:pt x="402" y="672"/>
                    </a:lnTo>
                    <a:lnTo>
                      <a:pt x="396" y="672"/>
                    </a:lnTo>
                    <a:lnTo>
                      <a:pt x="390" y="672"/>
                    </a:lnTo>
                    <a:lnTo>
                      <a:pt x="384" y="672"/>
                    </a:lnTo>
                    <a:lnTo>
                      <a:pt x="378" y="672"/>
                    </a:lnTo>
                    <a:lnTo>
                      <a:pt x="372" y="672"/>
                    </a:lnTo>
                    <a:lnTo>
                      <a:pt x="366" y="672"/>
                    </a:lnTo>
                    <a:lnTo>
                      <a:pt x="360" y="672"/>
                    </a:lnTo>
                    <a:lnTo>
                      <a:pt x="360" y="666"/>
                    </a:lnTo>
                    <a:lnTo>
                      <a:pt x="354" y="666"/>
                    </a:lnTo>
                    <a:lnTo>
                      <a:pt x="354" y="672"/>
                    </a:lnTo>
                    <a:lnTo>
                      <a:pt x="360" y="672"/>
                    </a:lnTo>
                    <a:lnTo>
                      <a:pt x="360" y="678"/>
                    </a:lnTo>
                    <a:lnTo>
                      <a:pt x="354" y="678"/>
                    </a:lnTo>
                    <a:lnTo>
                      <a:pt x="348" y="678"/>
                    </a:lnTo>
                    <a:lnTo>
                      <a:pt x="348" y="684"/>
                    </a:lnTo>
                    <a:lnTo>
                      <a:pt x="342" y="684"/>
                    </a:lnTo>
                    <a:lnTo>
                      <a:pt x="342" y="690"/>
                    </a:lnTo>
                    <a:lnTo>
                      <a:pt x="336" y="690"/>
                    </a:lnTo>
                    <a:lnTo>
                      <a:pt x="336" y="684"/>
                    </a:lnTo>
                    <a:lnTo>
                      <a:pt x="336" y="690"/>
                    </a:lnTo>
                    <a:lnTo>
                      <a:pt x="330" y="690"/>
                    </a:lnTo>
                    <a:lnTo>
                      <a:pt x="324" y="690"/>
                    </a:lnTo>
                    <a:lnTo>
                      <a:pt x="324" y="696"/>
                    </a:lnTo>
                    <a:lnTo>
                      <a:pt x="330" y="696"/>
                    </a:lnTo>
                    <a:lnTo>
                      <a:pt x="324" y="696"/>
                    </a:lnTo>
                    <a:lnTo>
                      <a:pt x="324" y="702"/>
                    </a:lnTo>
                    <a:lnTo>
                      <a:pt x="330" y="702"/>
                    </a:lnTo>
                    <a:lnTo>
                      <a:pt x="324" y="702"/>
                    </a:lnTo>
                    <a:lnTo>
                      <a:pt x="324" y="708"/>
                    </a:lnTo>
                    <a:lnTo>
                      <a:pt x="324" y="714"/>
                    </a:lnTo>
                    <a:lnTo>
                      <a:pt x="318" y="714"/>
                    </a:lnTo>
                    <a:lnTo>
                      <a:pt x="312" y="714"/>
                    </a:lnTo>
                    <a:lnTo>
                      <a:pt x="312" y="720"/>
                    </a:lnTo>
                    <a:lnTo>
                      <a:pt x="306" y="720"/>
                    </a:lnTo>
                    <a:lnTo>
                      <a:pt x="306" y="726"/>
                    </a:lnTo>
                    <a:lnTo>
                      <a:pt x="312" y="726"/>
                    </a:lnTo>
                    <a:lnTo>
                      <a:pt x="312" y="732"/>
                    </a:lnTo>
                    <a:lnTo>
                      <a:pt x="312" y="738"/>
                    </a:lnTo>
                    <a:lnTo>
                      <a:pt x="306" y="738"/>
                    </a:lnTo>
                    <a:lnTo>
                      <a:pt x="312" y="738"/>
                    </a:lnTo>
                    <a:lnTo>
                      <a:pt x="306" y="738"/>
                    </a:lnTo>
                    <a:lnTo>
                      <a:pt x="300" y="738"/>
                    </a:lnTo>
                    <a:lnTo>
                      <a:pt x="300" y="744"/>
                    </a:lnTo>
                    <a:lnTo>
                      <a:pt x="294" y="744"/>
                    </a:lnTo>
                    <a:lnTo>
                      <a:pt x="294" y="738"/>
                    </a:lnTo>
                    <a:lnTo>
                      <a:pt x="288" y="738"/>
                    </a:lnTo>
                    <a:lnTo>
                      <a:pt x="288" y="744"/>
                    </a:lnTo>
                    <a:lnTo>
                      <a:pt x="288" y="750"/>
                    </a:lnTo>
                    <a:lnTo>
                      <a:pt x="282" y="750"/>
                    </a:lnTo>
                    <a:lnTo>
                      <a:pt x="282" y="756"/>
                    </a:lnTo>
                    <a:lnTo>
                      <a:pt x="276" y="756"/>
                    </a:lnTo>
                    <a:lnTo>
                      <a:pt x="270" y="756"/>
                    </a:lnTo>
                    <a:lnTo>
                      <a:pt x="264" y="756"/>
                    </a:lnTo>
                    <a:lnTo>
                      <a:pt x="258" y="756"/>
                    </a:lnTo>
                    <a:lnTo>
                      <a:pt x="252" y="756"/>
                    </a:lnTo>
                    <a:lnTo>
                      <a:pt x="252" y="750"/>
                    </a:lnTo>
                    <a:lnTo>
                      <a:pt x="252" y="744"/>
                    </a:lnTo>
                    <a:lnTo>
                      <a:pt x="246" y="744"/>
                    </a:lnTo>
                    <a:lnTo>
                      <a:pt x="252" y="744"/>
                    </a:lnTo>
                    <a:lnTo>
                      <a:pt x="252" y="738"/>
                    </a:lnTo>
                    <a:lnTo>
                      <a:pt x="252" y="732"/>
                    </a:lnTo>
                    <a:lnTo>
                      <a:pt x="252" y="726"/>
                    </a:lnTo>
                    <a:lnTo>
                      <a:pt x="246" y="726"/>
                    </a:lnTo>
                    <a:lnTo>
                      <a:pt x="246" y="720"/>
                    </a:lnTo>
                    <a:lnTo>
                      <a:pt x="240" y="720"/>
                    </a:lnTo>
                    <a:lnTo>
                      <a:pt x="234" y="720"/>
                    </a:lnTo>
                    <a:lnTo>
                      <a:pt x="234" y="714"/>
                    </a:lnTo>
                    <a:lnTo>
                      <a:pt x="228" y="714"/>
                    </a:lnTo>
                    <a:lnTo>
                      <a:pt x="222" y="714"/>
                    </a:lnTo>
                    <a:lnTo>
                      <a:pt x="216" y="714"/>
                    </a:lnTo>
                    <a:lnTo>
                      <a:pt x="210" y="714"/>
                    </a:lnTo>
                    <a:lnTo>
                      <a:pt x="204" y="714"/>
                    </a:lnTo>
                    <a:lnTo>
                      <a:pt x="198" y="714"/>
                    </a:lnTo>
                    <a:lnTo>
                      <a:pt x="192" y="714"/>
                    </a:lnTo>
                    <a:lnTo>
                      <a:pt x="186" y="714"/>
                    </a:lnTo>
                    <a:lnTo>
                      <a:pt x="180" y="714"/>
                    </a:lnTo>
                    <a:lnTo>
                      <a:pt x="180" y="720"/>
                    </a:lnTo>
                    <a:lnTo>
                      <a:pt x="180" y="714"/>
                    </a:lnTo>
                    <a:lnTo>
                      <a:pt x="180" y="720"/>
                    </a:lnTo>
                    <a:lnTo>
                      <a:pt x="180" y="714"/>
                    </a:lnTo>
                    <a:lnTo>
                      <a:pt x="174" y="714"/>
                    </a:lnTo>
                    <a:lnTo>
                      <a:pt x="168" y="714"/>
                    </a:lnTo>
                    <a:lnTo>
                      <a:pt x="162" y="714"/>
                    </a:lnTo>
                    <a:lnTo>
                      <a:pt x="156" y="714"/>
                    </a:lnTo>
                    <a:lnTo>
                      <a:pt x="150" y="714"/>
                    </a:lnTo>
                    <a:lnTo>
                      <a:pt x="144" y="714"/>
                    </a:lnTo>
                    <a:lnTo>
                      <a:pt x="138" y="714"/>
                    </a:lnTo>
                    <a:lnTo>
                      <a:pt x="138" y="708"/>
                    </a:lnTo>
                    <a:lnTo>
                      <a:pt x="132" y="708"/>
                    </a:lnTo>
                    <a:lnTo>
                      <a:pt x="126" y="708"/>
                    </a:lnTo>
                    <a:lnTo>
                      <a:pt x="126" y="702"/>
                    </a:lnTo>
                    <a:lnTo>
                      <a:pt x="126" y="696"/>
                    </a:lnTo>
                    <a:lnTo>
                      <a:pt x="120" y="696"/>
                    </a:lnTo>
                    <a:lnTo>
                      <a:pt x="120" y="690"/>
                    </a:lnTo>
                    <a:lnTo>
                      <a:pt x="114" y="690"/>
                    </a:lnTo>
                    <a:lnTo>
                      <a:pt x="108" y="690"/>
                    </a:lnTo>
                    <a:lnTo>
                      <a:pt x="102" y="684"/>
                    </a:lnTo>
                    <a:lnTo>
                      <a:pt x="96" y="684"/>
                    </a:lnTo>
                    <a:lnTo>
                      <a:pt x="90" y="684"/>
                    </a:lnTo>
                    <a:lnTo>
                      <a:pt x="84" y="684"/>
                    </a:lnTo>
                    <a:lnTo>
                      <a:pt x="78" y="684"/>
                    </a:lnTo>
                    <a:lnTo>
                      <a:pt x="72" y="684"/>
                    </a:lnTo>
                    <a:lnTo>
                      <a:pt x="72" y="678"/>
                    </a:lnTo>
                    <a:lnTo>
                      <a:pt x="66" y="678"/>
                    </a:lnTo>
                    <a:lnTo>
                      <a:pt x="60" y="678"/>
                    </a:lnTo>
                    <a:lnTo>
                      <a:pt x="60" y="672"/>
                    </a:lnTo>
                    <a:lnTo>
                      <a:pt x="54" y="672"/>
                    </a:lnTo>
                    <a:lnTo>
                      <a:pt x="54" y="666"/>
                    </a:lnTo>
                    <a:lnTo>
                      <a:pt x="54" y="660"/>
                    </a:lnTo>
                    <a:lnTo>
                      <a:pt x="54" y="654"/>
                    </a:lnTo>
                    <a:lnTo>
                      <a:pt x="54" y="648"/>
                    </a:lnTo>
                    <a:lnTo>
                      <a:pt x="60" y="648"/>
                    </a:lnTo>
                    <a:lnTo>
                      <a:pt x="54" y="648"/>
                    </a:lnTo>
                    <a:lnTo>
                      <a:pt x="54" y="642"/>
                    </a:lnTo>
                    <a:lnTo>
                      <a:pt x="48" y="642"/>
                    </a:lnTo>
                    <a:lnTo>
                      <a:pt x="48" y="636"/>
                    </a:lnTo>
                    <a:lnTo>
                      <a:pt x="48" y="630"/>
                    </a:lnTo>
                    <a:lnTo>
                      <a:pt x="42" y="630"/>
                    </a:lnTo>
                    <a:lnTo>
                      <a:pt x="42" y="636"/>
                    </a:lnTo>
                    <a:lnTo>
                      <a:pt x="36" y="636"/>
                    </a:lnTo>
                    <a:lnTo>
                      <a:pt x="36" y="642"/>
                    </a:lnTo>
                    <a:lnTo>
                      <a:pt x="30" y="642"/>
                    </a:lnTo>
                    <a:lnTo>
                      <a:pt x="30" y="648"/>
                    </a:lnTo>
                    <a:lnTo>
                      <a:pt x="24" y="642"/>
                    </a:lnTo>
                    <a:lnTo>
                      <a:pt x="24" y="648"/>
                    </a:lnTo>
                    <a:lnTo>
                      <a:pt x="18" y="648"/>
                    </a:lnTo>
                    <a:lnTo>
                      <a:pt x="18" y="642"/>
                    </a:lnTo>
                    <a:lnTo>
                      <a:pt x="12" y="642"/>
                    </a:lnTo>
                    <a:lnTo>
                      <a:pt x="12" y="636"/>
                    </a:lnTo>
                    <a:lnTo>
                      <a:pt x="6" y="636"/>
                    </a:lnTo>
                    <a:lnTo>
                      <a:pt x="6" y="630"/>
                    </a:lnTo>
                    <a:lnTo>
                      <a:pt x="12" y="630"/>
                    </a:lnTo>
                    <a:lnTo>
                      <a:pt x="12" y="624"/>
                    </a:lnTo>
                    <a:lnTo>
                      <a:pt x="18" y="624"/>
                    </a:lnTo>
                    <a:lnTo>
                      <a:pt x="12" y="624"/>
                    </a:lnTo>
                    <a:lnTo>
                      <a:pt x="6" y="624"/>
                    </a:lnTo>
                    <a:lnTo>
                      <a:pt x="12" y="624"/>
                    </a:lnTo>
                    <a:lnTo>
                      <a:pt x="12" y="618"/>
                    </a:lnTo>
                    <a:lnTo>
                      <a:pt x="6" y="618"/>
                    </a:lnTo>
                    <a:lnTo>
                      <a:pt x="12" y="618"/>
                    </a:lnTo>
                    <a:lnTo>
                      <a:pt x="6" y="618"/>
                    </a:lnTo>
                    <a:lnTo>
                      <a:pt x="6" y="612"/>
                    </a:lnTo>
                    <a:lnTo>
                      <a:pt x="6" y="606"/>
                    </a:lnTo>
                    <a:lnTo>
                      <a:pt x="0" y="606"/>
                    </a:lnTo>
                    <a:lnTo>
                      <a:pt x="6" y="606"/>
                    </a:lnTo>
                    <a:lnTo>
                      <a:pt x="0" y="600"/>
                    </a:lnTo>
                    <a:lnTo>
                      <a:pt x="0" y="594"/>
                    </a:lnTo>
                    <a:lnTo>
                      <a:pt x="0" y="588"/>
                    </a:lnTo>
                    <a:lnTo>
                      <a:pt x="6" y="588"/>
                    </a:lnTo>
                    <a:lnTo>
                      <a:pt x="12" y="588"/>
                    </a:lnTo>
                    <a:lnTo>
                      <a:pt x="12" y="594"/>
                    </a:lnTo>
                    <a:lnTo>
                      <a:pt x="18" y="594"/>
                    </a:lnTo>
                    <a:lnTo>
                      <a:pt x="18" y="588"/>
                    </a:lnTo>
                    <a:lnTo>
                      <a:pt x="24" y="588"/>
                    </a:lnTo>
                    <a:lnTo>
                      <a:pt x="18" y="588"/>
                    </a:lnTo>
                    <a:lnTo>
                      <a:pt x="24" y="588"/>
                    </a:lnTo>
                    <a:lnTo>
                      <a:pt x="30" y="588"/>
                    </a:lnTo>
                    <a:lnTo>
                      <a:pt x="30" y="582"/>
                    </a:lnTo>
                    <a:lnTo>
                      <a:pt x="24" y="582"/>
                    </a:lnTo>
                    <a:lnTo>
                      <a:pt x="18" y="582"/>
                    </a:lnTo>
                    <a:lnTo>
                      <a:pt x="18" y="576"/>
                    </a:lnTo>
                    <a:lnTo>
                      <a:pt x="18" y="582"/>
                    </a:lnTo>
                    <a:lnTo>
                      <a:pt x="12" y="582"/>
                    </a:lnTo>
                    <a:lnTo>
                      <a:pt x="12" y="576"/>
                    </a:lnTo>
                    <a:lnTo>
                      <a:pt x="12" y="582"/>
                    </a:lnTo>
                    <a:lnTo>
                      <a:pt x="6" y="582"/>
                    </a:lnTo>
                    <a:lnTo>
                      <a:pt x="6" y="576"/>
                    </a:lnTo>
                    <a:lnTo>
                      <a:pt x="0" y="576"/>
                    </a:lnTo>
                    <a:lnTo>
                      <a:pt x="6" y="576"/>
                    </a:lnTo>
                    <a:lnTo>
                      <a:pt x="6" y="570"/>
                    </a:lnTo>
                    <a:lnTo>
                      <a:pt x="0" y="570"/>
                    </a:lnTo>
                    <a:lnTo>
                      <a:pt x="0" y="576"/>
                    </a:lnTo>
                    <a:lnTo>
                      <a:pt x="0" y="570"/>
                    </a:lnTo>
                    <a:lnTo>
                      <a:pt x="0" y="564"/>
                    </a:lnTo>
                    <a:lnTo>
                      <a:pt x="6" y="564"/>
                    </a:lnTo>
                    <a:lnTo>
                      <a:pt x="6" y="570"/>
                    </a:lnTo>
                    <a:lnTo>
                      <a:pt x="12" y="570"/>
                    </a:lnTo>
                    <a:lnTo>
                      <a:pt x="12" y="564"/>
                    </a:lnTo>
                    <a:lnTo>
                      <a:pt x="18" y="564"/>
                    </a:lnTo>
                    <a:lnTo>
                      <a:pt x="18" y="558"/>
                    </a:lnTo>
                    <a:lnTo>
                      <a:pt x="24" y="558"/>
                    </a:lnTo>
                    <a:lnTo>
                      <a:pt x="24" y="552"/>
                    </a:lnTo>
                    <a:lnTo>
                      <a:pt x="30" y="552"/>
                    </a:lnTo>
                    <a:lnTo>
                      <a:pt x="36" y="552"/>
                    </a:lnTo>
                    <a:lnTo>
                      <a:pt x="42" y="552"/>
                    </a:lnTo>
                    <a:lnTo>
                      <a:pt x="42" y="546"/>
                    </a:lnTo>
                    <a:lnTo>
                      <a:pt x="42" y="540"/>
                    </a:lnTo>
                    <a:lnTo>
                      <a:pt x="48" y="540"/>
                    </a:lnTo>
                    <a:lnTo>
                      <a:pt x="48" y="534"/>
                    </a:lnTo>
                    <a:lnTo>
                      <a:pt x="48" y="528"/>
                    </a:lnTo>
                    <a:lnTo>
                      <a:pt x="54" y="528"/>
                    </a:lnTo>
                    <a:lnTo>
                      <a:pt x="48" y="528"/>
                    </a:lnTo>
                    <a:lnTo>
                      <a:pt x="48" y="522"/>
                    </a:lnTo>
                    <a:lnTo>
                      <a:pt x="48" y="516"/>
                    </a:lnTo>
                    <a:lnTo>
                      <a:pt x="42" y="516"/>
                    </a:lnTo>
                    <a:lnTo>
                      <a:pt x="42" y="522"/>
                    </a:lnTo>
                    <a:lnTo>
                      <a:pt x="36" y="516"/>
                    </a:lnTo>
                    <a:lnTo>
                      <a:pt x="36" y="510"/>
                    </a:lnTo>
                    <a:lnTo>
                      <a:pt x="36" y="504"/>
                    </a:lnTo>
                    <a:lnTo>
                      <a:pt x="30" y="504"/>
                    </a:lnTo>
                    <a:lnTo>
                      <a:pt x="30" y="498"/>
                    </a:lnTo>
                    <a:lnTo>
                      <a:pt x="36" y="498"/>
                    </a:lnTo>
                    <a:lnTo>
                      <a:pt x="36" y="492"/>
                    </a:lnTo>
                    <a:lnTo>
                      <a:pt x="42" y="492"/>
                    </a:lnTo>
                    <a:lnTo>
                      <a:pt x="48" y="492"/>
                    </a:lnTo>
                    <a:lnTo>
                      <a:pt x="48" y="498"/>
                    </a:lnTo>
                    <a:lnTo>
                      <a:pt x="54" y="498"/>
                    </a:lnTo>
                    <a:lnTo>
                      <a:pt x="54" y="492"/>
                    </a:lnTo>
                    <a:lnTo>
                      <a:pt x="60" y="492"/>
                    </a:lnTo>
                    <a:lnTo>
                      <a:pt x="66" y="492"/>
                    </a:lnTo>
                    <a:lnTo>
                      <a:pt x="66" y="486"/>
                    </a:lnTo>
                    <a:lnTo>
                      <a:pt x="72" y="486"/>
                    </a:lnTo>
                    <a:lnTo>
                      <a:pt x="72" y="480"/>
                    </a:lnTo>
                    <a:lnTo>
                      <a:pt x="78" y="480"/>
                    </a:lnTo>
                    <a:lnTo>
                      <a:pt x="84" y="480"/>
                    </a:lnTo>
                    <a:lnTo>
                      <a:pt x="78" y="480"/>
                    </a:lnTo>
                    <a:lnTo>
                      <a:pt x="78" y="474"/>
                    </a:lnTo>
                    <a:lnTo>
                      <a:pt x="72" y="474"/>
                    </a:lnTo>
                    <a:lnTo>
                      <a:pt x="66" y="474"/>
                    </a:lnTo>
                    <a:lnTo>
                      <a:pt x="66" y="468"/>
                    </a:lnTo>
                    <a:lnTo>
                      <a:pt x="60" y="468"/>
                    </a:lnTo>
                    <a:lnTo>
                      <a:pt x="54" y="468"/>
                    </a:lnTo>
                    <a:lnTo>
                      <a:pt x="54" y="462"/>
                    </a:lnTo>
                    <a:lnTo>
                      <a:pt x="60" y="462"/>
                    </a:lnTo>
                    <a:lnTo>
                      <a:pt x="60" y="456"/>
                    </a:lnTo>
                    <a:lnTo>
                      <a:pt x="60" y="450"/>
                    </a:lnTo>
                    <a:lnTo>
                      <a:pt x="66" y="450"/>
                    </a:lnTo>
                    <a:lnTo>
                      <a:pt x="72" y="450"/>
                    </a:lnTo>
                    <a:lnTo>
                      <a:pt x="72" y="444"/>
                    </a:lnTo>
                    <a:lnTo>
                      <a:pt x="78" y="444"/>
                    </a:lnTo>
                    <a:lnTo>
                      <a:pt x="84" y="444"/>
                    </a:lnTo>
                    <a:lnTo>
                      <a:pt x="84" y="438"/>
                    </a:lnTo>
                    <a:lnTo>
                      <a:pt x="90" y="438"/>
                    </a:lnTo>
                    <a:lnTo>
                      <a:pt x="96" y="438"/>
                    </a:lnTo>
                    <a:lnTo>
                      <a:pt x="96" y="432"/>
                    </a:lnTo>
                    <a:lnTo>
                      <a:pt x="102" y="432"/>
                    </a:lnTo>
                    <a:lnTo>
                      <a:pt x="102" y="426"/>
                    </a:lnTo>
                    <a:lnTo>
                      <a:pt x="108" y="426"/>
                    </a:lnTo>
                    <a:lnTo>
                      <a:pt x="102" y="426"/>
                    </a:lnTo>
                    <a:lnTo>
                      <a:pt x="102" y="420"/>
                    </a:lnTo>
                    <a:lnTo>
                      <a:pt x="102" y="414"/>
                    </a:lnTo>
                    <a:lnTo>
                      <a:pt x="108" y="414"/>
                    </a:lnTo>
                    <a:lnTo>
                      <a:pt x="108" y="408"/>
                    </a:lnTo>
                    <a:lnTo>
                      <a:pt x="108" y="402"/>
                    </a:lnTo>
                    <a:lnTo>
                      <a:pt x="102" y="402"/>
                    </a:lnTo>
                    <a:lnTo>
                      <a:pt x="102" y="396"/>
                    </a:lnTo>
                    <a:lnTo>
                      <a:pt x="102" y="390"/>
                    </a:lnTo>
                    <a:lnTo>
                      <a:pt x="102" y="384"/>
                    </a:lnTo>
                    <a:lnTo>
                      <a:pt x="108" y="384"/>
                    </a:lnTo>
                    <a:lnTo>
                      <a:pt x="102" y="384"/>
                    </a:lnTo>
                    <a:lnTo>
                      <a:pt x="108" y="384"/>
                    </a:lnTo>
                    <a:lnTo>
                      <a:pt x="108" y="378"/>
                    </a:lnTo>
                    <a:lnTo>
                      <a:pt x="108" y="372"/>
                    </a:lnTo>
                    <a:lnTo>
                      <a:pt x="114" y="372"/>
                    </a:lnTo>
                    <a:lnTo>
                      <a:pt x="108" y="372"/>
                    </a:lnTo>
                    <a:lnTo>
                      <a:pt x="108" y="366"/>
                    </a:lnTo>
                    <a:lnTo>
                      <a:pt x="102" y="366"/>
                    </a:lnTo>
                    <a:lnTo>
                      <a:pt x="102" y="360"/>
                    </a:lnTo>
                    <a:lnTo>
                      <a:pt x="102" y="354"/>
                    </a:lnTo>
                    <a:lnTo>
                      <a:pt x="102" y="348"/>
                    </a:lnTo>
                    <a:lnTo>
                      <a:pt x="96" y="348"/>
                    </a:lnTo>
                    <a:lnTo>
                      <a:pt x="90" y="348"/>
                    </a:lnTo>
                    <a:lnTo>
                      <a:pt x="84" y="348"/>
                    </a:lnTo>
                    <a:lnTo>
                      <a:pt x="84" y="342"/>
                    </a:lnTo>
                    <a:lnTo>
                      <a:pt x="90" y="342"/>
                    </a:lnTo>
                    <a:lnTo>
                      <a:pt x="90" y="336"/>
                    </a:lnTo>
                    <a:lnTo>
                      <a:pt x="90" y="330"/>
                    </a:lnTo>
                    <a:lnTo>
                      <a:pt x="90" y="324"/>
                    </a:lnTo>
                    <a:lnTo>
                      <a:pt x="90" y="330"/>
                    </a:lnTo>
                    <a:lnTo>
                      <a:pt x="90" y="324"/>
                    </a:lnTo>
                    <a:lnTo>
                      <a:pt x="96" y="324"/>
                    </a:lnTo>
                    <a:lnTo>
                      <a:pt x="96" y="318"/>
                    </a:lnTo>
                    <a:lnTo>
                      <a:pt x="90" y="318"/>
                    </a:lnTo>
                    <a:lnTo>
                      <a:pt x="84" y="318"/>
                    </a:lnTo>
                    <a:lnTo>
                      <a:pt x="84" y="312"/>
                    </a:lnTo>
                    <a:lnTo>
                      <a:pt x="78" y="312"/>
                    </a:lnTo>
                    <a:lnTo>
                      <a:pt x="84" y="312"/>
                    </a:lnTo>
                    <a:lnTo>
                      <a:pt x="84" y="306"/>
                    </a:lnTo>
                    <a:lnTo>
                      <a:pt x="84" y="300"/>
                    </a:lnTo>
                    <a:lnTo>
                      <a:pt x="90" y="300"/>
                    </a:lnTo>
                    <a:lnTo>
                      <a:pt x="90" y="294"/>
                    </a:lnTo>
                    <a:lnTo>
                      <a:pt x="90" y="288"/>
                    </a:lnTo>
                    <a:lnTo>
                      <a:pt x="84" y="288"/>
                    </a:lnTo>
                    <a:lnTo>
                      <a:pt x="90" y="288"/>
                    </a:lnTo>
                    <a:lnTo>
                      <a:pt x="90" y="282"/>
                    </a:lnTo>
                    <a:lnTo>
                      <a:pt x="90" y="276"/>
                    </a:lnTo>
                    <a:lnTo>
                      <a:pt x="90" y="282"/>
                    </a:lnTo>
                    <a:lnTo>
                      <a:pt x="96" y="282"/>
                    </a:lnTo>
                    <a:lnTo>
                      <a:pt x="96" y="288"/>
                    </a:lnTo>
                    <a:lnTo>
                      <a:pt x="96" y="294"/>
                    </a:lnTo>
                    <a:lnTo>
                      <a:pt x="102" y="294"/>
                    </a:lnTo>
                    <a:lnTo>
                      <a:pt x="108" y="294"/>
                    </a:lnTo>
                    <a:lnTo>
                      <a:pt x="108" y="288"/>
                    </a:lnTo>
                    <a:lnTo>
                      <a:pt x="108" y="294"/>
                    </a:lnTo>
                    <a:lnTo>
                      <a:pt x="108" y="288"/>
                    </a:lnTo>
                    <a:lnTo>
                      <a:pt x="114" y="288"/>
                    </a:lnTo>
                    <a:lnTo>
                      <a:pt x="114" y="282"/>
                    </a:lnTo>
                    <a:lnTo>
                      <a:pt x="114" y="276"/>
                    </a:lnTo>
                    <a:lnTo>
                      <a:pt x="108" y="276"/>
                    </a:lnTo>
                    <a:lnTo>
                      <a:pt x="102" y="276"/>
                    </a:lnTo>
                    <a:lnTo>
                      <a:pt x="102" y="270"/>
                    </a:lnTo>
                    <a:lnTo>
                      <a:pt x="96" y="270"/>
                    </a:lnTo>
                    <a:lnTo>
                      <a:pt x="96" y="276"/>
                    </a:lnTo>
                    <a:lnTo>
                      <a:pt x="96" y="270"/>
                    </a:lnTo>
                    <a:lnTo>
                      <a:pt x="96" y="264"/>
                    </a:lnTo>
                    <a:lnTo>
                      <a:pt x="96" y="258"/>
                    </a:lnTo>
                    <a:lnTo>
                      <a:pt x="90" y="258"/>
                    </a:lnTo>
                    <a:lnTo>
                      <a:pt x="90" y="252"/>
                    </a:lnTo>
                    <a:lnTo>
                      <a:pt x="96" y="252"/>
                    </a:lnTo>
                    <a:lnTo>
                      <a:pt x="96" y="258"/>
                    </a:lnTo>
                    <a:lnTo>
                      <a:pt x="102" y="252"/>
                    </a:lnTo>
                    <a:lnTo>
                      <a:pt x="102" y="258"/>
                    </a:lnTo>
                    <a:lnTo>
                      <a:pt x="102" y="264"/>
                    </a:lnTo>
                    <a:lnTo>
                      <a:pt x="108" y="264"/>
                    </a:lnTo>
                    <a:lnTo>
                      <a:pt x="114" y="264"/>
                    </a:lnTo>
                    <a:lnTo>
                      <a:pt x="120" y="264"/>
                    </a:lnTo>
                    <a:lnTo>
                      <a:pt x="126" y="264"/>
                    </a:lnTo>
                    <a:lnTo>
                      <a:pt x="126" y="258"/>
                    </a:lnTo>
                    <a:lnTo>
                      <a:pt x="126" y="252"/>
                    </a:lnTo>
                    <a:lnTo>
                      <a:pt x="132" y="252"/>
                    </a:lnTo>
                    <a:lnTo>
                      <a:pt x="132" y="246"/>
                    </a:lnTo>
                    <a:lnTo>
                      <a:pt x="132" y="240"/>
                    </a:lnTo>
                    <a:lnTo>
                      <a:pt x="138" y="240"/>
                    </a:lnTo>
                    <a:lnTo>
                      <a:pt x="144" y="240"/>
                    </a:lnTo>
                    <a:lnTo>
                      <a:pt x="150" y="240"/>
                    </a:lnTo>
                    <a:lnTo>
                      <a:pt x="156" y="240"/>
                    </a:lnTo>
                    <a:lnTo>
                      <a:pt x="156" y="246"/>
                    </a:lnTo>
                    <a:lnTo>
                      <a:pt x="150" y="246"/>
                    </a:lnTo>
                    <a:lnTo>
                      <a:pt x="150" y="252"/>
                    </a:lnTo>
                    <a:lnTo>
                      <a:pt x="156" y="252"/>
                    </a:lnTo>
                    <a:lnTo>
                      <a:pt x="150" y="258"/>
                    </a:lnTo>
                    <a:lnTo>
                      <a:pt x="150" y="252"/>
                    </a:lnTo>
                    <a:lnTo>
                      <a:pt x="144" y="252"/>
                    </a:lnTo>
                    <a:lnTo>
                      <a:pt x="144" y="258"/>
                    </a:lnTo>
                    <a:lnTo>
                      <a:pt x="150" y="258"/>
                    </a:lnTo>
                    <a:lnTo>
                      <a:pt x="144" y="258"/>
                    </a:lnTo>
                    <a:lnTo>
                      <a:pt x="144" y="264"/>
                    </a:lnTo>
                    <a:lnTo>
                      <a:pt x="150" y="264"/>
                    </a:lnTo>
                    <a:lnTo>
                      <a:pt x="156" y="264"/>
                    </a:lnTo>
                    <a:lnTo>
                      <a:pt x="162" y="264"/>
                    </a:lnTo>
                    <a:lnTo>
                      <a:pt x="162" y="270"/>
                    </a:lnTo>
                    <a:lnTo>
                      <a:pt x="156" y="270"/>
                    </a:lnTo>
                    <a:lnTo>
                      <a:pt x="150" y="270"/>
                    </a:lnTo>
                    <a:lnTo>
                      <a:pt x="150" y="264"/>
                    </a:lnTo>
                    <a:lnTo>
                      <a:pt x="144" y="264"/>
                    </a:lnTo>
                    <a:lnTo>
                      <a:pt x="144" y="258"/>
                    </a:lnTo>
                    <a:lnTo>
                      <a:pt x="144" y="264"/>
                    </a:lnTo>
                    <a:lnTo>
                      <a:pt x="138" y="264"/>
                    </a:lnTo>
                    <a:lnTo>
                      <a:pt x="138" y="258"/>
                    </a:lnTo>
                    <a:lnTo>
                      <a:pt x="138" y="264"/>
                    </a:lnTo>
                    <a:lnTo>
                      <a:pt x="138" y="270"/>
                    </a:lnTo>
                    <a:lnTo>
                      <a:pt x="144" y="270"/>
                    </a:lnTo>
                    <a:lnTo>
                      <a:pt x="138" y="270"/>
                    </a:lnTo>
                    <a:lnTo>
                      <a:pt x="138" y="276"/>
                    </a:lnTo>
                    <a:lnTo>
                      <a:pt x="138" y="282"/>
                    </a:lnTo>
                    <a:lnTo>
                      <a:pt x="144" y="282"/>
                    </a:lnTo>
                    <a:lnTo>
                      <a:pt x="150" y="282"/>
                    </a:lnTo>
                    <a:lnTo>
                      <a:pt x="150" y="288"/>
                    </a:lnTo>
                    <a:lnTo>
                      <a:pt x="156" y="288"/>
                    </a:lnTo>
                    <a:lnTo>
                      <a:pt x="162" y="288"/>
                    </a:lnTo>
                    <a:lnTo>
                      <a:pt x="168" y="288"/>
                    </a:lnTo>
                    <a:lnTo>
                      <a:pt x="174" y="288"/>
                    </a:lnTo>
                    <a:lnTo>
                      <a:pt x="174" y="282"/>
                    </a:lnTo>
                    <a:lnTo>
                      <a:pt x="180" y="282"/>
                    </a:lnTo>
                    <a:lnTo>
                      <a:pt x="186" y="282"/>
                    </a:lnTo>
                    <a:lnTo>
                      <a:pt x="186" y="288"/>
                    </a:lnTo>
                    <a:lnTo>
                      <a:pt x="192" y="288"/>
                    </a:lnTo>
                    <a:lnTo>
                      <a:pt x="192" y="282"/>
                    </a:lnTo>
                    <a:lnTo>
                      <a:pt x="198" y="282"/>
                    </a:lnTo>
                    <a:lnTo>
                      <a:pt x="204" y="276"/>
                    </a:lnTo>
                    <a:lnTo>
                      <a:pt x="210" y="276"/>
                    </a:lnTo>
                    <a:lnTo>
                      <a:pt x="210" y="282"/>
                    </a:lnTo>
                    <a:lnTo>
                      <a:pt x="216" y="282"/>
                    </a:lnTo>
                    <a:lnTo>
                      <a:pt x="216" y="288"/>
                    </a:lnTo>
                    <a:lnTo>
                      <a:pt x="210" y="288"/>
                    </a:lnTo>
                    <a:lnTo>
                      <a:pt x="216" y="288"/>
                    </a:lnTo>
                    <a:lnTo>
                      <a:pt x="216" y="294"/>
                    </a:lnTo>
                    <a:lnTo>
                      <a:pt x="210" y="294"/>
                    </a:lnTo>
                    <a:lnTo>
                      <a:pt x="210" y="300"/>
                    </a:lnTo>
                    <a:lnTo>
                      <a:pt x="216" y="300"/>
                    </a:lnTo>
                    <a:lnTo>
                      <a:pt x="210" y="300"/>
                    </a:lnTo>
                    <a:lnTo>
                      <a:pt x="216" y="300"/>
                    </a:lnTo>
                    <a:lnTo>
                      <a:pt x="222" y="300"/>
                    </a:lnTo>
                    <a:lnTo>
                      <a:pt x="222" y="306"/>
                    </a:lnTo>
                    <a:lnTo>
                      <a:pt x="222" y="312"/>
                    </a:lnTo>
                    <a:lnTo>
                      <a:pt x="222" y="306"/>
                    </a:lnTo>
                    <a:lnTo>
                      <a:pt x="222" y="312"/>
                    </a:lnTo>
                    <a:lnTo>
                      <a:pt x="222" y="318"/>
                    </a:lnTo>
                    <a:lnTo>
                      <a:pt x="216" y="318"/>
                    </a:lnTo>
                    <a:lnTo>
                      <a:pt x="216" y="324"/>
                    </a:lnTo>
                    <a:lnTo>
                      <a:pt x="210" y="324"/>
                    </a:lnTo>
                    <a:lnTo>
                      <a:pt x="210" y="318"/>
                    </a:lnTo>
                    <a:lnTo>
                      <a:pt x="204" y="318"/>
                    </a:lnTo>
                    <a:lnTo>
                      <a:pt x="204" y="324"/>
                    </a:lnTo>
                    <a:lnTo>
                      <a:pt x="198" y="324"/>
                    </a:lnTo>
                    <a:lnTo>
                      <a:pt x="198" y="330"/>
                    </a:lnTo>
                    <a:lnTo>
                      <a:pt x="204" y="330"/>
                    </a:lnTo>
                    <a:lnTo>
                      <a:pt x="204" y="336"/>
                    </a:lnTo>
                    <a:lnTo>
                      <a:pt x="210" y="336"/>
                    </a:lnTo>
                    <a:lnTo>
                      <a:pt x="210" y="342"/>
                    </a:lnTo>
                    <a:lnTo>
                      <a:pt x="210" y="348"/>
                    </a:lnTo>
                    <a:lnTo>
                      <a:pt x="204" y="348"/>
                    </a:lnTo>
                    <a:lnTo>
                      <a:pt x="204" y="354"/>
                    </a:lnTo>
                    <a:lnTo>
                      <a:pt x="204" y="360"/>
                    </a:lnTo>
                    <a:lnTo>
                      <a:pt x="210" y="360"/>
                    </a:lnTo>
                    <a:lnTo>
                      <a:pt x="210" y="366"/>
                    </a:lnTo>
                    <a:lnTo>
                      <a:pt x="216" y="366"/>
                    </a:lnTo>
                    <a:lnTo>
                      <a:pt x="216" y="372"/>
                    </a:lnTo>
                    <a:lnTo>
                      <a:pt x="210" y="372"/>
                    </a:lnTo>
                    <a:lnTo>
                      <a:pt x="204" y="372"/>
                    </a:lnTo>
                    <a:lnTo>
                      <a:pt x="210" y="372"/>
                    </a:lnTo>
                    <a:lnTo>
                      <a:pt x="204" y="378"/>
                    </a:lnTo>
                    <a:lnTo>
                      <a:pt x="198" y="378"/>
                    </a:lnTo>
                    <a:lnTo>
                      <a:pt x="198" y="384"/>
                    </a:lnTo>
                    <a:lnTo>
                      <a:pt x="198" y="378"/>
                    </a:lnTo>
                    <a:lnTo>
                      <a:pt x="192" y="378"/>
                    </a:lnTo>
                    <a:lnTo>
                      <a:pt x="192" y="372"/>
                    </a:lnTo>
                    <a:lnTo>
                      <a:pt x="192" y="378"/>
                    </a:lnTo>
                    <a:lnTo>
                      <a:pt x="186" y="378"/>
                    </a:lnTo>
                    <a:lnTo>
                      <a:pt x="180" y="378"/>
                    </a:lnTo>
                    <a:lnTo>
                      <a:pt x="180" y="372"/>
                    </a:lnTo>
                    <a:lnTo>
                      <a:pt x="174" y="372"/>
                    </a:lnTo>
                    <a:lnTo>
                      <a:pt x="174" y="378"/>
                    </a:lnTo>
                    <a:lnTo>
                      <a:pt x="168" y="378"/>
                    </a:lnTo>
                    <a:lnTo>
                      <a:pt x="168" y="384"/>
                    </a:lnTo>
                    <a:lnTo>
                      <a:pt x="168" y="390"/>
                    </a:lnTo>
                    <a:lnTo>
                      <a:pt x="174" y="390"/>
                    </a:lnTo>
                    <a:lnTo>
                      <a:pt x="180" y="396"/>
                    </a:lnTo>
                    <a:lnTo>
                      <a:pt x="180" y="402"/>
                    </a:lnTo>
                    <a:lnTo>
                      <a:pt x="180" y="396"/>
                    </a:lnTo>
                    <a:lnTo>
                      <a:pt x="180" y="402"/>
                    </a:lnTo>
                    <a:lnTo>
                      <a:pt x="186" y="402"/>
                    </a:lnTo>
                    <a:lnTo>
                      <a:pt x="192" y="402"/>
                    </a:lnTo>
                    <a:lnTo>
                      <a:pt x="192" y="408"/>
                    </a:lnTo>
                    <a:lnTo>
                      <a:pt x="198" y="408"/>
                    </a:lnTo>
                    <a:lnTo>
                      <a:pt x="198" y="402"/>
                    </a:lnTo>
                    <a:lnTo>
                      <a:pt x="198" y="396"/>
                    </a:lnTo>
                    <a:lnTo>
                      <a:pt x="204" y="396"/>
                    </a:lnTo>
                    <a:lnTo>
                      <a:pt x="198" y="396"/>
                    </a:lnTo>
                    <a:lnTo>
                      <a:pt x="198" y="390"/>
                    </a:lnTo>
                    <a:lnTo>
                      <a:pt x="204" y="390"/>
                    </a:lnTo>
                    <a:lnTo>
                      <a:pt x="204" y="396"/>
                    </a:lnTo>
                    <a:lnTo>
                      <a:pt x="210" y="396"/>
                    </a:lnTo>
                    <a:lnTo>
                      <a:pt x="210" y="390"/>
                    </a:lnTo>
                    <a:lnTo>
                      <a:pt x="216" y="396"/>
                    </a:lnTo>
                    <a:lnTo>
                      <a:pt x="216" y="390"/>
                    </a:lnTo>
                    <a:lnTo>
                      <a:pt x="216" y="396"/>
                    </a:lnTo>
                    <a:lnTo>
                      <a:pt x="222" y="396"/>
                    </a:lnTo>
                    <a:lnTo>
                      <a:pt x="222" y="390"/>
                    </a:lnTo>
                    <a:lnTo>
                      <a:pt x="228" y="390"/>
                    </a:lnTo>
                    <a:lnTo>
                      <a:pt x="228" y="384"/>
                    </a:lnTo>
                    <a:lnTo>
                      <a:pt x="234" y="384"/>
                    </a:lnTo>
                    <a:lnTo>
                      <a:pt x="228" y="384"/>
                    </a:lnTo>
                    <a:lnTo>
                      <a:pt x="234" y="384"/>
                    </a:lnTo>
                    <a:lnTo>
                      <a:pt x="228" y="384"/>
                    </a:lnTo>
                    <a:lnTo>
                      <a:pt x="228" y="378"/>
                    </a:lnTo>
                    <a:lnTo>
                      <a:pt x="234" y="378"/>
                    </a:lnTo>
                    <a:lnTo>
                      <a:pt x="228" y="378"/>
                    </a:lnTo>
                    <a:lnTo>
                      <a:pt x="228" y="372"/>
                    </a:lnTo>
                    <a:lnTo>
                      <a:pt x="234" y="372"/>
                    </a:lnTo>
                    <a:lnTo>
                      <a:pt x="234" y="378"/>
                    </a:lnTo>
                    <a:lnTo>
                      <a:pt x="234" y="372"/>
                    </a:lnTo>
                    <a:lnTo>
                      <a:pt x="240" y="372"/>
                    </a:lnTo>
                    <a:lnTo>
                      <a:pt x="240" y="366"/>
                    </a:lnTo>
                    <a:lnTo>
                      <a:pt x="246" y="366"/>
                    </a:lnTo>
                    <a:lnTo>
                      <a:pt x="246" y="360"/>
                    </a:lnTo>
                    <a:lnTo>
                      <a:pt x="246" y="354"/>
                    </a:lnTo>
                    <a:lnTo>
                      <a:pt x="246" y="348"/>
                    </a:lnTo>
                    <a:lnTo>
                      <a:pt x="252" y="348"/>
                    </a:lnTo>
                    <a:lnTo>
                      <a:pt x="252" y="342"/>
                    </a:lnTo>
                    <a:lnTo>
                      <a:pt x="252" y="336"/>
                    </a:lnTo>
                    <a:lnTo>
                      <a:pt x="258" y="336"/>
                    </a:lnTo>
                    <a:lnTo>
                      <a:pt x="258" y="342"/>
                    </a:lnTo>
                    <a:lnTo>
                      <a:pt x="258" y="348"/>
                    </a:lnTo>
                    <a:lnTo>
                      <a:pt x="264" y="348"/>
                    </a:lnTo>
                    <a:lnTo>
                      <a:pt x="270" y="348"/>
                    </a:lnTo>
                    <a:lnTo>
                      <a:pt x="270" y="342"/>
                    </a:lnTo>
                    <a:lnTo>
                      <a:pt x="276" y="342"/>
                    </a:lnTo>
                    <a:lnTo>
                      <a:pt x="276" y="348"/>
                    </a:lnTo>
                    <a:lnTo>
                      <a:pt x="282" y="348"/>
                    </a:lnTo>
                    <a:lnTo>
                      <a:pt x="288" y="348"/>
                    </a:lnTo>
                    <a:lnTo>
                      <a:pt x="294" y="348"/>
                    </a:lnTo>
                    <a:lnTo>
                      <a:pt x="294" y="354"/>
                    </a:lnTo>
                    <a:lnTo>
                      <a:pt x="300" y="354"/>
                    </a:lnTo>
                    <a:lnTo>
                      <a:pt x="300" y="348"/>
                    </a:lnTo>
                    <a:lnTo>
                      <a:pt x="306" y="348"/>
                    </a:lnTo>
                    <a:lnTo>
                      <a:pt x="300" y="348"/>
                    </a:lnTo>
                    <a:lnTo>
                      <a:pt x="300" y="342"/>
                    </a:lnTo>
                    <a:lnTo>
                      <a:pt x="306" y="342"/>
                    </a:lnTo>
                    <a:lnTo>
                      <a:pt x="306" y="348"/>
                    </a:lnTo>
                    <a:lnTo>
                      <a:pt x="306" y="342"/>
                    </a:lnTo>
                    <a:lnTo>
                      <a:pt x="312" y="342"/>
                    </a:lnTo>
                    <a:lnTo>
                      <a:pt x="318" y="342"/>
                    </a:lnTo>
                    <a:lnTo>
                      <a:pt x="318" y="348"/>
                    </a:lnTo>
                    <a:lnTo>
                      <a:pt x="312" y="348"/>
                    </a:lnTo>
                    <a:lnTo>
                      <a:pt x="312" y="354"/>
                    </a:lnTo>
                    <a:lnTo>
                      <a:pt x="318" y="354"/>
                    </a:lnTo>
                    <a:lnTo>
                      <a:pt x="324" y="354"/>
                    </a:lnTo>
                    <a:lnTo>
                      <a:pt x="324" y="360"/>
                    </a:lnTo>
                    <a:lnTo>
                      <a:pt x="330" y="360"/>
                    </a:lnTo>
                    <a:lnTo>
                      <a:pt x="336" y="360"/>
                    </a:lnTo>
                    <a:lnTo>
                      <a:pt x="342" y="360"/>
                    </a:lnTo>
                    <a:lnTo>
                      <a:pt x="342" y="354"/>
                    </a:lnTo>
                    <a:lnTo>
                      <a:pt x="348" y="354"/>
                    </a:lnTo>
                    <a:lnTo>
                      <a:pt x="348" y="348"/>
                    </a:lnTo>
                    <a:lnTo>
                      <a:pt x="342" y="348"/>
                    </a:lnTo>
                    <a:lnTo>
                      <a:pt x="342" y="342"/>
                    </a:lnTo>
                    <a:lnTo>
                      <a:pt x="336" y="342"/>
                    </a:lnTo>
                    <a:lnTo>
                      <a:pt x="336" y="336"/>
                    </a:lnTo>
                    <a:lnTo>
                      <a:pt x="330" y="330"/>
                    </a:lnTo>
                    <a:lnTo>
                      <a:pt x="336" y="330"/>
                    </a:lnTo>
                    <a:lnTo>
                      <a:pt x="336" y="324"/>
                    </a:lnTo>
                    <a:lnTo>
                      <a:pt x="330" y="324"/>
                    </a:lnTo>
                    <a:lnTo>
                      <a:pt x="336" y="324"/>
                    </a:lnTo>
                    <a:lnTo>
                      <a:pt x="336" y="318"/>
                    </a:lnTo>
                    <a:lnTo>
                      <a:pt x="336" y="312"/>
                    </a:lnTo>
                    <a:lnTo>
                      <a:pt x="330" y="312"/>
                    </a:lnTo>
                    <a:lnTo>
                      <a:pt x="330" y="306"/>
                    </a:lnTo>
                    <a:lnTo>
                      <a:pt x="336" y="306"/>
                    </a:lnTo>
                    <a:lnTo>
                      <a:pt x="342" y="306"/>
                    </a:lnTo>
                    <a:lnTo>
                      <a:pt x="342" y="312"/>
                    </a:lnTo>
                    <a:lnTo>
                      <a:pt x="342" y="318"/>
                    </a:lnTo>
                    <a:lnTo>
                      <a:pt x="348" y="318"/>
                    </a:lnTo>
                    <a:lnTo>
                      <a:pt x="354" y="312"/>
                    </a:lnTo>
                    <a:lnTo>
                      <a:pt x="354" y="306"/>
                    </a:lnTo>
                    <a:lnTo>
                      <a:pt x="360" y="306"/>
                    </a:lnTo>
                    <a:lnTo>
                      <a:pt x="360" y="300"/>
                    </a:lnTo>
                    <a:lnTo>
                      <a:pt x="360" y="294"/>
                    </a:lnTo>
                    <a:lnTo>
                      <a:pt x="360" y="288"/>
                    </a:lnTo>
                    <a:lnTo>
                      <a:pt x="354" y="282"/>
                    </a:lnTo>
                    <a:lnTo>
                      <a:pt x="348" y="282"/>
                    </a:lnTo>
                    <a:lnTo>
                      <a:pt x="348" y="276"/>
                    </a:lnTo>
                    <a:lnTo>
                      <a:pt x="342" y="276"/>
                    </a:lnTo>
                    <a:lnTo>
                      <a:pt x="342" y="282"/>
                    </a:lnTo>
                    <a:lnTo>
                      <a:pt x="342" y="276"/>
                    </a:lnTo>
                    <a:lnTo>
                      <a:pt x="336" y="276"/>
                    </a:lnTo>
                    <a:lnTo>
                      <a:pt x="336" y="282"/>
                    </a:lnTo>
                    <a:lnTo>
                      <a:pt x="336" y="276"/>
                    </a:lnTo>
                    <a:lnTo>
                      <a:pt x="330" y="276"/>
                    </a:lnTo>
                    <a:lnTo>
                      <a:pt x="330" y="270"/>
                    </a:lnTo>
                    <a:lnTo>
                      <a:pt x="336" y="270"/>
                    </a:lnTo>
                    <a:lnTo>
                      <a:pt x="336" y="264"/>
                    </a:lnTo>
                    <a:lnTo>
                      <a:pt x="336" y="270"/>
                    </a:lnTo>
                    <a:lnTo>
                      <a:pt x="342" y="264"/>
                    </a:lnTo>
                    <a:lnTo>
                      <a:pt x="342" y="270"/>
                    </a:lnTo>
                    <a:lnTo>
                      <a:pt x="342" y="264"/>
                    </a:lnTo>
                    <a:lnTo>
                      <a:pt x="348" y="264"/>
                    </a:lnTo>
                    <a:lnTo>
                      <a:pt x="342" y="264"/>
                    </a:lnTo>
                    <a:lnTo>
                      <a:pt x="342" y="258"/>
                    </a:lnTo>
                    <a:lnTo>
                      <a:pt x="336" y="258"/>
                    </a:lnTo>
                    <a:lnTo>
                      <a:pt x="342" y="252"/>
                    </a:lnTo>
                    <a:lnTo>
                      <a:pt x="336" y="252"/>
                    </a:lnTo>
                    <a:lnTo>
                      <a:pt x="336" y="246"/>
                    </a:lnTo>
                    <a:lnTo>
                      <a:pt x="336" y="240"/>
                    </a:lnTo>
                    <a:lnTo>
                      <a:pt x="342" y="240"/>
                    </a:lnTo>
                    <a:lnTo>
                      <a:pt x="348" y="240"/>
                    </a:lnTo>
                    <a:lnTo>
                      <a:pt x="348" y="234"/>
                    </a:lnTo>
                    <a:lnTo>
                      <a:pt x="354" y="234"/>
                    </a:lnTo>
                    <a:lnTo>
                      <a:pt x="360" y="234"/>
                    </a:lnTo>
                    <a:lnTo>
                      <a:pt x="360" y="240"/>
                    </a:lnTo>
                    <a:lnTo>
                      <a:pt x="366" y="240"/>
                    </a:lnTo>
                    <a:lnTo>
                      <a:pt x="366" y="234"/>
                    </a:lnTo>
                    <a:lnTo>
                      <a:pt x="372" y="234"/>
                    </a:lnTo>
                    <a:lnTo>
                      <a:pt x="378" y="234"/>
                    </a:lnTo>
                    <a:lnTo>
                      <a:pt x="378" y="228"/>
                    </a:lnTo>
                    <a:lnTo>
                      <a:pt x="378" y="234"/>
                    </a:lnTo>
                    <a:lnTo>
                      <a:pt x="384" y="228"/>
                    </a:lnTo>
                    <a:lnTo>
                      <a:pt x="384" y="234"/>
                    </a:lnTo>
                    <a:lnTo>
                      <a:pt x="390" y="234"/>
                    </a:lnTo>
                    <a:lnTo>
                      <a:pt x="396" y="234"/>
                    </a:lnTo>
                    <a:lnTo>
                      <a:pt x="396" y="228"/>
                    </a:lnTo>
                    <a:lnTo>
                      <a:pt x="402" y="228"/>
                    </a:lnTo>
                    <a:lnTo>
                      <a:pt x="402" y="234"/>
                    </a:lnTo>
                    <a:lnTo>
                      <a:pt x="402" y="228"/>
                    </a:lnTo>
                    <a:lnTo>
                      <a:pt x="402" y="222"/>
                    </a:lnTo>
                    <a:lnTo>
                      <a:pt x="402" y="216"/>
                    </a:lnTo>
                    <a:lnTo>
                      <a:pt x="396" y="216"/>
                    </a:lnTo>
                    <a:lnTo>
                      <a:pt x="396" y="210"/>
                    </a:lnTo>
                    <a:lnTo>
                      <a:pt x="396" y="204"/>
                    </a:lnTo>
                    <a:lnTo>
                      <a:pt x="396" y="198"/>
                    </a:lnTo>
                    <a:lnTo>
                      <a:pt x="396" y="192"/>
                    </a:lnTo>
                    <a:lnTo>
                      <a:pt x="390" y="192"/>
                    </a:lnTo>
                    <a:lnTo>
                      <a:pt x="390" y="186"/>
                    </a:lnTo>
                    <a:lnTo>
                      <a:pt x="390" y="192"/>
                    </a:lnTo>
                    <a:lnTo>
                      <a:pt x="384" y="192"/>
                    </a:lnTo>
                    <a:lnTo>
                      <a:pt x="384" y="198"/>
                    </a:lnTo>
                    <a:lnTo>
                      <a:pt x="378" y="198"/>
                    </a:lnTo>
                    <a:lnTo>
                      <a:pt x="378" y="204"/>
                    </a:lnTo>
                    <a:lnTo>
                      <a:pt x="372" y="204"/>
                    </a:lnTo>
                    <a:lnTo>
                      <a:pt x="366" y="204"/>
                    </a:lnTo>
                    <a:lnTo>
                      <a:pt x="360" y="204"/>
                    </a:lnTo>
                    <a:lnTo>
                      <a:pt x="354" y="204"/>
                    </a:lnTo>
                    <a:lnTo>
                      <a:pt x="348" y="204"/>
                    </a:lnTo>
                    <a:lnTo>
                      <a:pt x="348" y="210"/>
                    </a:lnTo>
                    <a:lnTo>
                      <a:pt x="342" y="210"/>
                    </a:lnTo>
                    <a:lnTo>
                      <a:pt x="342" y="204"/>
                    </a:lnTo>
                    <a:lnTo>
                      <a:pt x="336" y="204"/>
                    </a:lnTo>
                    <a:lnTo>
                      <a:pt x="336" y="198"/>
                    </a:lnTo>
                    <a:lnTo>
                      <a:pt x="336" y="204"/>
                    </a:lnTo>
                    <a:lnTo>
                      <a:pt x="330" y="204"/>
                    </a:lnTo>
                    <a:lnTo>
                      <a:pt x="324" y="204"/>
                    </a:lnTo>
                    <a:lnTo>
                      <a:pt x="318" y="204"/>
                    </a:lnTo>
                    <a:lnTo>
                      <a:pt x="318" y="198"/>
                    </a:lnTo>
                    <a:lnTo>
                      <a:pt x="312" y="198"/>
                    </a:lnTo>
                    <a:lnTo>
                      <a:pt x="306" y="198"/>
                    </a:lnTo>
                    <a:lnTo>
                      <a:pt x="306" y="192"/>
                    </a:lnTo>
                    <a:lnTo>
                      <a:pt x="300" y="186"/>
                    </a:lnTo>
                    <a:lnTo>
                      <a:pt x="300" y="180"/>
                    </a:lnTo>
                    <a:lnTo>
                      <a:pt x="294" y="180"/>
                    </a:lnTo>
                    <a:lnTo>
                      <a:pt x="294" y="174"/>
                    </a:lnTo>
                    <a:lnTo>
                      <a:pt x="294" y="168"/>
                    </a:lnTo>
                    <a:lnTo>
                      <a:pt x="294" y="162"/>
                    </a:lnTo>
                    <a:lnTo>
                      <a:pt x="294" y="156"/>
                    </a:lnTo>
                    <a:lnTo>
                      <a:pt x="288" y="156"/>
                    </a:lnTo>
                    <a:lnTo>
                      <a:pt x="288" y="150"/>
                    </a:lnTo>
                    <a:lnTo>
                      <a:pt x="294" y="150"/>
                    </a:lnTo>
                    <a:lnTo>
                      <a:pt x="294" y="144"/>
                    </a:lnTo>
                    <a:lnTo>
                      <a:pt x="294" y="138"/>
                    </a:lnTo>
                    <a:lnTo>
                      <a:pt x="300" y="138"/>
                    </a:lnTo>
                    <a:lnTo>
                      <a:pt x="300" y="132"/>
                    </a:lnTo>
                    <a:lnTo>
                      <a:pt x="306" y="132"/>
                    </a:lnTo>
                    <a:lnTo>
                      <a:pt x="306" y="126"/>
                    </a:lnTo>
                    <a:lnTo>
                      <a:pt x="312" y="126"/>
                    </a:lnTo>
                    <a:lnTo>
                      <a:pt x="318" y="126"/>
                    </a:lnTo>
                    <a:lnTo>
                      <a:pt x="324" y="126"/>
                    </a:lnTo>
                    <a:lnTo>
                      <a:pt x="324" y="120"/>
                    </a:lnTo>
                    <a:lnTo>
                      <a:pt x="330" y="120"/>
                    </a:lnTo>
                    <a:lnTo>
                      <a:pt x="330" y="114"/>
                    </a:lnTo>
                    <a:lnTo>
                      <a:pt x="330" y="108"/>
                    </a:lnTo>
                    <a:lnTo>
                      <a:pt x="336" y="108"/>
                    </a:lnTo>
                    <a:lnTo>
                      <a:pt x="342" y="108"/>
                    </a:lnTo>
                    <a:lnTo>
                      <a:pt x="342" y="102"/>
                    </a:lnTo>
                    <a:lnTo>
                      <a:pt x="348" y="102"/>
                    </a:lnTo>
                    <a:lnTo>
                      <a:pt x="348" y="96"/>
                    </a:lnTo>
                    <a:lnTo>
                      <a:pt x="354" y="96"/>
                    </a:lnTo>
                    <a:lnTo>
                      <a:pt x="354" y="90"/>
                    </a:lnTo>
                    <a:lnTo>
                      <a:pt x="360" y="90"/>
                    </a:lnTo>
                    <a:lnTo>
                      <a:pt x="366" y="90"/>
                    </a:lnTo>
                    <a:lnTo>
                      <a:pt x="366" y="84"/>
                    </a:lnTo>
                    <a:lnTo>
                      <a:pt x="372" y="84"/>
                    </a:lnTo>
                    <a:lnTo>
                      <a:pt x="378" y="84"/>
                    </a:lnTo>
                    <a:lnTo>
                      <a:pt x="378" y="78"/>
                    </a:lnTo>
                    <a:lnTo>
                      <a:pt x="384" y="78"/>
                    </a:lnTo>
                    <a:lnTo>
                      <a:pt x="390" y="78"/>
                    </a:lnTo>
                    <a:lnTo>
                      <a:pt x="390" y="72"/>
                    </a:lnTo>
                    <a:lnTo>
                      <a:pt x="390" y="66"/>
                    </a:lnTo>
                    <a:lnTo>
                      <a:pt x="396" y="66"/>
                    </a:lnTo>
                    <a:lnTo>
                      <a:pt x="402" y="66"/>
                    </a:lnTo>
                    <a:lnTo>
                      <a:pt x="408" y="66"/>
                    </a:lnTo>
                    <a:lnTo>
                      <a:pt x="408" y="60"/>
                    </a:lnTo>
                    <a:lnTo>
                      <a:pt x="402" y="60"/>
                    </a:lnTo>
                    <a:lnTo>
                      <a:pt x="408" y="60"/>
                    </a:lnTo>
                    <a:lnTo>
                      <a:pt x="414" y="60"/>
                    </a:lnTo>
                    <a:lnTo>
                      <a:pt x="420" y="60"/>
                    </a:lnTo>
                    <a:lnTo>
                      <a:pt x="420" y="54"/>
                    </a:lnTo>
                    <a:lnTo>
                      <a:pt x="426" y="54"/>
                    </a:lnTo>
                    <a:lnTo>
                      <a:pt x="426" y="48"/>
                    </a:lnTo>
                    <a:lnTo>
                      <a:pt x="432" y="48"/>
                    </a:lnTo>
                    <a:lnTo>
                      <a:pt x="438" y="48"/>
                    </a:lnTo>
                    <a:lnTo>
                      <a:pt x="438" y="42"/>
                    </a:lnTo>
                    <a:lnTo>
                      <a:pt x="444" y="42"/>
                    </a:lnTo>
                    <a:lnTo>
                      <a:pt x="450" y="42"/>
                    </a:lnTo>
                    <a:lnTo>
                      <a:pt x="450" y="36"/>
                    </a:lnTo>
                    <a:lnTo>
                      <a:pt x="450" y="30"/>
                    </a:lnTo>
                    <a:lnTo>
                      <a:pt x="456" y="30"/>
                    </a:lnTo>
                    <a:lnTo>
                      <a:pt x="462" y="30"/>
                    </a:lnTo>
                    <a:lnTo>
                      <a:pt x="462" y="24"/>
                    </a:lnTo>
                    <a:lnTo>
                      <a:pt x="468" y="24"/>
                    </a:lnTo>
                    <a:lnTo>
                      <a:pt x="474" y="24"/>
                    </a:lnTo>
                    <a:lnTo>
                      <a:pt x="474" y="18"/>
                    </a:lnTo>
                    <a:lnTo>
                      <a:pt x="474" y="24"/>
                    </a:lnTo>
                    <a:lnTo>
                      <a:pt x="480" y="24"/>
                    </a:lnTo>
                    <a:lnTo>
                      <a:pt x="486" y="24"/>
                    </a:lnTo>
                    <a:lnTo>
                      <a:pt x="486" y="18"/>
                    </a:lnTo>
                    <a:lnTo>
                      <a:pt x="480" y="18"/>
                    </a:lnTo>
                    <a:lnTo>
                      <a:pt x="486" y="18"/>
                    </a:lnTo>
                    <a:lnTo>
                      <a:pt x="486" y="12"/>
                    </a:lnTo>
                    <a:lnTo>
                      <a:pt x="486" y="18"/>
                    </a:lnTo>
                    <a:lnTo>
                      <a:pt x="486" y="12"/>
                    </a:lnTo>
                    <a:lnTo>
                      <a:pt x="486" y="6"/>
                    </a:lnTo>
                    <a:lnTo>
                      <a:pt x="492" y="6"/>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US" sz="800" dirty="0">
                  <a:solidFill>
                    <a:srgbClr val="000000"/>
                  </a:solidFill>
                </a:endParaRPr>
              </a:p>
            </p:txBody>
          </p:sp>
          <p:sp>
            <p:nvSpPr>
              <p:cNvPr id="66" name="Freeform 77"/>
              <p:cNvSpPr>
                <a:spLocks/>
              </p:cNvSpPr>
              <p:nvPr/>
            </p:nvSpPr>
            <p:spPr bwMode="gray">
              <a:xfrm>
                <a:off x="4402023" y="3077199"/>
                <a:ext cx="702537" cy="573314"/>
              </a:xfrm>
              <a:custGeom>
                <a:avLst/>
                <a:gdLst>
                  <a:gd name="T0" fmla="*/ 372 w 546"/>
                  <a:gd name="T1" fmla="*/ 408 h 450"/>
                  <a:gd name="T2" fmla="*/ 330 w 546"/>
                  <a:gd name="T3" fmla="*/ 378 h 450"/>
                  <a:gd name="T4" fmla="*/ 318 w 546"/>
                  <a:gd name="T5" fmla="*/ 408 h 450"/>
                  <a:gd name="T6" fmla="*/ 306 w 546"/>
                  <a:gd name="T7" fmla="*/ 450 h 450"/>
                  <a:gd name="T8" fmla="*/ 288 w 546"/>
                  <a:gd name="T9" fmla="*/ 438 h 450"/>
                  <a:gd name="T10" fmla="*/ 264 w 546"/>
                  <a:gd name="T11" fmla="*/ 432 h 450"/>
                  <a:gd name="T12" fmla="*/ 222 w 546"/>
                  <a:gd name="T13" fmla="*/ 444 h 450"/>
                  <a:gd name="T14" fmla="*/ 204 w 546"/>
                  <a:gd name="T15" fmla="*/ 420 h 450"/>
                  <a:gd name="T16" fmla="*/ 210 w 546"/>
                  <a:gd name="T17" fmla="*/ 396 h 450"/>
                  <a:gd name="T18" fmla="*/ 186 w 546"/>
                  <a:gd name="T19" fmla="*/ 390 h 450"/>
                  <a:gd name="T20" fmla="*/ 144 w 546"/>
                  <a:gd name="T21" fmla="*/ 390 h 450"/>
                  <a:gd name="T22" fmla="*/ 114 w 546"/>
                  <a:gd name="T23" fmla="*/ 402 h 450"/>
                  <a:gd name="T24" fmla="*/ 84 w 546"/>
                  <a:gd name="T25" fmla="*/ 372 h 450"/>
                  <a:gd name="T26" fmla="*/ 120 w 546"/>
                  <a:gd name="T27" fmla="*/ 336 h 450"/>
                  <a:gd name="T28" fmla="*/ 108 w 546"/>
                  <a:gd name="T29" fmla="*/ 318 h 450"/>
                  <a:gd name="T30" fmla="*/ 90 w 546"/>
                  <a:gd name="T31" fmla="*/ 306 h 450"/>
                  <a:gd name="T32" fmla="*/ 78 w 546"/>
                  <a:gd name="T33" fmla="*/ 264 h 450"/>
                  <a:gd name="T34" fmla="*/ 78 w 546"/>
                  <a:gd name="T35" fmla="*/ 234 h 450"/>
                  <a:gd name="T36" fmla="*/ 48 w 546"/>
                  <a:gd name="T37" fmla="*/ 222 h 450"/>
                  <a:gd name="T38" fmla="*/ 30 w 546"/>
                  <a:gd name="T39" fmla="*/ 198 h 450"/>
                  <a:gd name="T40" fmla="*/ 6 w 546"/>
                  <a:gd name="T41" fmla="*/ 174 h 450"/>
                  <a:gd name="T42" fmla="*/ 6 w 546"/>
                  <a:gd name="T43" fmla="*/ 132 h 450"/>
                  <a:gd name="T44" fmla="*/ 54 w 546"/>
                  <a:gd name="T45" fmla="*/ 114 h 450"/>
                  <a:gd name="T46" fmla="*/ 90 w 546"/>
                  <a:gd name="T47" fmla="*/ 114 h 450"/>
                  <a:gd name="T48" fmla="*/ 114 w 546"/>
                  <a:gd name="T49" fmla="*/ 120 h 450"/>
                  <a:gd name="T50" fmla="*/ 132 w 546"/>
                  <a:gd name="T51" fmla="*/ 144 h 450"/>
                  <a:gd name="T52" fmla="*/ 156 w 546"/>
                  <a:gd name="T53" fmla="*/ 132 h 450"/>
                  <a:gd name="T54" fmla="*/ 186 w 546"/>
                  <a:gd name="T55" fmla="*/ 132 h 450"/>
                  <a:gd name="T56" fmla="*/ 228 w 546"/>
                  <a:gd name="T57" fmla="*/ 120 h 450"/>
                  <a:gd name="T58" fmla="*/ 276 w 546"/>
                  <a:gd name="T59" fmla="*/ 102 h 450"/>
                  <a:gd name="T60" fmla="*/ 306 w 546"/>
                  <a:gd name="T61" fmla="*/ 90 h 450"/>
                  <a:gd name="T62" fmla="*/ 330 w 546"/>
                  <a:gd name="T63" fmla="*/ 96 h 450"/>
                  <a:gd name="T64" fmla="*/ 348 w 546"/>
                  <a:gd name="T65" fmla="*/ 126 h 450"/>
                  <a:gd name="T66" fmla="*/ 378 w 546"/>
                  <a:gd name="T67" fmla="*/ 120 h 450"/>
                  <a:gd name="T68" fmla="*/ 420 w 546"/>
                  <a:gd name="T69" fmla="*/ 108 h 450"/>
                  <a:gd name="T70" fmla="*/ 444 w 546"/>
                  <a:gd name="T71" fmla="*/ 90 h 450"/>
                  <a:gd name="T72" fmla="*/ 462 w 546"/>
                  <a:gd name="T73" fmla="*/ 42 h 450"/>
                  <a:gd name="T74" fmla="*/ 498 w 546"/>
                  <a:gd name="T75" fmla="*/ 6 h 450"/>
                  <a:gd name="T76" fmla="*/ 534 w 546"/>
                  <a:gd name="T77" fmla="*/ 30 h 450"/>
                  <a:gd name="T78" fmla="*/ 540 w 546"/>
                  <a:gd name="T79" fmla="*/ 66 h 450"/>
                  <a:gd name="T80" fmla="*/ 540 w 546"/>
                  <a:gd name="T81" fmla="*/ 102 h 450"/>
                  <a:gd name="T82" fmla="*/ 528 w 546"/>
                  <a:gd name="T83" fmla="*/ 126 h 450"/>
                  <a:gd name="T84" fmla="*/ 516 w 546"/>
                  <a:gd name="T85" fmla="*/ 156 h 450"/>
                  <a:gd name="T86" fmla="*/ 504 w 546"/>
                  <a:gd name="T87" fmla="*/ 168 h 450"/>
                  <a:gd name="T88" fmla="*/ 480 w 546"/>
                  <a:gd name="T89" fmla="*/ 186 h 450"/>
                  <a:gd name="T90" fmla="*/ 468 w 546"/>
                  <a:gd name="T91" fmla="*/ 204 h 450"/>
                  <a:gd name="T92" fmla="*/ 444 w 546"/>
                  <a:gd name="T93" fmla="*/ 210 h 450"/>
                  <a:gd name="T94" fmla="*/ 420 w 546"/>
                  <a:gd name="T95" fmla="*/ 210 h 450"/>
                  <a:gd name="T96" fmla="*/ 396 w 546"/>
                  <a:gd name="T97" fmla="*/ 228 h 450"/>
                  <a:gd name="T98" fmla="*/ 360 w 546"/>
                  <a:gd name="T99" fmla="*/ 258 h 450"/>
                  <a:gd name="T100" fmla="*/ 336 w 546"/>
                  <a:gd name="T101" fmla="*/ 252 h 450"/>
                  <a:gd name="T102" fmla="*/ 306 w 546"/>
                  <a:gd name="T103" fmla="*/ 252 h 450"/>
                  <a:gd name="T104" fmla="*/ 300 w 546"/>
                  <a:gd name="T105" fmla="*/ 282 h 450"/>
                  <a:gd name="T106" fmla="*/ 336 w 546"/>
                  <a:gd name="T107" fmla="*/ 306 h 450"/>
                  <a:gd name="T108" fmla="*/ 378 w 546"/>
                  <a:gd name="T109" fmla="*/ 318 h 450"/>
                  <a:gd name="T110" fmla="*/ 366 w 546"/>
                  <a:gd name="T111" fmla="*/ 342 h 450"/>
                  <a:gd name="T112" fmla="*/ 396 w 546"/>
                  <a:gd name="T113" fmla="*/ 372 h 450"/>
                  <a:gd name="T114" fmla="*/ 408 w 546"/>
                  <a:gd name="T115" fmla="*/ 390 h 450"/>
                  <a:gd name="T116" fmla="*/ 426 w 546"/>
                  <a:gd name="T117" fmla="*/ 40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46" h="450">
                    <a:moveTo>
                      <a:pt x="402" y="414"/>
                    </a:moveTo>
                    <a:lnTo>
                      <a:pt x="396" y="414"/>
                    </a:lnTo>
                    <a:lnTo>
                      <a:pt x="396" y="408"/>
                    </a:lnTo>
                    <a:lnTo>
                      <a:pt x="390" y="408"/>
                    </a:lnTo>
                    <a:lnTo>
                      <a:pt x="384" y="408"/>
                    </a:lnTo>
                    <a:lnTo>
                      <a:pt x="384" y="402"/>
                    </a:lnTo>
                    <a:lnTo>
                      <a:pt x="384" y="408"/>
                    </a:lnTo>
                    <a:lnTo>
                      <a:pt x="378" y="408"/>
                    </a:lnTo>
                    <a:lnTo>
                      <a:pt x="378" y="402"/>
                    </a:lnTo>
                    <a:lnTo>
                      <a:pt x="372" y="402"/>
                    </a:lnTo>
                    <a:lnTo>
                      <a:pt x="372" y="408"/>
                    </a:lnTo>
                    <a:lnTo>
                      <a:pt x="366" y="402"/>
                    </a:lnTo>
                    <a:lnTo>
                      <a:pt x="360" y="402"/>
                    </a:lnTo>
                    <a:lnTo>
                      <a:pt x="360" y="396"/>
                    </a:lnTo>
                    <a:lnTo>
                      <a:pt x="354" y="396"/>
                    </a:lnTo>
                    <a:lnTo>
                      <a:pt x="354" y="390"/>
                    </a:lnTo>
                    <a:lnTo>
                      <a:pt x="354" y="384"/>
                    </a:lnTo>
                    <a:lnTo>
                      <a:pt x="348" y="384"/>
                    </a:lnTo>
                    <a:lnTo>
                      <a:pt x="342" y="384"/>
                    </a:lnTo>
                    <a:lnTo>
                      <a:pt x="336" y="384"/>
                    </a:lnTo>
                    <a:lnTo>
                      <a:pt x="330" y="384"/>
                    </a:lnTo>
                    <a:lnTo>
                      <a:pt x="330" y="378"/>
                    </a:lnTo>
                    <a:lnTo>
                      <a:pt x="324" y="378"/>
                    </a:lnTo>
                    <a:lnTo>
                      <a:pt x="324" y="372"/>
                    </a:lnTo>
                    <a:lnTo>
                      <a:pt x="318" y="372"/>
                    </a:lnTo>
                    <a:lnTo>
                      <a:pt x="318" y="378"/>
                    </a:lnTo>
                    <a:lnTo>
                      <a:pt x="312" y="378"/>
                    </a:lnTo>
                    <a:lnTo>
                      <a:pt x="312" y="384"/>
                    </a:lnTo>
                    <a:lnTo>
                      <a:pt x="312" y="390"/>
                    </a:lnTo>
                    <a:lnTo>
                      <a:pt x="318" y="390"/>
                    </a:lnTo>
                    <a:lnTo>
                      <a:pt x="318" y="396"/>
                    </a:lnTo>
                    <a:lnTo>
                      <a:pt x="318" y="402"/>
                    </a:lnTo>
                    <a:lnTo>
                      <a:pt x="318" y="408"/>
                    </a:lnTo>
                    <a:lnTo>
                      <a:pt x="318" y="414"/>
                    </a:lnTo>
                    <a:lnTo>
                      <a:pt x="312" y="414"/>
                    </a:lnTo>
                    <a:lnTo>
                      <a:pt x="318" y="414"/>
                    </a:lnTo>
                    <a:lnTo>
                      <a:pt x="318" y="420"/>
                    </a:lnTo>
                    <a:lnTo>
                      <a:pt x="318" y="426"/>
                    </a:lnTo>
                    <a:lnTo>
                      <a:pt x="318" y="432"/>
                    </a:lnTo>
                    <a:lnTo>
                      <a:pt x="312" y="432"/>
                    </a:lnTo>
                    <a:lnTo>
                      <a:pt x="312" y="438"/>
                    </a:lnTo>
                    <a:lnTo>
                      <a:pt x="312" y="444"/>
                    </a:lnTo>
                    <a:lnTo>
                      <a:pt x="306" y="444"/>
                    </a:lnTo>
                    <a:lnTo>
                      <a:pt x="306" y="450"/>
                    </a:lnTo>
                    <a:lnTo>
                      <a:pt x="306" y="444"/>
                    </a:lnTo>
                    <a:lnTo>
                      <a:pt x="306" y="450"/>
                    </a:lnTo>
                    <a:lnTo>
                      <a:pt x="300" y="450"/>
                    </a:lnTo>
                    <a:lnTo>
                      <a:pt x="300" y="444"/>
                    </a:lnTo>
                    <a:lnTo>
                      <a:pt x="300" y="450"/>
                    </a:lnTo>
                    <a:lnTo>
                      <a:pt x="294" y="450"/>
                    </a:lnTo>
                    <a:lnTo>
                      <a:pt x="294" y="444"/>
                    </a:lnTo>
                    <a:lnTo>
                      <a:pt x="288" y="444"/>
                    </a:lnTo>
                    <a:lnTo>
                      <a:pt x="288" y="438"/>
                    </a:lnTo>
                    <a:lnTo>
                      <a:pt x="294" y="438"/>
                    </a:lnTo>
                    <a:lnTo>
                      <a:pt x="288" y="438"/>
                    </a:lnTo>
                    <a:lnTo>
                      <a:pt x="294" y="438"/>
                    </a:lnTo>
                    <a:lnTo>
                      <a:pt x="294" y="432"/>
                    </a:lnTo>
                    <a:lnTo>
                      <a:pt x="300" y="432"/>
                    </a:lnTo>
                    <a:lnTo>
                      <a:pt x="294" y="432"/>
                    </a:lnTo>
                    <a:lnTo>
                      <a:pt x="288" y="432"/>
                    </a:lnTo>
                    <a:lnTo>
                      <a:pt x="288" y="438"/>
                    </a:lnTo>
                    <a:lnTo>
                      <a:pt x="282" y="438"/>
                    </a:lnTo>
                    <a:lnTo>
                      <a:pt x="276" y="438"/>
                    </a:lnTo>
                    <a:lnTo>
                      <a:pt x="276" y="432"/>
                    </a:lnTo>
                    <a:lnTo>
                      <a:pt x="270" y="432"/>
                    </a:lnTo>
                    <a:lnTo>
                      <a:pt x="264" y="432"/>
                    </a:lnTo>
                    <a:lnTo>
                      <a:pt x="258" y="432"/>
                    </a:lnTo>
                    <a:lnTo>
                      <a:pt x="258" y="426"/>
                    </a:lnTo>
                    <a:lnTo>
                      <a:pt x="252" y="426"/>
                    </a:lnTo>
                    <a:lnTo>
                      <a:pt x="246" y="426"/>
                    </a:lnTo>
                    <a:lnTo>
                      <a:pt x="240" y="426"/>
                    </a:lnTo>
                    <a:lnTo>
                      <a:pt x="234" y="426"/>
                    </a:lnTo>
                    <a:lnTo>
                      <a:pt x="234" y="432"/>
                    </a:lnTo>
                    <a:lnTo>
                      <a:pt x="228" y="432"/>
                    </a:lnTo>
                    <a:lnTo>
                      <a:pt x="228" y="438"/>
                    </a:lnTo>
                    <a:lnTo>
                      <a:pt x="228" y="444"/>
                    </a:lnTo>
                    <a:lnTo>
                      <a:pt x="222" y="444"/>
                    </a:lnTo>
                    <a:lnTo>
                      <a:pt x="222" y="438"/>
                    </a:lnTo>
                    <a:lnTo>
                      <a:pt x="216" y="432"/>
                    </a:lnTo>
                    <a:lnTo>
                      <a:pt x="216" y="438"/>
                    </a:lnTo>
                    <a:lnTo>
                      <a:pt x="216" y="432"/>
                    </a:lnTo>
                    <a:lnTo>
                      <a:pt x="210" y="432"/>
                    </a:lnTo>
                    <a:lnTo>
                      <a:pt x="210" y="438"/>
                    </a:lnTo>
                    <a:lnTo>
                      <a:pt x="210" y="432"/>
                    </a:lnTo>
                    <a:lnTo>
                      <a:pt x="204" y="432"/>
                    </a:lnTo>
                    <a:lnTo>
                      <a:pt x="198" y="432"/>
                    </a:lnTo>
                    <a:lnTo>
                      <a:pt x="204" y="426"/>
                    </a:lnTo>
                    <a:lnTo>
                      <a:pt x="204" y="420"/>
                    </a:lnTo>
                    <a:lnTo>
                      <a:pt x="204" y="414"/>
                    </a:lnTo>
                    <a:lnTo>
                      <a:pt x="210" y="414"/>
                    </a:lnTo>
                    <a:lnTo>
                      <a:pt x="204" y="414"/>
                    </a:lnTo>
                    <a:lnTo>
                      <a:pt x="204" y="408"/>
                    </a:lnTo>
                    <a:lnTo>
                      <a:pt x="210" y="408"/>
                    </a:lnTo>
                    <a:lnTo>
                      <a:pt x="210" y="402"/>
                    </a:lnTo>
                    <a:lnTo>
                      <a:pt x="210" y="396"/>
                    </a:lnTo>
                    <a:lnTo>
                      <a:pt x="204" y="396"/>
                    </a:lnTo>
                    <a:lnTo>
                      <a:pt x="210" y="396"/>
                    </a:lnTo>
                    <a:lnTo>
                      <a:pt x="204" y="396"/>
                    </a:lnTo>
                    <a:lnTo>
                      <a:pt x="210" y="396"/>
                    </a:lnTo>
                    <a:lnTo>
                      <a:pt x="210" y="390"/>
                    </a:lnTo>
                    <a:lnTo>
                      <a:pt x="204" y="390"/>
                    </a:lnTo>
                    <a:lnTo>
                      <a:pt x="204" y="384"/>
                    </a:lnTo>
                    <a:lnTo>
                      <a:pt x="210" y="384"/>
                    </a:lnTo>
                    <a:lnTo>
                      <a:pt x="204" y="384"/>
                    </a:lnTo>
                    <a:lnTo>
                      <a:pt x="198" y="384"/>
                    </a:lnTo>
                    <a:lnTo>
                      <a:pt x="192" y="384"/>
                    </a:lnTo>
                    <a:lnTo>
                      <a:pt x="192" y="390"/>
                    </a:lnTo>
                    <a:lnTo>
                      <a:pt x="192" y="384"/>
                    </a:lnTo>
                    <a:lnTo>
                      <a:pt x="186" y="384"/>
                    </a:lnTo>
                    <a:lnTo>
                      <a:pt x="186" y="390"/>
                    </a:lnTo>
                    <a:lnTo>
                      <a:pt x="186" y="384"/>
                    </a:lnTo>
                    <a:lnTo>
                      <a:pt x="186" y="390"/>
                    </a:lnTo>
                    <a:lnTo>
                      <a:pt x="180" y="390"/>
                    </a:lnTo>
                    <a:lnTo>
                      <a:pt x="174" y="390"/>
                    </a:lnTo>
                    <a:lnTo>
                      <a:pt x="174" y="384"/>
                    </a:lnTo>
                    <a:lnTo>
                      <a:pt x="168" y="384"/>
                    </a:lnTo>
                    <a:lnTo>
                      <a:pt x="168" y="390"/>
                    </a:lnTo>
                    <a:lnTo>
                      <a:pt x="162" y="390"/>
                    </a:lnTo>
                    <a:lnTo>
                      <a:pt x="156" y="390"/>
                    </a:lnTo>
                    <a:lnTo>
                      <a:pt x="150" y="390"/>
                    </a:lnTo>
                    <a:lnTo>
                      <a:pt x="144" y="390"/>
                    </a:lnTo>
                    <a:lnTo>
                      <a:pt x="138" y="390"/>
                    </a:lnTo>
                    <a:lnTo>
                      <a:pt x="138" y="396"/>
                    </a:lnTo>
                    <a:lnTo>
                      <a:pt x="132" y="396"/>
                    </a:lnTo>
                    <a:lnTo>
                      <a:pt x="126" y="396"/>
                    </a:lnTo>
                    <a:lnTo>
                      <a:pt x="126" y="402"/>
                    </a:lnTo>
                    <a:lnTo>
                      <a:pt x="126" y="396"/>
                    </a:lnTo>
                    <a:lnTo>
                      <a:pt x="126" y="402"/>
                    </a:lnTo>
                    <a:lnTo>
                      <a:pt x="120" y="402"/>
                    </a:lnTo>
                    <a:lnTo>
                      <a:pt x="120" y="396"/>
                    </a:lnTo>
                    <a:lnTo>
                      <a:pt x="120" y="402"/>
                    </a:lnTo>
                    <a:lnTo>
                      <a:pt x="114" y="402"/>
                    </a:lnTo>
                    <a:lnTo>
                      <a:pt x="108" y="396"/>
                    </a:lnTo>
                    <a:lnTo>
                      <a:pt x="102" y="396"/>
                    </a:lnTo>
                    <a:lnTo>
                      <a:pt x="96" y="396"/>
                    </a:lnTo>
                    <a:lnTo>
                      <a:pt x="96" y="390"/>
                    </a:lnTo>
                    <a:lnTo>
                      <a:pt x="96" y="384"/>
                    </a:lnTo>
                    <a:lnTo>
                      <a:pt x="90" y="384"/>
                    </a:lnTo>
                    <a:lnTo>
                      <a:pt x="90" y="378"/>
                    </a:lnTo>
                    <a:lnTo>
                      <a:pt x="84" y="378"/>
                    </a:lnTo>
                    <a:lnTo>
                      <a:pt x="78" y="378"/>
                    </a:lnTo>
                    <a:lnTo>
                      <a:pt x="78" y="372"/>
                    </a:lnTo>
                    <a:lnTo>
                      <a:pt x="84" y="372"/>
                    </a:lnTo>
                    <a:lnTo>
                      <a:pt x="84" y="366"/>
                    </a:lnTo>
                    <a:lnTo>
                      <a:pt x="90" y="366"/>
                    </a:lnTo>
                    <a:lnTo>
                      <a:pt x="90" y="360"/>
                    </a:lnTo>
                    <a:lnTo>
                      <a:pt x="96" y="360"/>
                    </a:lnTo>
                    <a:lnTo>
                      <a:pt x="102" y="360"/>
                    </a:lnTo>
                    <a:lnTo>
                      <a:pt x="108" y="360"/>
                    </a:lnTo>
                    <a:lnTo>
                      <a:pt x="108" y="354"/>
                    </a:lnTo>
                    <a:lnTo>
                      <a:pt x="108" y="348"/>
                    </a:lnTo>
                    <a:lnTo>
                      <a:pt x="114" y="348"/>
                    </a:lnTo>
                    <a:lnTo>
                      <a:pt x="114" y="342"/>
                    </a:lnTo>
                    <a:lnTo>
                      <a:pt x="120" y="336"/>
                    </a:lnTo>
                    <a:lnTo>
                      <a:pt x="126" y="336"/>
                    </a:lnTo>
                    <a:lnTo>
                      <a:pt x="126" y="330"/>
                    </a:lnTo>
                    <a:lnTo>
                      <a:pt x="120" y="330"/>
                    </a:lnTo>
                    <a:lnTo>
                      <a:pt x="126" y="330"/>
                    </a:lnTo>
                    <a:lnTo>
                      <a:pt x="120" y="330"/>
                    </a:lnTo>
                    <a:lnTo>
                      <a:pt x="120" y="324"/>
                    </a:lnTo>
                    <a:lnTo>
                      <a:pt x="126" y="324"/>
                    </a:lnTo>
                    <a:lnTo>
                      <a:pt x="126" y="318"/>
                    </a:lnTo>
                    <a:lnTo>
                      <a:pt x="120" y="318"/>
                    </a:lnTo>
                    <a:lnTo>
                      <a:pt x="114" y="318"/>
                    </a:lnTo>
                    <a:lnTo>
                      <a:pt x="108" y="318"/>
                    </a:lnTo>
                    <a:lnTo>
                      <a:pt x="102" y="318"/>
                    </a:lnTo>
                    <a:lnTo>
                      <a:pt x="102" y="312"/>
                    </a:lnTo>
                    <a:lnTo>
                      <a:pt x="96" y="312"/>
                    </a:lnTo>
                    <a:lnTo>
                      <a:pt x="102" y="312"/>
                    </a:lnTo>
                    <a:lnTo>
                      <a:pt x="102" y="318"/>
                    </a:lnTo>
                    <a:lnTo>
                      <a:pt x="96" y="318"/>
                    </a:lnTo>
                    <a:lnTo>
                      <a:pt x="102" y="318"/>
                    </a:lnTo>
                    <a:lnTo>
                      <a:pt x="96" y="318"/>
                    </a:lnTo>
                    <a:lnTo>
                      <a:pt x="96" y="312"/>
                    </a:lnTo>
                    <a:lnTo>
                      <a:pt x="96" y="306"/>
                    </a:lnTo>
                    <a:lnTo>
                      <a:pt x="90" y="306"/>
                    </a:lnTo>
                    <a:lnTo>
                      <a:pt x="90" y="300"/>
                    </a:lnTo>
                    <a:lnTo>
                      <a:pt x="84" y="300"/>
                    </a:lnTo>
                    <a:lnTo>
                      <a:pt x="84" y="294"/>
                    </a:lnTo>
                    <a:lnTo>
                      <a:pt x="84" y="288"/>
                    </a:lnTo>
                    <a:lnTo>
                      <a:pt x="84" y="282"/>
                    </a:lnTo>
                    <a:lnTo>
                      <a:pt x="84" y="276"/>
                    </a:lnTo>
                    <a:lnTo>
                      <a:pt x="84" y="270"/>
                    </a:lnTo>
                    <a:lnTo>
                      <a:pt x="84" y="264"/>
                    </a:lnTo>
                    <a:lnTo>
                      <a:pt x="78" y="264"/>
                    </a:lnTo>
                    <a:lnTo>
                      <a:pt x="78" y="270"/>
                    </a:lnTo>
                    <a:lnTo>
                      <a:pt x="78" y="264"/>
                    </a:lnTo>
                    <a:lnTo>
                      <a:pt x="72" y="264"/>
                    </a:lnTo>
                    <a:lnTo>
                      <a:pt x="78" y="264"/>
                    </a:lnTo>
                    <a:lnTo>
                      <a:pt x="78" y="258"/>
                    </a:lnTo>
                    <a:lnTo>
                      <a:pt x="78" y="252"/>
                    </a:lnTo>
                    <a:lnTo>
                      <a:pt x="84" y="246"/>
                    </a:lnTo>
                    <a:lnTo>
                      <a:pt x="78" y="246"/>
                    </a:lnTo>
                    <a:lnTo>
                      <a:pt x="84" y="246"/>
                    </a:lnTo>
                    <a:lnTo>
                      <a:pt x="78" y="246"/>
                    </a:lnTo>
                    <a:lnTo>
                      <a:pt x="84" y="246"/>
                    </a:lnTo>
                    <a:lnTo>
                      <a:pt x="78" y="240"/>
                    </a:lnTo>
                    <a:lnTo>
                      <a:pt x="78" y="234"/>
                    </a:lnTo>
                    <a:lnTo>
                      <a:pt x="72" y="234"/>
                    </a:lnTo>
                    <a:lnTo>
                      <a:pt x="72" y="240"/>
                    </a:lnTo>
                    <a:lnTo>
                      <a:pt x="66" y="240"/>
                    </a:lnTo>
                    <a:lnTo>
                      <a:pt x="60" y="240"/>
                    </a:lnTo>
                    <a:lnTo>
                      <a:pt x="54" y="240"/>
                    </a:lnTo>
                    <a:lnTo>
                      <a:pt x="54" y="234"/>
                    </a:lnTo>
                    <a:lnTo>
                      <a:pt x="48" y="234"/>
                    </a:lnTo>
                    <a:lnTo>
                      <a:pt x="54" y="234"/>
                    </a:lnTo>
                    <a:lnTo>
                      <a:pt x="48" y="234"/>
                    </a:lnTo>
                    <a:lnTo>
                      <a:pt x="48" y="228"/>
                    </a:lnTo>
                    <a:lnTo>
                      <a:pt x="48" y="222"/>
                    </a:lnTo>
                    <a:lnTo>
                      <a:pt x="48" y="216"/>
                    </a:lnTo>
                    <a:lnTo>
                      <a:pt x="42" y="216"/>
                    </a:lnTo>
                    <a:lnTo>
                      <a:pt x="48" y="216"/>
                    </a:lnTo>
                    <a:lnTo>
                      <a:pt x="48" y="210"/>
                    </a:lnTo>
                    <a:lnTo>
                      <a:pt x="42" y="210"/>
                    </a:lnTo>
                    <a:lnTo>
                      <a:pt x="36" y="210"/>
                    </a:lnTo>
                    <a:lnTo>
                      <a:pt x="36" y="204"/>
                    </a:lnTo>
                    <a:lnTo>
                      <a:pt x="30" y="204"/>
                    </a:lnTo>
                    <a:lnTo>
                      <a:pt x="24" y="204"/>
                    </a:lnTo>
                    <a:lnTo>
                      <a:pt x="30" y="204"/>
                    </a:lnTo>
                    <a:lnTo>
                      <a:pt x="30" y="198"/>
                    </a:lnTo>
                    <a:lnTo>
                      <a:pt x="24" y="198"/>
                    </a:lnTo>
                    <a:lnTo>
                      <a:pt x="24" y="192"/>
                    </a:lnTo>
                    <a:lnTo>
                      <a:pt x="24" y="186"/>
                    </a:lnTo>
                    <a:lnTo>
                      <a:pt x="18" y="186"/>
                    </a:lnTo>
                    <a:lnTo>
                      <a:pt x="24" y="186"/>
                    </a:lnTo>
                    <a:lnTo>
                      <a:pt x="18" y="186"/>
                    </a:lnTo>
                    <a:lnTo>
                      <a:pt x="24" y="186"/>
                    </a:lnTo>
                    <a:lnTo>
                      <a:pt x="18" y="180"/>
                    </a:lnTo>
                    <a:lnTo>
                      <a:pt x="12" y="180"/>
                    </a:lnTo>
                    <a:lnTo>
                      <a:pt x="12" y="174"/>
                    </a:lnTo>
                    <a:lnTo>
                      <a:pt x="6" y="174"/>
                    </a:lnTo>
                    <a:lnTo>
                      <a:pt x="0" y="174"/>
                    </a:lnTo>
                    <a:lnTo>
                      <a:pt x="0" y="168"/>
                    </a:lnTo>
                    <a:lnTo>
                      <a:pt x="0" y="162"/>
                    </a:lnTo>
                    <a:lnTo>
                      <a:pt x="6" y="162"/>
                    </a:lnTo>
                    <a:lnTo>
                      <a:pt x="6" y="156"/>
                    </a:lnTo>
                    <a:lnTo>
                      <a:pt x="6" y="150"/>
                    </a:lnTo>
                    <a:lnTo>
                      <a:pt x="6" y="144"/>
                    </a:lnTo>
                    <a:lnTo>
                      <a:pt x="6" y="138"/>
                    </a:lnTo>
                    <a:lnTo>
                      <a:pt x="12" y="138"/>
                    </a:lnTo>
                    <a:lnTo>
                      <a:pt x="12" y="132"/>
                    </a:lnTo>
                    <a:lnTo>
                      <a:pt x="6" y="132"/>
                    </a:lnTo>
                    <a:lnTo>
                      <a:pt x="6" y="126"/>
                    </a:lnTo>
                    <a:lnTo>
                      <a:pt x="6" y="120"/>
                    </a:lnTo>
                    <a:lnTo>
                      <a:pt x="12" y="120"/>
                    </a:lnTo>
                    <a:lnTo>
                      <a:pt x="18" y="114"/>
                    </a:lnTo>
                    <a:lnTo>
                      <a:pt x="24" y="114"/>
                    </a:lnTo>
                    <a:lnTo>
                      <a:pt x="30" y="120"/>
                    </a:lnTo>
                    <a:lnTo>
                      <a:pt x="36" y="120"/>
                    </a:lnTo>
                    <a:lnTo>
                      <a:pt x="42" y="120"/>
                    </a:lnTo>
                    <a:lnTo>
                      <a:pt x="48" y="120"/>
                    </a:lnTo>
                    <a:lnTo>
                      <a:pt x="54" y="120"/>
                    </a:lnTo>
                    <a:lnTo>
                      <a:pt x="54" y="114"/>
                    </a:lnTo>
                    <a:lnTo>
                      <a:pt x="60" y="114"/>
                    </a:lnTo>
                    <a:lnTo>
                      <a:pt x="66" y="114"/>
                    </a:lnTo>
                    <a:lnTo>
                      <a:pt x="72" y="114"/>
                    </a:lnTo>
                    <a:lnTo>
                      <a:pt x="78" y="108"/>
                    </a:lnTo>
                    <a:lnTo>
                      <a:pt x="78" y="102"/>
                    </a:lnTo>
                    <a:lnTo>
                      <a:pt x="84" y="102"/>
                    </a:lnTo>
                    <a:lnTo>
                      <a:pt x="84" y="108"/>
                    </a:lnTo>
                    <a:lnTo>
                      <a:pt x="84" y="114"/>
                    </a:lnTo>
                    <a:lnTo>
                      <a:pt x="90" y="114"/>
                    </a:lnTo>
                    <a:lnTo>
                      <a:pt x="84" y="114"/>
                    </a:lnTo>
                    <a:lnTo>
                      <a:pt x="90" y="114"/>
                    </a:lnTo>
                    <a:lnTo>
                      <a:pt x="90" y="120"/>
                    </a:lnTo>
                    <a:lnTo>
                      <a:pt x="96" y="120"/>
                    </a:lnTo>
                    <a:lnTo>
                      <a:pt x="96" y="114"/>
                    </a:lnTo>
                    <a:lnTo>
                      <a:pt x="96" y="120"/>
                    </a:lnTo>
                    <a:lnTo>
                      <a:pt x="102" y="120"/>
                    </a:lnTo>
                    <a:lnTo>
                      <a:pt x="102" y="114"/>
                    </a:lnTo>
                    <a:lnTo>
                      <a:pt x="108" y="114"/>
                    </a:lnTo>
                    <a:lnTo>
                      <a:pt x="114" y="114"/>
                    </a:lnTo>
                    <a:lnTo>
                      <a:pt x="114" y="120"/>
                    </a:lnTo>
                    <a:lnTo>
                      <a:pt x="120" y="120"/>
                    </a:lnTo>
                    <a:lnTo>
                      <a:pt x="114" y="120"/>
                    </a:lnTo>
                    <a:lnTo>
                      <a:pt x="114" y="126"/>
                    </a:lnTo>
                    <a:lnTo>
                      <a:pt x="120" y="126"/>
                    </a:lnTo>
                    <a:lnTo>
                      <a:pt x="120" y="132"/>
                    </a:lnTo>
                    <a:lnTo>
                      <a:pt x="114" y="132"/>
                    </a:lnTo>
                    <a:lnTo>
                      <a:pt x="120" y="132"/>
                    </a:lnTo>
                    <a:lnTo>
                      <a:pt x="126" y="132"/>
                    </a:lnTo>
                    <a:lnTo>
                      <a:pt x="126" y="138"/>
                    </a:lnTo>
                    <a:lnTo>
                      <a:pt x="132" y="138"/>
                    </a:lnTo>
                    <a:lnTo>
                      <a:pt x="132" y="144"/>
                    </a:lnTo>
                    <a:lnTo>
                      <a:pt x="132" y="138"/>
                    </a:lnTo>
                    <a:lnTo>
                      <a:pt x="132" y="144"/>
                    </a:lnTo>
                    <a:lnTo>
                      <a:pt x="138" y="144"/>
                    </a:lnTo>
                    <a:lnTo>
                      <a:pt x="138" y="150"/>
                    </a:lnTo>
                    <a:lnTo>
                      <a:pt x="138" y="144"/>
                    </a:lnTo>
                    <a:lnTo>
                      <a:pt x="144" y="138"/>
                    </a:lnTo>
                    <a:lnTo>
                      <a:pt x="138" y="138"/>
                    </a:lnTo>
                    <a:lnTo>
                      <a:pt x="144" y="138"/>
                    </a:lnTo>
                    <a:lnTo>
                      <a:pt x="138" y="138"/>
                    </a:lnTo>
                    <a:lnTo>
                      <a:pt x="144" y="138"/>
                    </a:lnTo>
                    <a:lnTo>
                      <a:pt x="144" y="132"/>
                    </a:lnTo>
                    <a:lnTo>
                      <a:pt x="150" y="132"/>
                    </a:lnTo>
                    <a:lnTo>
                      <a:pt x="156" y="132"/>
                    </a:lnTo>
                    <a:lnTo>
                      <a:pt x="162" y="132"/>
                    </a:lnTo>
                    <a:lnTo>
                      <a:pt x="162" y="126"/>
                    </a:lnTo>
                    <a:lnTo>
                      <a:pt x="168" y="126"/>
                    </a:lnTo>
                    <a:lnTo>
                      <a:pt x="168" y="120"/>
                    </a:lnTo>
                    <a:lnTo>
                      <a:pt x="174" y="120"/>
                    </a:lnTo>
                    <a:lnTo>
                      <a:pt x="174" y="114"/>
                    </a:lnTo>
                    <a:lnTo>
                      <a:pt x="180" y="114"/>
                    </a:lnTo>
                    <a:lnTo>
                      <a:pt x="180" y="120"/>
                    </a:lnTo>
                    <a:lnTo>
                      <a:pt x="180" y="126"/>
                    </a:lnTo>
                    <a:lnTo>
                      <a:pt x="186" y="126"/>
                    </a:lnTo>
                    <a:lnTo>
                      <a:pt x="186" y="132"/>
                    </a:lnTo>
                    <a:lnTo>
                      <a:pt x="186" y="138"/>
                    </a:lnTo>
                    <a:lnTo>
                      <a:pt x="192" y="138"/>
                    </a:lnTo>
                    <a:lnTo>
                      <a:pt x="198" y="138"/>
                    </a:lnTo>
                    <a:lnTo>
                      <a:pt x="198" y="132"/>
                    </a:lnTo>
                    <a:lnTo>
                      <a:pt x="204" y="132"/>
                    </a:lnTo>
                    <a:lnTo>
                      <a:pt x="210" y="132"/>
                    </a:lnTo>
                    <a:lnTo>
                      <a:pt x="216" y="132"/>
                    </a:lnTo>
                    <a:lnTo>
                      <a:pt x="216" y="126"/>
                    </a:lnTo>
                    <a:lnTo>
                      <a:pt x="222" y="126"/>
                    </a:lnTo>
                    <a:lnTo>
                      <a:pt x="228" y="126"/>
                    </a:lnTo>
                    <a:lnTo>
                      <a:pt x="228" y="120"/>
                    </a:lnTo>
                    <a:lnTo>
                      <a:pt x="234" y="120"/>
                    </a:lnTo>
                    <a:lnTo>
                      <a:pt x="234" y="114"/>
                    </a:lnTo>
                    <a:lnTo>
                      <a:pt x="240" y="114"/>
                    </a:lnTo>
                    <a:lnTo>
                      <a:pt x="246" y="114"/>
                    </a:lnTo>
                    <a:lnTo>
                      <a:pt x="252" y="114"/>
                    </a:lnTo>
                    <a:lnTo>
                      <a:pt x="258" y="114"/>
                    </a:lnTo>
                    <a:lnTo>
                      <a:pt x="264" y="114"/>
                    </a:lnTo>
                    <a:lnTo>
                      <a:pt x="264" y="108"/>
                    </a:lnTo>
                    <a:lnTo>
                      <a:pt x="270" y="108"/>
                    </a:lnTo>
                    <a:lnTo>
                      <a:pt x="276" y="108"/>
                    </a:lnTo>
                    <a:lnTo>
                      <a:pt x="276" y="102"/>
                    </a:lnTo>
                    <a:lnTo>
                      <a:pt x="276" y="96"/>
                    </a:lnTo>
                    <a:lnTo>
                      <a:pt x="282" y="96"/>
                    </a:lnTo>
                    <a:lnTo>
                      <a:pt x="282" y="90"/>
                    </a:lnTo>
                    <a:lnTo>
                      <a:pt x="282" y="84"/>
                    </a:lnTo>
                    <a:lnTo>
                      <a:pt x="282" y="78"/>
                    </a:lnTo>
                    <a:lnTo>
                      <a:pt x="288" y="78"/>
                    </a:lnTo>
                    <a:lnTo>
                      <a:pt x="294" y="78"/>
                    </a:lnTo>
                    <a:lnTo>
                      <a:pt x="300" y="78"/>
                    </a:lnTo>
                    <a:lnTo>
                      <a:pt x="306" y="78"/>
                    </a:lnTo>
                    <a:lnTo>
                      <a:pt x="306" y="84"/>
                    </a:lnTo>
                    <a:lnTo>
                      <a:pt x="306" y="90"/>
                    </a:lnTo>
                    <a:lnTo>
                      <a:pt x="312" y="90"/>
                    </a:lnTo>
                    <a:lnTo>
                      <a:pt x="312" y="84"/>
                    </a:lnTo>
                    <a:lnTo>
                      <a:pt x="318" y="84"/>
                    </a:lnTo>
                    <a:lnTo>
                      <a:pt x="324" y="84"/>
                    </a:lnTo>
                    <a:lnTo>
                      <a:pt x="324" y="90"/>
                    </a:lnTo>
                    <a:lnTo>
                      <a:pt x="324" y="84"/>
                    </a:lnTo>
                    <a:lnTo>
                      <a:pt x="324" y="90"/>
                    </a:lnTo>
                    <a:lnTo>
                      <a:pt x="330" y="90"/>
                    </a:lnTo>
                    <a:lnTo>
                      <a:pt x="330" y="96"/>
                    </a:lnTo>
                    <a:lnTo>
                      <a:pt x="336" y="96"/>
                    </a:lnTo>
                    <a:lnTo>
                      <a:pt x="330" y="96"/>
                    </a:lnTo>
                    <a:lnTo>
                      <a:pt x="330" y="102"/>
                    </a:lnTo>
                    <a:lnTo>
                      <a:pt x="330" y="108"/>
                    </a:lnTo>
                    <a:lnTo>
                      <a:pt x="336" y="108"/>
                    </a:lnTo>
                    <a:lnTo>
                      <a:pt x="342" y="108"/>
                    </a:lnTo>
                    <a:lnTo>
                      <a:pt x="342" y="102"/>
                    </a:lnTo>
                    <a:lnTo>
                      <a:pt x="348" y="108"/>
                    </a:lnTo>
                    <a:lnTo>
                      <a:pt x="354" y="108"/>
                    </a:lnTo>
                    <a:lnTo>
                      <a:pt x="354" y="114"/>
                    </a:lnTo>
                    <a:lnTo>
                      <a:pt x="354" y="120"/>
                    </a:lnTo>
                    <a:lnTo>
                      <a:pt x="348" y="120"/>
                    </a:lnTo>
                    <a:lnTo>
                      <a:pt x="348" y="126"/>
                    </a:lnTo>
                    <a:lnTo>
                      <a:pt x="354" y="126"/>
                    </a:lnTo>
                    <a:lnTo>
                      <a:pt x="360" y="126"/>
                    </a:lnTo>
                    <a:lnTo>
                      <a:pt x="360" y="132"/>
                    </a:lnTo>
                    <a:lnTo>
                      <a:pt x="366" y="132"/>
                    </a:lnTo>
                    <a:lnTo>
                      <a:pt x="366" y="138"/>
                    </a:lnTo>
                    <a:lnTo>
                      <a:pt x="366" y="132"/>
                    </a:lnTo>
                    <a:lnTo>
                      <a:pt x="366" y="138"/>
                    </a:lnTo>
                    <a:lnTo>
                      <a:pt x="372" y="138"/>
                    </a:lnTo>
                    <a:lnTo>
                      <a:pt x="372" y="132"/>
                    </a:lnTo>
                    <a:lnTo>
                      <a:pt x="378" y="126"/>
                    </a:lnTo>
                    <a:lnTo>
                      <a:pt x="378" y="120"/>
                    </a:lnTo>
                    <a:lnTo>
                      <a:pt x="378" y="114"/>
                    </a:lnTo>
                    <a:lnTo>
                      <a:pt x="384" y="114"/>
                    </a:lnTo>
                    <a:lnTo>
                      <a:pt x="384" y="108"/>
                    </a:lnTo>
                    <a:lnTo>
                      <a:pt x="390" y="108"/>
                    </a:lnTo>
                    <a:lnTo>
                      <a:pt x="396" y="108"/>
                    </a:lnTo>
                    <a:lnTo>
                      <a:pt x="402" y="108"/>
                    </a:lnTo>
                    <a:lnTo>
                      <a:pt x="408" y="108"/>
                    </a:lnTo>
                    <a:lnTo>
                      <a:pt x="408" y="102"/>
                    </a:lnTo>
                    <a:lnTo>
                      <a:pt x="414" y="102"/>
                    </a:lnTo>
                    <a:lnTo>
                      <a:pt x="414" y="108"/>
                    </a:lnTo>
                    <a:lnTo>
                      <a:pt x="420" y="108"/>
                    </a:lnTo>
                    <a:lnTo>
                      <a:pt x="420" y="114"/>
                    </a:lnTo>
                    <a:lnTo>
                      <a:pt x="420" y="108"/>
                    </a:lnTo>
                    <a:lnTo>
                      <a:pt x="426" y="114"/>
                    </a:lnTo>
                    <a:lnTo>
                      <a:pt x="426" y="108"/>
                    </a:lnTo>
                    <a:lnTo>
                      <a:pt x="426" y="102"/>
                    </a:lnTo>
                    <a:lnTo>
                      <a:pt x="432" y="102"/>
                    </a:lnTo>
                    <a:lnTo>
                      <a:pt x="438" y="102"/>
                    </a:lnTo>
                    <a:lnTo>
                      <a:pt x="444" y="108"/>
                    </a:lnTo>
                    <a:lnTo>
                      <a:pt x="444" y="102"/>
                    </a:lnTo>
                    <a:lnTo>
                      <a:pt x="444" y="96"/>
                    </a:lnTo>
                    <a:lnTo>
                      <a:pt x="444" y="90"/>
                    </a:lnTo>
                    <a:lnTo>
                      <a:pt x="444" y="84"/>
                    </a:lnTo>
                    <a:lnTo>
                      <a:pt x="444" y="78"/>
                    </a:lnTo>
                    <a:lnTo>
                      <a:pt x="444" y="72"/>
                    </a:lnTo>
                    <a:lnTo>
                      <a:pt x="450" y="72"/>
                    </a:lnTo>
                    <a:lnTo>
                      <a:pt x="456" y="72"/>
                    </a:lnTo>
                    <a:lnTo>
                      <a:pt x="456" y="66"/>
                    </a:lnTo>
                    <a:lnTo>
                      <a:pt x="456" y="60"/>
                    </a:lnTo>
                    <a:lnTo>
                      <a:pt x="456" y="54"/>
                    </a:lnTo>
                    <a:lnTo>
                      <a:pt x="456" y="48"/>
                    </a:lnTo>
                    <a:lnTo>
                      <a:pt x="456" y="42"/>
                    </a:lnTo>
                    <a:lnTo>
                      <a:pt x="462" y="42"/>
                    </a:lnTo>
                    <a:lnTo>
                      <a:pt x="468" y="42"/>
                    </a:lnTo>
                    <a:lnTo>
                      <a:pt x="468" y="36"/>
                    </a:lnTo>
                    <a:lnTo>
                      <a:pt x="474" y="36"/>
                    </a:lnTo>
                    <a:lnTo>
                      <a:pt x="474" y="30"/>
                    </a:lnTo>
                    <a:lnTo>
                      <a:pt x="474" y="24"/>
                    </a:lnTo>
                    <a:lnTo>
                      <a:pt x="480" y="24"/>
                    </a:lnTo>
                    <a:lnTo>
                      <a:pt x="486" y="24"/>
                    </a:lnTo>
                    <a:lnTo>
                      <a:pt x="492" y="24"/>
                    </a:lnTo>
                    <a:lnTo>
                      <a:pt x="492" y="18"/>
                    </a:lnTo>
                    <a:lnTo>
                      <a:pt x="498" y="12"/>
                    </a:lnTo>
                    <a:lnTo>
                      <a:pt x="498" y="6"/>
                    </a:lnTo>
                    <a:lnTo>
                      <a:pt x="498" y="0"/>
                    </a:lnTo>
                    <a:lnTo>
                      <a:pt x="504" y="0"/>
                    </a:lnTo>
                    <a:lnTo>
                      <a:pt x="504" y="6"/>
                    </a:lnTo>
                    <a:lnTo>
                      <a:pt x="510" y="12"/>
                    </a:lnTo>
                    <a:lnTo>
                      <a:pt x="516" y="12"/>
                    </a:lnTo>
                    <a:lnTo>
                      <a:pt x="516" y="18"/>
                    </a:lnTo>
                    <a:lnTo>
                      <a:pt x="522" y="12"/>
                    </a:lnTo>
                    <a:lnTo>
                      <a:pt x="528" y="18"/>
                    </a:lnTo>
                    <a:lnTo>
                      <a:pt x="528" y="24"/>
                    </a:lnTo>
                    <a:lnTo>
                      <a:pt x="534" y="24"/>
                    </a:lnTo>
                    <a:lnTo>
                      <a:pt x="534" y="30"/>
                    </a:lnTo>
                    <a:lnTo>
                      <a:pt x="534" y="36"/>
                    </a:lnTo>
                    <a:lnTo>
                      <a:pt x="528" y="36"/>
                    </a:lnTo>
                    <a:lnTo>
                      <a:pt x="528" y="42"/>
                    </a:lnTo>
                    <a:lnTo>
                      <a:pt x="534" y="42"/>
                    </a:lnTo>
                    <a:lnTo>
                      <a:pt x="534" y="48"/>
                    </a:lnTo>
                    <a:lnTo>
                      <a:pt x="540" y="48"/>
                    </a:lnTo>
                    <a:lnTo>
                      <a:pt x="540" y="54"/>
                    </a:lnTo>
                    <a:lnTo>
                      <a:pt x="540" y="48"/>
                    </a:lnTo>
                    <a:lnTo>
                      <a:pt x="540" y="54"/>
                    </a:lnTo>
                    <a:lnTo>
                      <a:pt x="540" y="60"/>
                    </a:lnTo>
                    <a:lnTo>
                      <a:pt x="540" y="66"/>
                    </a:lnTo>
                    <a:lnTo>
                      <a:pt x="540" y="72"/>
                    </a:lnTo>
                    <a:lnTo>
                      <a:pt x="546" y="72"/>
                    </a:lnTo>
                    <a:lnTo>
                      <a:pt x="546" y="78"/>
                    </a:lnTo>
                    <a:lnTo>
                      <a:pt x="540" y="78"/>
                    </a:lnTo>
                    <a:lnTo>
                      <a:pt x="540" y="84"/>
                    </a:lnTo>
                    <a:lnTo>
                      <a:pt x="534" y="84"/>
                    </a:lnTo>
                    <a:lnTo>
                      <a:pt x="534" y="90"/>
                    </a:lnTo>
                    <a:lnTo>
                      <a:pt x="540" y="90"/>
                    </a:lnTo>
                    <a:lnTo>
                      <a:pt x="540" y="96"/>
                    </a:lnTo>
                    <a:lnTo>
                      <a:pt x="546" y="102"/>
                    </a:lnTo>
                    <a:lnTo>
                      <a:pt x="540" y="102"/>
                    </a:lnTo>
                    <a:lnTo>
                      <a:pt x="546" y="108"/>
                    </a:lnTo>
                    <a:lnTo>
                      <a:pt x="540" y="108"/>
                    </a:lnTo>
                    <a:lnTo>
                      <a:pt x="540" y="114"/>
                    </a:lnTo>
                    <a:lnTo>
                      <a:pt x="534" y="114"/>
                    </a:lnTo>
                    <a:lnTo>
                      <a:pt x="534" y="108"/>
                    </a:lnTo>
                    <a:lnTo>
                      <a:pt x="528" y="108"/>
                    </a:lnTo>
                    <a:lnTo>
                      <a:pt x="534" y="114"/>
                    </a:lnTo>
                    <a:lnTo>
                      <a:pt x="528" y="114"/>
                    </a:lnTo>
                    <a:lnTo>
                      <a:pt x="534" y="114"/>
                    </a:lnTo>
                    <a:lnTo>
                      <a:pt x="534" y="120"/>
                    </a:lnTo>
                    <a:lnTo>
                      <a:pt x="528" y="126"/>
                    </a:lnTo>
                    <a:lnTo>
                      <a:pt x="528" y="132"/>
                    </a:lnTo>
                    <a:lnTo>
                      <a:pt x="534" y="132"/>
                    </a:lnTo>
                    <a:lnTo>
                      <a:pt x="528" y="132"/>
                    </a:lnTo>
                    <a:lnTo>
                      <a:pt x="528" y="138"/>
                    </a:lnTo>
                    <a:lnTo>
                      <a:pt x="528" y="144"/>
                    </a:lnTo>
                    <a:lnTo>
                      <a:pt x="522" y="144"/>
                    </a:lnTo>
                    <a:lnTo>
                      <a:pt x="522" y="150"/>
                    </a:lnTo>
                    <a:lnTo>
                      <a:pt x="516" y="150"/>
                    </a:lnTo>
                    <a:lnTo>
                      <a:pt x="516" y="156"/>
                    </a:lnTo>
                    <a:lnTo>
                      <a:pt x="516" y="150"/>
                    </a:lnTo>
                    <a:lnTo>
                      <a:pt x="516" y="156"/>
                    </a:lnTo>
                    <a:lnTo>
                      <a:pt x="510" y="156"/>
                    </a:lnTo>
                    <a:lnTo>
                      <a:pt x="516" y="156"/>
                    </a:lnTo>
                    <a:lnTo>
                      <a:pt x="516" y="162"/>
                    </a:lnTo>
                    <a:lnTo>
                      <a:pt x="522" y="162"/>
                    </a:lnTo>
                    <a:lnTo>
                      <a:pt x="516" y="168"/>
                    </a:lnTo>
                    <a:lnTo>
                      <a:pt x="516" y="162"/>
                    </a:lnTo>
                    <a:lnTo>
                      <a:pt x="510" y="162"/>
                    </a:lnTo>
                    <a:lnTo>
                      <a:pt x="504" y="162"/>
                    </a:lnTo>
                    <a:lnTo>
                      <a:pt x="504" y="168"/>
                    </a:lnTo>
                    <a:lnTo>
                      <a:pt x="510" y="168"/>
                    </a:lnTo>
                    <a:lnTo>
                      <a:pt x="504" y="168"/>
                    </a:lnTo>
                    <a:lnTo>
                      <a:pt x="504" y="174"/>
                    </a:lnTo>
                    <a:lnTo>
                      <a:pt x="498" y="174"/>
                    </a:lnTo>
                    <a:lnTo>
                      <a:pt x="498" y="168"/>
                    </a:lnTo>
                    <a:lnTo>
                      <a:pt x="498" y="174"/>
                    </a:lnTo>
                    <a:lnTo>
                      <a:pt x="492" y="174"/>
                    </a:lnTo>
                    <a:lnTo>
                      <a:pt x="498" y="180"/>
                    </a:lnTo>
                    <a:lnTo>
                      <a:pt x="492" y="180"/>
                    </a:lnTo>
                    <a:lnTo>
                      <a:pt x="492" y="186"/>
                    </a:lnTo>
                    <a:lnTo>
                      <a:pt x="492" y="192"/>
                    </a:lnTo>
                    <a:lnTo>
                      <a:pt x="486" y="186"/>
                    </a:lnTo>
                    <a:lnTo>
                      <a:pt x="480" y="186"/>
                    </a:lnTo>
                    <a:lnTo>
                      <a:pt x="474" y="186"/>
                    </a:lnTo>
                    <a:lnTo>
                      <a:pt x="474" y="180"/>
                    </a:lnTo>
                    <a:lnTo>
                      <a:pt x="468" y="180"/>
                    </a:lnTo>
                    <a:lnTo>
                      <a:pt x="468" y="186"/>
                    </a:lnTo>
                    <a:lnTo>
                      <a:pt x="468" y="192"/>
                    </a:lnTo>
                    <a:lnTo>
                      <a:pt x="474" y="192"/>
                    </a:lnTo>
                    <a:lnTo>
                      <a:pt x="468" y="192"/>
                    </a:lnTo>
                    <a:lnTo>
                      <a:pt x="474" y="192"/>
                    </a:lnTo>
                    <a:lnTo>
                      <a:pt x="474" y="198"/>
                    </a:lnTo>
                    <a:lnTo>
                      <a:pt x="468" y="198"/>
                    </a:lnTo>
                    <a:lnTo>
                      <a:pt x="468" y="204"/>
                    </a:lnTo>
                    <a:lnTo>
                      <a:pt x="468" y="198"/>
                    </a:lnTo>
                    <a:lnTo>
                      <a:pt x="468" y="204"/>
                    </a:lnTo>
                    <a:lnTo>
                      <a:pt x="468" y="210"/>
                    </a:lnTo>
                    <a:lnTo>
                      <a:pt x="462" y="210"/>
                    </a:lnTo>
                    <a:lnTo>
                      <a:pt x="462" y="204"/>
                    </a:lnTo>
                    <a:lnTo>
                      <a:pt x="456" y="204"/>
                    </a:lnTo>
                    <a:lnTo>
                      <a:pt x="450" y="204"/>
                    </a:lnTo>
                    <a:lnTo>
                      <a:pt x="456" y="204"/>
                    </a:lnTo>
                    <a:lnTo>
                      <a:pt x="456" y="210"/>
                    </a:lnTo>
                    <a:lnTo>
                      <a:pt x="450" y="210"/>
                    </a:lnTo>
                    <a:lnTo>
                      <a:pt x="444" y="210"/>
                    </a:lnTo>
                    <a:lnTo>
                      <a:pt x="444" y="204"/>
                    </a:lnTo>
                    <a:lnTo>
                      <a:pt x="438" y="204"/>
                    </a:lnTo>
                    <a:lnTo>
                      <a:pt x="432" y="204"/>
                    </a:lnTo>
                    <a:lnTo>
                      <a:pt x="426" y="204"/>
                    </a:lnTo>
                    <a:lnTo>
                      <a:pt x="426" y="198"/>
                    </a:lnTo>
                    <a:lnTo>
                      <a:pt x="420" y="204"/>
                    </a:lnTo>
                    <a:lnTo>
                      <a:pt x="426" y="204"/>
                    </a:lnTo>
                    <a:lnTo>
                      <a:pt x="426" y="210"/>
                    </a:lnTo>
                    <a:lnTo>
                      <a:pt x="420" y="210"/>
                    </a:lnTo>
                    <a:lnTo>
                      <a:pt x="420" y="204"/>
                    </a:lnTo>
                    <a:lnTo>
                      <a:pt x="420" y="210"/>
                    </a:lnTo>
                    <a:lnTo>
                      <a:pt x="414" y="210"/>
                    </a:lnTo>
                    <a:lnTo>
                      <a:pt x="414" y="216"/>
                    </a:lnTo>
                    <a:lnTo>
                      <a:pt x="414" y="222"/>
                    </a:lnTo>
                    <a:lnTo>
                      <a:pt x="414" y="228"/>
                    </a:lnTo>
                    <a:lnTo>
                      <a:pt x="414" y="222"/>
                    </a:lnTo>
                    <a:lnTo>
                      <a:pt x="414" y="228"/>
                    </a:lnTo>
                    <a:lnTo>
                      <a:pt x="408" y="228"/>
                    </a:lnTo>
                    <a:lnTo>
                      <a:pt x="402" y="228"/>
                    </a:lnTo>
                    <a:lnTo>
                      <a:pt x="402" y="222"/>
                    </a:lnTo>
                    <a:lnTo>
                      <a:pt x="402" y="228"/>
                    </a:lnTo>
                    <a:lnTo>
                      <a:pt x="396" y="228"/>
                    </a:lnTo>
                    <a:lnTo>
                      <a:pt x="390" y="228"/>
                    </a:lnTo>
                    <a:lnTo>
                      <a:pt x="384" y="228"/>
                    </a:lnTo>
                    <a:lnTo>
                      <a:pt x="384" y="234"/>
                    </a:lnTo>
                    <a:lnTo>
                      <a:pt x="378" y="234"/>
                    </a:lnTo>
                    <a:lnTo>
                      <a:pt x="372" y="234"/>
                    </a:lnTo>
                    <a:lnTo>
                      <a:pt x="372" y="240"/>
                    </a:lnTo>
                    <a:lnTo>
                      <a:pt x="366" y="240"/>
                    </a:lnTo>
                    <a:lnTo>
                      <a:pt x="360" y="240"/>
                    </a:lnTo>
                    <a:lnTo>
                      <a:pt x="360" y="246"/>
                    </a:lnTo>
                    <a:lnTo>
                      <a:pt x="360" y="252"/>
                    </a:lnTo>
                    <a:lnTo>
                      <a:pt x="360" y="258"/>
                    </a:lnTo>
                    <a:lnTo>
                      <a:pt x="354" y="258"/>
                    </a:lnTo>
                    <a:lnTo>
                      <a:pt x="354" y="264"/>
                    </a:lnTo>
                    <a:lnTo>
                      <a:pt x="354" y="258"/>
                    </a:lnTo>
                    <a:lnTo>
                      <a:pt x="348" y="258"/>
                    </a:lnTo>
                    <a:lnTo>
                      <a:pt x="348" y="264"/>
                    </a:lnTo>
                    <a:lnTo>
                      <a:pt x="348" y="258"/>
                    </a:lnTo>
                    <a:lnTo>
                      <a:pt x="342" y="258"/>
                    </a:lnTo>
                    <a:lnTo>
                      <a:pt x="348" y="258"/>
                    </a:lnTo>
                    <a:lnTo>
                      <a:pt x="342" y="258"/>
                    </a:lnTo>
                    <a:lnTo>
                      <a:pt x="342" y="252"/>
                    </a:lnTo>
                    <a:lnTo>
                      <a:pt x="336" y="252"/>
                    </a:lnTo>
                    <a:lnTo>
                      <a:pt x="336" y="246"/>
                    </a:lnTo>
                    <a:lnTo>
                      <a:pt x="336" y="240"/>
                    </a:lnTo>
                    <a:lnTo>
                      <a:pt x="330" y="240"/>
                    </a:lnTo>
                    <a:lnTo>
                      <a:pt x="324" y="240"/>
                    </a:lnTo>
                    <a:lnTo>
                      <a:pt x="318" y="240"/>
                    </a:lnTo>
                    <a:lnTo>
                      <a:pt x="318" y="246"/>
                    </a:lnTo>
                    <a:lnTo>
                      <a:pt x="324" y="246"/>
                    </a:lnTo>
                    <a:lnTo>
                      <a:pt x="324" y="252"/>
                    </a:lnTo>
                    <a:lnTo>
                      <a:pt x="318" y="252"/>
                    </a:lnTo>
                    <a:lnTo>
                      <a:pt x="312" y="252"/>
                    </a:lnTo>
                    <a:lnTo>
                      <a:pt x="306" y="252"/>
                    </a:lnTo>
                    <a:lnTo>
                      <a:pt x="300" y="252"/>
                    </a:lnTo>
                    <a:lnTo>
                      <a:pt x="300" y="258"/>
                    </a:lnTo>
                    <a:lnTo>
                      <a:pt x="306" y="258"/>
                    </a:lnTo>
                    <a:lnTo>
                      <a:pt x="300" y="258"/>
                    </a:lnTo>
                    <a:lnTo>
                      <a:pt x="306" y="264"/>
                    </a:lnTo>
                    <a:lnTo>
                      <a:pt x="300" y="264"/>
                    </a:lnTo>
                    <a:lnTo>
                      <a:pt x="300" y="270"/>
                    </a:lnTo>
                    <a:lnTo>
                      <a:pt x="300" y="276"/>
                    </a:lnTo>
                    <a:lnTo>
                      <a:pt x="294" y="276"/>
                    </a:lnTo>
                    <a:lnTo>
                      <a:pt x="294" y="282"/>
                    </a:lnTo>
                    <a:lnTo>
                      <a:pt x="300" y="282"/>
                    </a:lnTo>
                    <a:lnTo>
                      <a:pt x="300" y="288"/>
                    </a:lnTo>
                    <a:lnTo>
                      <a:pt x="306" y="288"/>
                    </a:lnTo>
                    <a:lnTo>
                      <a:pt x="300" y="294"/>
                    </a:lnTo>
                    <a:lnTo>
                      <a:pt x="306" y="294"/>
                    </a:lnTo>
                    <a:lnTo>
                      <a:pt x="312" y="294"/>
                    </a:lnTo>
                    <a:lnTo>
                      <a:pt x="318" y="294"/>
                    </a:lnTo>
                    <a:lnTo>
                      <a:pt x="324" y="294"/>
                    </a:lnTo>
                    <a:lnTo>
                      <a:pt x="324" y="300"/>
                    </a:lnTo>
                    <a:lnTo>
                      <a:pt x="324" y="306"/>
                    </a:lnTo>
                    <a:lnTo>
                      <a:pt x="330" y="306"/>
                    </a:lnTo>
                    <a:lnTo>
                      <a:pt x="336" y="306"/>
                    </a:lnTo>
                    <a:lnTo>
                      <a:pt x="336" y="312"/>
                    </a:lnTo>
                    <a:lnTo>
                      <a:pt x="342" y="312"/>
                    </a:lnTo>
                    <a:lnTo>
                      <a:pt x="342" y="318"/>
                    </a:lnTo>
                    <a:lnTo>
                      <a:pt x="348" y="318"/>
                    </a:lnTo>
                    <a:lnTo>
                      <a:pt x="348" y="312"/>
                    </a:lnTo>
                    <a:lnTo>
                      <a:pt x="354" y="312"/>
                    </a:lnTo>
                    <a:lnTo>
                      <a:pt x="354" y="318"/>
                    </a:lnTo>
                    <a:lnTo>
                      <a:pt x="360" y="318"/>
                    </a:lnTo>
                    <a:lnTo>
                      <a:pt x="366" y="318"/>
                    </a:lnTo>
                    <a:lnTo>
                      <a:pt x="372" y="318"/>
                    </a:lnTo>
                    <a:lnTo>
                      <a:pt x="378" y="318"/>
                    </a:lnTo>
                    <a:lnTo>
                      <a:pt x="384" y="318"/>
                    </a:lnTo>
                    <a:lnTo>
                      <a:pt x="378" y="318"/>
                    </a:lnTo>
                    <a:lnTo>
                      <a:pt x="384" y="318"/>
                    </a:lnTo>
                    <a:lnTo>
                      <a:pt x="384" y="324"/>
                    </a:lnTo>
                    <a:lnTo>
                      <a:pt x="378" y="324"/>
                    </a:lnTo>
                    <a:lnTo>
                      <a:pt x="372" y="324"/>
                    </a:lnTo>
                    <a:lnTo>
                      <a:pt x="366" y="324"/>
                    </a:lnTo>
                    <a:lnTo>
                      <a:pt x="372" y="324"/>
                    </a:lnTo>
                    <a:lnTo>
                      <a:pt x="372" y="330"/>
                    </a:lnTo>
                    <a:lnTo>
                      <a:pt x="366" y="336"/>
                    </a:lnTo>
                    <a:lnTo>
                      <a:pt x="366" y="342"/>
                    </a:lnTo>
                    <a:lnTo>
                      <a:pt x="372" y="342"/>
                    </a:lnTo>
                    <a:lnTo>
                      <a:pt x="372" y="348"/>
                    </a:lnTo>
                    <a:lnTo>
                      <a:pt x="378" y="354"/>
                    </a:lnTo>
                    <a:lnTo>
                      <a:pt x="384" y="354"/>
                    </a:lnTo>
                    <a:lnTo>
                      <a:pt x="390" y="354"/>
                    </a:lnTo>
                    <a:lnTo>
                      <a:pt x="390" y="360"/>
                    </a:lnTo>
                    <a:lnTo>
                      <a:pt x="396" y="360"/>
                    </a:lnTo>
                    <a:lnTo>
                      <a:pt x="396" y="366"/>
                    </a:lnTo>
                    <a:lnTo>
                      <a:pt x="390" y="366"/>
                    </a:lnTo>
                    <a:lnTo>
                      <a:pt x="396" y="366"/>
                    </a:lnTo>
                    <a:lnTo>
                      <a:pt x="396" y="372"/>
                    </a:lnTo>
                    <a:lnTo>
                      <a:pt x="396" y="366"/>
                    </a:lnTo>
                    <a:lnTo>
                      <a:pt x="396" y="372"/>
                    </a:lnTo>
                    <a:lnTo>
                      <a:pt x="402" y="372"/>
                    </a:lnTo>
                    <a:lnTo>
                      <a:pt x="402" y="366"/>
                    </a:lnTo>
                    <a:lnTo>
                      <a:pt x="402" y="372"/>
                    </a:lnTo>
                    <a:lnTo>
                      <a:pt x="408" y="372"/>
                    </a:lnTo>
                    <a:lnTo>
                      <a:pt x="414" y="372"/>
                    </a:lnTo>
                    <a:lnTo>
                      <a:pt x="414" y="378"/>
                    </a:lnTo>
                    <a:lnTo>
                      <a:pt x="414" y="384"/>
                    </a:lnTo>
                    <a:lnTo>
                      <a:pt x="408" y="384"/>
                    </a:lnTo>
                    <a:lnTo>
                      <a:pt x="408" y="390"/>
                    </a:lnTo>
                    <a:lnTo>
                      <a:pt x="414" y="390"/>
                    </a:lnTo>
                    <a:lnTo>
                      <a:pt x="420" y="390"/>
                    </a:lnTo>
                    <a:lnTo>
                      <a:pt x="420" y="396"/>
                    </a:lnTo>
                    <a:lnTo>
                      <a:pt x="414" y="396"/>
                    </a:lnTo>
                    <a:lnTo>
                      <a:pt x="414" y="402"/>
                    </a:lnTo>
                    <a:lnTo>
                      <a:pt x="420" y="402"/>
                    </a:lnTo>
                    <a:lnTo>
                      <a:pt x="420" y="408"/>
                    </a:lnTo>
                    <a:lnTo>
                      <a:pt x="420" y="402"/>
                    </a:lnTo>
                    <a:lnTo>
                      <a:pt x="426" y="408"/>
                    </a:lnTo>
                    <a:lnTo>
                      <a:pt x="420" y="408"/>
                    </a:lnTo>
                    <a:lnTo>
                      <a:pt x="426" y="408"/>
                    </a:lnTo>
                    <a:lnTo>
                      <a:pt x="420" y="408"/>
                    </a:lnTo>
                    <a:lnTo>
                      <a:pt x="420" y="414"/>
                    </a:lnTo>
                    <a:lnTo>
                      <a:pt x="420" y="408"/>
                    </a:lnTo>
                    <a:lnTo>
                      <a:pt x="414" y="408"/>
                    </a:lnTo>
                    <a:lnTo>
                      <a:pt x="414" y="414"/>
                    </a:lnTo>
                    <a:lnTo>
                      <a:pt x="414" y="420"/>
                    </a:lnTo>
                    <a:lnTo>
                      <a:pt x="408" y="420"/>
                    </a:lnTo>
                    <a:lnTo>
                      <a:pt x="408" y="414"/>
                    </a:lnTo>
                    <a:lnTo>
                      <a:pt x="402" y="414"/>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US" sz="800" dirty="0">
                  <a:solidFill>
                    <a:srgbClr val="000000"/>
                  </a:solidFill>
                </a:endParaRPr>
              </a:p>
            </p:txBody>
          </p:sp>
          <p:sp>
            <p:nvSpPr>
              <p:cNvPr id="67" name="Freeform 78"/>
              <p:cNvSpPr>
                <a:spLocks noEditPoints="1"/>
              </p:cNvSpPr>
              <p:nvPr/>
            </p:nvSpPr>
            <p:spPr bwMode="gray">
              <a:xfrm>
                <a:off x="4780312" y="2771433"/>
                <a:ext cx="625335" cy="947880"/>
              </a:xfrm>
              <a:custGeom>
                <a:avLst/>
                <a:gdLst>
                  <a:gd name="T0" fmla="*/ 156 w 486"/>
                  <a:gd name="T1" fmla="*/ 690 h 744"/>
                  <a:gd name="T2" fmla="*/ 108 w 486"/>
                  <a:gd name="T3" fmla="*/ 666 h 744"/>
                  <a:gd name="T4" fmla="*/ 126 w 486"/>
                  <a:gd name="T5" fmla="*/ 630 h 744"/>
                  <a:gd name="T6" fmla="*/ 90 w 486"/>
                  <a:gd name="T7" fmla="*/ 594 h 744"/>
                  <a:gd name="T8" fmla="*/ 60 w 486"/>
                  <a:gd name="T9" fmla="*/ 552 h 744"/>
                  <a:gd name="T10" fmla="*/ 6 w 486"/>
                  <a:gd name="T11" fmla="*/ 516 h 744"/>
                  <a:gd name="T12" fmla="*/ 48 w 486"/>
                  <a:gd name="T13" fmla="*/ 492 h 744"/>
                  <a:gd name="T14" fmla="*/ 96 w 486"/>
                  <a:gd name="T15" fmla="*/ 468 h 744"/>
                  <a:gd name="T16" fmla="*/ 138 w 486"/>
                  <a:gd name="T17" fmla="*/ 444 h 744"/>
                  <a:gd name="T18" fmla="*/ 174 w 486"/>
                  <a:gd name="T19" fmla="*/ 432 h 744"/>
                  <a:gd name="T20" fmla="*/ 216 w 486"/>
                  <a:gd name="T21" fmla="*/ 402 h 744"/>
                  <a:gd name="T22" fmla="*/ 240 w 486"/>
                  <a:gd name="T23" fmla="*/ 354 h 744"/>
                  <a:gd name="T24" fmla="*/ 246 w 486"/>
                  <a:gd name="T25" fmla="*/ 306 h 744"/>
                  <a:gd name="T26" fmla="*/ 234 w 486"/>
                  <a:gd name="T27" fmla="*/ 246 h 744"/>
                  <a:gd name="T28" fmla="*/ 270 w 486"/>
                  <a:gd name="T29" fmla="*/ 216 h 744"/>
                  <a:gd name="T30" fmla="*/ 252 w 486"/>
                  <a:gd name="T31" fmla="*/ 150 h 744"/>
                  <a:gd name="T32" fmla="*/ 282 w 486"/>
                  <a:gd name="T33" fmla="*/ 120 h 744"/>
                  <a:gd name="T34" fmla="*/ 282 w 486"/>
                  <a:gd name="T35" fmla="*/ 42 h 744"/>
                  <a:gd name="T36" fmla="*/ 300 w 486"/>
                  <a:gd name="T37" fmla="*/ 12 h 744"/>
                  <a:gd name="T38" fmla="*/ 354 w 486"/>
                  <a:gd name="T39" fmla="*/ 6 h 744"/>
                  <a:gd name="T40" fmla="*/ 396 w 486"/>
                  <a:gd name="T41" fmla="*/ 48 h 744"/>
                  <a:gd name="T42" fmla="*/ 462 w 486"/>
                  <a:gd name="T43" fmla="*/ 66 h 744"/>
                  <a:gd name="T44" fmla="*/ 474 w 486"/>
                  <a:gd name="T45" fmla="*/ 120 h 744"/>
                  <a:gd name="T46" fmla="*/ 450 w 486"/>
                  <a:gd name="T47" fmla="*/ 150 h 744"/>
                  <a:gd name="T48" fmla="*/ 414 w 486"/>
                  <a:gd name="T49" fmla="*/ 150 h 744"/>
                  <a:gd name="T50" fmla="*/ 384 w 486"/>
                  <a:gd name="T51" fmla="*/ 102 h 744"/>
                  <a:gd name="T52" fmla="*/ 378 w 486"/>
                  <a:gd name="T53" fmla="*/ 132 h 744"/>
                  <a:gd name="T54" fmla="*/ 342 w 486"/>
                  <a:gd name="T55" fmla="*/ 108 h 744"/>
                  <a:gd name="T56" fmla="*/ 312 w 486"/>
                  <a:gd name="T57" fmla="*/ 96 h 744"/>
                  <a:gd name="T58" fmla="*/ 300 w 486"/>
                  <a:gd name="T59" fmla="*/ 132 h 744"/>
                  <a:gd name="T60" fmla="*/ 282 w 486"/>
                  <a:gd name="T61" fmla="*/ 162 h 744"/>
                  <a:gd name="T62" fmla="*/ 306 w 486"/>
                  <a:gd name="T63" fmla="*/ 198 h 744"/>
                  <a:gd name="T64" fmla="*/ 354 w 486"/>
                  <a:gd name="T65" fmla="*/ 222 h 744"/>
                  <a:gd name="T66" fmla="*/ 366 w 486"/>
                  <a:gd name="T67" fmla="*/ 270 h 744"/>
                  <a:gd name="T68" fmla="*/ 318 w 486"/>
                  <a:gd name="T69" fmla="*/ 282 h 744"/>
                  <a:gd name="T70" fmla="*/ 276 w 486"/>
                  <a:gd name="T71" fmla="*/ 306 h 744"/>
                  <a:gd name="T72" fmla="*/ 294 w 486"/>
                  <a:gd name="T73" fmla="*/ 372 h 744"/>
                  <a:gd name="T74" fmla="*/ 348 w 486"/>
                  <a:gd name="T75" fmla="*/ 408 h 744"/>
                  <a:gd name="T76" fmla="*/ 330 w 486"/>
                  <a:gd name="T77" fmla="*/ 450 h 744"/>
                  <a:gd name="T78" fmla="*/ 360 w 486"/>
                  <a:gd name="T79" fmla="*/ 492 h 744"/>
                  <a:gd name="T80" fmla="*/ 360 w 486"/>
                  <a:gd name="T81" fmla="*/ 528 h 744"/>
                  <a:gd name="T82" fmla="*/ 378 w 486"/>
                  <a:gd name="T83" fmla="*/ 576 h 744"/>
                  <a:gd name="T84" fmla="*/ 378 w 486"/>
                  <a:gd name="T85" fmla="*/ 636 h 744"/>
                  <a:gd name="T86" fmla="*/ 384 w 486"/>
                  <a:gd name="T87" fmla="*/ 690 h 744"/>
                  <a:gd name="T88" fmla="*/ 372 w 486"/>
                  <a:gd name="T89" fmla="*/ 726 h 744"/>
                  <a:gd name="T90" fmla="*/ 360 w 486"/>
                  <a:gd name="T91" fmla="*/ 726 h 744"/>
                  <a:gd name="T92" fmla="*/ 354 w 486"/>
                  <a:gd name="T93" fmla="*/ 684 h 744"/>
                  <a:gd name="T94" fmla="*/ 336 w 486"/>
                  <a:gd name="T95" fmla="*/ 690 h 744"/>
                  <a:gd name="T96" fmla="*/ 318 w 486"/>
                  <a:gd name="T97" fmla="*/ 708 h 744"/>
                  <a:gd name="T98" fmla="*/ 306 w 486"/>
                  <a:gd name="T99" fmla="*/ 720 h 744"/>
                  <a:gd name="T100" fmla="*/ 288 w 486"/>
                  <a:gd name="T101" fmla="*/ 726 h 744"/>
                  <a:gd name="T102" fmla="*/ 270 w 486"/>
                  <a:gd name="T103" fmla="*/ 660 h 744"/>
                  <a:gd name="T104" fmla="*/ 234 w 486"/>
                  <a:gd name="T105" fmla="*/ 726 h 744"/>
                  <a:gd name="T106" fmla="*/ 282 w 486"/>
                  <a:gd name="T107" fmla="*/ 702 h 744"/>
                  <a:gd name="T108" fmla="*/ 324 w 486"/>
                  <a:gd name="T109" fmla="*/ 714 h 744"/>
                  <a:gd name="T110" fmla="*/ 354 w 486"/>
                  <a:gd name="T111" fmla="*/ 726 h 744"/>
                  <a:gd name="T112" fmla="*/ 336 w 486"/>
                  <a:gd name="T113" fmla="*/ 702 h 744"/>
                  <a:gd name="T114" fmla="*/ 330 w 486"/>
                  <a:gd name="T115" fmla="*/ 726 h 744"/>
                  <a:gd name="T116" fmla="*/ 288 w 486"/>
                  <a:gd name="T117" fmla="*/ 738 h 744"/>
                  <a:gd name="T118" fmla="*/ 336 w 486"/>
                  <a:gd name="T119" fmla="*/ 702 h 744"/>
                  <a:gd name="T120" fmla="*/ 336 w 486"/>
                  <a:gd name="T121" fmla="*/ 726 h 744"/>
                  <a:gd name="T122" fmla="*/ 288 w 486"/>
                  <a:gd name="T123" fmla="*/ 720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6" h="744">
                    <a:moveTo>
                      <a:pt x="198" y="732"/>
                    </a:moveTo>
                    <a:lnTo>
                      <a:pt x="198" y="726"/>
                    </a:lnTo>
                    <a:lnTo>
                      <a:pt x="198" y="720"/>
                    </a:lnTo>
                    <a:lnTo>
                      <a:pt x="192" y="714"/>
                    </a:lnTo>
                    <a:lnTo>
                      <a:pt x="186" y="714"/>
                    </a:lnTo>
                    <a:lnTo>
                      <a:pt x="186" y="708"/>
                    </a:lnTo>
                    <a:lnTo>
                      <a:pt x="186" y="714"/>
                    </a:lnTo>
                    <a:lnTo>
                      <a:pt x="186" y="708"/>
                    </a:lnTo>
                    <a:lnTo>
                      <a:pt x="180" y="708"/>
                    </a:lnTo>
                    <a:lnTo>
                      <a:pt x="174" y="708"/>
                    </a:lnTo>
                    <a:lnTo>
                      <a:pt x="174" y="702"/>
                    </a:lnTo>
                    <a:lnTo>
                      <a:pt x="174" y="696"/>
                    </a:lnTo>
                    <a:lnTo>
                      <a:pt x="168" y="696"/>
                    </a:lnTo>
                    <a:lnTo>
                      <a:pt x="174" y="696"/>
                    </a:lnTo>
                    <a:lnTo>
                      <a:pt x="174" y="690"/>
                    </a:lnTo>
                    <a:lnTo>
                      <a:pt x="168" y="690"/>
                    </a:lnTo>
                    <a:lnTo>
                      <a:pt x="168" y="684"/>
                    </a:lnTo>
                    <a:lnTo>
                      <a:pt x="162" y="684"/>
                    </a:lnTo>
                    <a:lnTo>
                      <a:pt x="162" y="690"/>
                    </a:lnTo>
                    <a:lnTo>
                      <a:pt x="156" y="690"/>
                    </a:lnTo>
                    <a:lnTo>
                      <a:pt x="150" y="690"/>
                    </a:lnTo>
                    <a:lnTo>
                      <a:pt x="150" y="696"/>
                    </a:lnTo>
                    <a:lnTo>
                      <a:pt x="156" y="696"/>
                    </a:lnTo>
                    <a:lnTo>
                      <a:pt x="156" y="702"/>
                    </a:lnTo>
                    <a:lnTo>
                      <a:pt x="150" y="702"/>
                    </a:lnTo>
                    <a:lnTo>
                      <a:pt x="144" y="702"/>
                    </a:lnTo>
                    <a:lnTo>
                      <a:pt x="144" y="696"/>
                    </a:lnTo>
                    <a:lnTo>
                      <a:pt x="138" y="696"/>
                    </a:lnTo>
                    <a:lnTo>
                      <a:pt x="138" y="690"/>
                    </a:lnTo>
                    <a:lnTo>
                      <a:pt x="144" y="690"/>
                    </a:lnTo>
                    <a:lnTo>
                      <a:pt x="144" y="684"/>
                    </a:lnTo>
                    <a:lnTo>
                      <a:pt x="144" y="678"/>
                    </a:lnTo>
                    <a:lnTo>
                      <a:pt x="138" y="678"/>
                    </a:lnTo>
                    <a:lnTo>
                      <a:pt x="138" y="672"/>
                    </a:lnTo>
                    <a:lnTo>
                      <a:pt x="132" y="672"/>
                    </a:lnTo>
                    <a:lnTo>
                      <a:pt x="126" y="672"/>
                    </a:lnTo>
                    <a:lnTo>
                      <a:pt x="120" y="672"/>
                    </a:lnTo>
                    <a:lnTo>
                      <a:pt x="120" y="666"/>
                    </a:lnTo>
                    <a:lnTo>
                      <a:pt x="114" y="666"/>
                    </a:lnTo>
                    <a:lnTo>
                      <a:pt x="108" y="666"/>
                    </a:lnTo>
                    <a:lnTo>
                      <a:pt x="108" y="660"/>
                    </a:lnTo>
                    <a:lnTo>
                      <a:pt x="108" y="654"/>
                    </a:lnTo>
                    <a:lnTo>
                      <a:pt x="114" y="654"/>
                    </a:lnTo>
                    <a:lnTo>
                      <a:pt x="114" y="660"/>
                    </a:lnTo>
                    <a:lnTo>
                      <a:pt x="120" y="660"/>
                    </a:lnTo>
                    <a:lnTo>
                      <a:pt x="120" y="654"/>
                    </a:lnTo>
                    <a:lnTo>
                      <a:pt x="120" y="648"/>
                    </a:lnTo>
                    <a:lnTo>
                      <a:pt x="126" y="648"/>
                    </a:lnTo>
                    <a:lnTo>
                      <a:pt x="126" y="654"/>
                    </a:lnTo>
                    <a:lnTo>
                      <a:pt x="126" y="648"/>
                    </a:lnTo>
                    <a:lnTo>
                      <a:pt x="132" y="648"/>
                    </a:lnTo>
                    <a:lnTo>
                      <a:pt x="126" y="648"/>
                    </a:lnTo>
                    <a:lnTo>
                      <a:pt x="132" y="648"/>
                    </a:lnTo>
                    <a:lnTo>
                      <a:pt x="126" y="642"/>
                    </a:lnTo>
                    <a:lnTo>
                      <a:pt x="126" y="648"/>
                    </a:lnTo>
                    <a:lnTo>
                      <a:pt x="126" y="642"/>
                    </a:lnTo>
                    <a:lnTo>
                      <a:pt x="120" y="642"/>
                    </a:lnTo>
                    <a:lnTo>
                      <a:pt x="120" y="636"/>
                    </a:lnTo>
                    <a:lnTo>
                      <a:pt x="126" y="636"/>
                    </a:lnTo>
                    <a:lnTo>
                      <a:pt x="126" y="630"/>
                    </a:lnTo>
                    <a:lnTo>
                      <a:pt x="120" y="630"/>
                    </a:lnTo>
                    <a:lnTo>
                      <a:pt x="114" y="630"/>
                    </a:lnTo>
                    <a:lnTo>
                      <a:pt x="114" y="624"/>
                    </a:lnTo>
                    <a:lnTo>
                      <a:pt x="120" y="624"/>
                    </a:lnTo>
                    <a:lnTo>
                      <a:pt x="120" y="618"/>
                    </a:lnTo>
                    <a:lnTo>
                      <a:pt x="120" y="612"/>
                    </a:lnTo>
                    <a:lnTo>
                      <a:pt x="114" y="612"/>
                    </a:lnTo>
                    <a:lnTo>
                      <a:pt x="108" y="612"/>
                    </a:lnTo>
                    <a:lnTo>
                      <a:pt x="108" y="606"/>
                    </a:lnTo>
                    <a:lnTo>
                      <a:pt x="108" y="612"/>
                    </a:lnTo>
                    <a:lnTo>
                      <a:pt x="102" y="612"/>
                    </a:lnTo>
                    <a:lnTo>
                      <a:pt x="102" y="606"/>
                    </a:lnTo>
                    <a:lnTo>
                      <a:pt x="102" y="612"/>
                    </a:lnTo>
                    <a:lnTo>
                      <a:pt x="102" y="606"/>
                    </a:lnTo>
                    <a:lnTo>
                      <a:pt x="96" y="606"/>
                    </a:lnTo>
                    <a:lnTo>
                      <a:pt x="102" y="606"/>
                    </a:lnTo>
                    <a:lnTo>
                      <a:pt x="102" y="600"/>
                    </a:lnTo>
                    <a:lnTo>
                      <a:pt x="96" y="600"/>
                    </a:lnTo>
                    <a:lnTo>
                      <a:pt x="96" y="594"/>
                    </a:lnTo>
                    <a:lnTo>
                      <a:pt x="90" y="594"/>
                    </a:lnTo>
                    <a:lnTo>
                      <a:pt x="84" y="594"/>
                    </a:lnTo>
                    <a:lnTo>
                      <a:pt x="78" y="588"/>
                    </a:lnTo>
                    <a:lnTo>
                      <a:pt x="78" y="582"/>
                    </a:lnTo>
                    <a:lnTo>
                      <a:pt x="72" y="582"/>
                    </a:lnTo>
                    <a:lnTo>
                      <a:pt x="72" y="576"/>
                    </a:lnTo>
                    <a:lnTo>
                      <a:pt x="78" y="570"/>
                    </a:lnTo>
                    <a:lnTo>
                      <a:pt x="78" y="564"/>
                    </a:lnTo>
                    <a:lnTo>
                      <a:pt x="72" y="564"/>
                    </a:lnTo>
                    <a:lnTo>
                      <a:pt x="78" y="564"/>
                    </a:lnTo>
                    <a:lnTo>
                      <a:pt x="84" y="564"/>
                    </a:lnTo>
                    <a:lnTo>
                      <a:pt x="90" y="564"/>
                    </a:lnTo>
                    <a:lnTo>
                      <a:pt x="90" y="558"/>
                    </a:lnTo>
                    <a:lnTo>
                      <a:pt x="84" y="558"/>
                    </a:lnTo>
                    <a:lnTo>
                      <a:pt x="90" y="558"/>
                    </a:lnTo>
                    <a:lnTo>
                      <a:pt x="84" y="558"/>
                    </a:lnTo>
                    <a:lnTo>
                      <a:pt x="78" y="558"/>
                    </a:lnTo>
                    <a:lnTo>
                      <a:pt x="72" y="558"/>
                    </a:lnTo>
                    <a:lnTo>
                      <a:pt x="66" y="558"/>
                    </a:lnTo>
                    <a:lnTo>
                      <a:pt x="60" y="558"/>
                    </a:lnTo>
                    <a:lnTo>
                      <a:pt x="60" y="552"/>
                    </a:lnTo>
                    <a:lnTo>
                      <a:pt x="54" y="552"/>
                    </a:lnTo>
                    <a:lnTo>
                      <a:pt x="54" y="558"/>
                    </a:lnTo>
                    <a:lnTo>
                      <a:pt x="48" y="558"/>
                    </a:lnTo>
                    <a:lnTo>
                      <a:pt x="48" y="552"/>
                    </a:lnTo>
                    <a:lnTo>
                      <a:pt x="42" y="552"/>
                    </a:lnTo>
                    <a:lnTo>
                      <a:pt x="42" y="546"/>
                    </a:lnTo>
                    <a:lnTo>
                      <a:pt x="36" y="546"/>
                    </a:lnTo>
                    <a:lnTo>
                      <a:pt x="30" y="546"/>
                    </a:lnTo>
                    <a:lnTo>
                      <a:pt x="30" y="540"/>
                    </a:lnTo>
                    <a:lnTo>
                      <a:pt x="30" y="534"/>
                    </a:lnTo>
                    <a:lnTo>
                      <a:pt x="24" y="534"/>
                    </a:lnTo>
                    <a:lnTo>
                      <a:pt x="18" y="534"/>
                    </a:lnTo>
                    <a:lnTo>
                      <a:pt x="12" y="534"/>
                    </a:lnTo>
                    <a:lnTo>
                      <a:pt x="6" y="534"/>
                    </a:lnTo>
                    <a:lnTo>
                      <a:pt x="12" y="528"/>
                    </a:lnTo>
                    <a:lnTo>
                      <a:pt x="6" y="528"/>
                    </a:lnTo>
                    <a:lnTo>
                      <a:pt x="6" y="522"/>
                    </a:lnTo>
                    <a:lnTo>
                      <a:pt x="0" y="522"/>
                    </a:lnTo>
                    <a:lnTo>
                      <a:pt x="0" y="516"/>
                    </a:lnTo>
                    <a:lnTo>
                      <a:pt x="6" y="516"/>
                    </a:lnTo>
                    <a:lnTo>
                      <a:pt x="6" y="510"/>
                    </a:lnTo>
                    <a:lnTo>
                      <a:pt x="6" y="504"/>
                    </a:lnTo>
                    <a:lnTo>
                      <a:pt x="12" y="504"/>
                    </a:lnTo>
                    <a:lnTo>
                      <a:pt x="6" y="498"/>
                    </a:lnTo>
                    <a:lnTo>
                      <a:pt x="12" y="498"/>
                    </a:lnTo>
                    <a:lnTo>
                      <a:pt x="6" y="498"/>
                    </a:lnTo>
                    <a:lnTo>
                      <a:pt x="6" y="492"/>
                    </a:lnTo>
                    <a:lnTo>
                      <a:pt x="12" y="492"/>
                    </a:lnTo>
                    <a:lnTo>
                      <a:pt x="18" y="492"/>
                    </a:lnTo>
                    <a:lnTo>
                      <a:pt x="24" y="492"/>
                    </a:lnTo>
                    <a:lnTo>
                      <a:pt x="30" y="492"/>
                    </a:lnTo>
                    <a:lnTo>
                      <a:pt x="30" y="486"/>
                    </a:lnTo>
                    <a:lnTo>
                      <a:pt x="24" y="486"/>
                    </a:lnTo>
                    <a:lnTo>
                      <a:pt x="24" y="480"/>
                    </a:lnTo>
                    <a:lnTo>
                      <a:pt x="30" y="480"/>
                    </a:lnTo>
                    <a:lnTo>
                      <a:pt x="36" y="480"/>
                    </a:lnTo>
                    <a:lnTo>
                      <a:pt x="42" y="480"/>
                    </a:lnTo>
                    <a:lnTo>
                      <a:pt x="42" y="486"/>
                    </a:lnTo>
                    <a:lnTo>
                      <a:pt x="42" y="492"/>
                    </a:lnTo>
                    <a:lnTo>
                      <a:pt x="48" y="492"/>
                    </a:lnTo>
                    <a:lnTo>
                      <a:pt x="48" y="498"/>
                    </a:lnTo>
                    <a:lnTo>
                      <a:pt x="54" y="498"/>
                    </a:lnTo>
                    <a:lnTo>
                      <a:pt x="48" y="498"/>
                    </a:lnTo>
                    <a:lnTo>
                      <a:pt x="54" y="498"/>
                    </a:lnTo>
                    <a:lnTo>
                      <a:pt x="54" y="504"/>
                    </a:lnTo>
                    <a:lnTo>
                      <a:pt x="54" y="498"/>
                    </a:lnTo>
                    <a:lnTo>
                      <a:pt x="60" y="498"/>
                    </a:lnTo>
                    <a:lnTo>
                      <a:pt x="60" y="504"/>
                    </a:lnTo>
                    <a:lnTo>
                      <a:pt x="60" y="498"/>
                    </a:lnTo>
                    <a:lnTo>
                      <a:pt x="66" y="498"/>
                    </a:lnTo>
                    <a:lnTo>
                      <a:pt x="66" y="492"/>
                    </a:lnTo>
                    <a:lnTo>
                      <a:pt x="66" y="486"/>
                    </a:lnTo>
                    <a:lnTo>
                      <a:pt x="66" y="480"/>
                    </a:lnTo>
                    <a:lnTo>
                      <a:pt x="72" y="480"/>
                    </a:lnTo>
                    <a:lnTo>
                      <a:pt x="78" y="480"/>
                    </a:lnTo>
                    <a:lnTo>
                      <a:pt x="78" y="474"/>
                    </a:lnTo>
                    <a:lnTo>
                      <a:pt x="84" y="474"/>
                    </a:lnTo>
                    <a:lnTo>
                      <a:pt x="90" y="474"/>
                    </a:lnTo>
                    <a:lnTo>
                      <a:pt x="90" y="468"/>
                    </a:lnTo>
                    <a:lnTo>
                      <a:pt x="96" y="468"/>
                    </a:lnTo>
                    <a:lnTo>
                      <a:pt x="102" y="468"/>
                    </a:lnTo>
                    <a:lnTo>
                      <a:pt x="108" y="468"/>
                    </a:lnTo>
                    <a:lnTo>
                      <a:pt x="108" y="462"/>
                    </a:lnTo>
                    <a:lnTo>
                      <a:pt x="108" y="468"/>
                    </a:lnTo>
                    <a:lnTo>
                      <a:pt x="114" y="468"/>
                    </a:lnTo>
                    <a:lnTo>
                      <a:pt x="120" y="468"/>
                    </a:lnTo>
                    <a:lnTo>
                      <a:pt x="120" y="462"/>
                    </a:lnTo>
                    <a:lnTo>
                      <a:pt x="120" y="468"/>
                    </a:lnTo>
                    <a:lnTo>
                      <a:pt x="120" y="462"/>
                    </a:lnTo>
                    <a:lnTo>
                      <a:pt x="120" y="456"/>
                    </a:lnTo>
                    <a:lnTo>
                      <a:pt x="120" y="450"/>
                    </a:lnTo>
                    <a:lnTo>
                      <a:pt x="126" y="450"/>
                    </a:lnTo>
                    <a:lnTo>
                      <a:pt x="126" y="444"/>
                    </a:lnTo>
                    <a:lnTo>
                      <a:pt x="126" y="450"/>
                    </a:lnTo>
                    <a:lnTo>
                      <a:pt x="132" y="450"/>
                    </a:lnTo>
                    <a:lnTo>
                      <a:pt x="132" y="444"/>
                    </a:lnTo>
                    <a:lnTo>
                      <a:pt x="126" y="444"/>
                    </a:lnTo>
                    <a:lnTo>
                      <a:pt x="132" y="438"/>
                    </a:lnTo>
                    <a:lnTo>
                      <a:pt x="132" y="444"/>
                    </a:lnTo>
                    <a:lnTo>
                      <a:pt x="138" y="444"/>
                    </a:lnTo>
                    <a:lnTo>
                      <a:pt x="144" y="444"/>
                    </a:lnTo>
                    <a:lnTo>
                      <a:pt x="150" y="444"/>
                    </a:lnTo>
                    <a:lnTo>
                      <a:pt x="150" y="450"/>
                    </a:lnTo>
                    <a:lnTo>
                      <a:pt x="156" y="450"/>
                    </a:lnTo>
                    <a:lnTo>
                      <a:pt x="162" y="450"/>
                    </a:lnTo>
                    <a:lnTo>
                      <a:pt x="162" y="444"/>
                    </a:lnTo>
                    <a:lnTo>
                      <a:pt x="156" y="444"/>
                    </a:lnTo>
                    <a:lnTo>
                      <a:pt x="162" y="444"/>
                    </a:lnTo>
                    <a:lnTo>
                      <a:pt x="168" y="444"/>
                    </a:lnTo>
                    <a:lnTo>
                      <a:pt x="168" y="450"/>
                    </a:lnTo>
                    <a:lnTo>
                      <a:pt x="174" y="450"/>
                    </a:lnTo>
                    <a:lnTo>
                      <a:pt x="174" y="444"/>
                    </a:lnTo>
                    <a:lnTo>
                      <a:pt x="174" y="438"/>
                    </a:lnTo>
                    <a:lnTo>
                      <a:pt x="174" y="444"/>
                    </a:lnTo>
                    <a:lnTo>
                      <a:pt x="174" y="438"/>
                    </a:lnTo>
                    <a:lnTo>
                      <a:pt x="180" y="438"/>
                    </a:lnTo>
                    <a:lnTo>
                      <a:pt x="180" y="432"/>
                    </a:lnTo>
                    <a:lnTo>
                      <a:pt x="174" y="432"/>
                    </a:lnTo>
                    <a:lnTo>
                      <a:pt x="180" y="432"/>
                    </a:lnTo>
                    <a:lnTo>
                      <a:pt x="174" y="432"/>
                    </a:lnTo>
                    <a:lnTo>
                      <a:pt x="174" y="426"/>
                    </a:lnTo>
                    <a:lnTo>
                      <a:pt x="174" y="420"/>
                    </a:lnTo>
                    <a:lnTo>
                      <a:pt x="180" y="420"/>
                    </a:lnTo>
                    <a:lnTo>
                      <a:pt x="180" y="426"/>
                    </a:lnTo>
                    <a:lnTo>
                      <a:pt x="186" y="426"/>
                    </a:lnTo>
                    <a:lnTo>
                      <a:pt x="192" y="426"/>
                    </a:lnTo>
                    <a:lnTo>
                      <a:pt x="198" y="432"/>
                    </a:lnTo>
                    <a:lnTo>
                      <a:pt x="198" y="426"/>
                    </a:lnTo>
                    <a:lnTo>
                      <a:pt x="198" y="420"/>
                    </a:lnTo>
                    <a:lnTo>
                      <a:pt x="204" y="420"/>
                    </a:lnTo>
                    <a:lnTo>
                      <a:pt x="198" y="414"/>
                    </a:lnTo>
                    <a:lnTo>
                      <a:pt x="204" y="414"/>
                    </a:lnTo>
                    <a:lnTo>
                      <a:pt x="204" y="408"/>
                    </a:lnTo>
                    <a:lnTo>
                      <a:pt x="204" y="414"/>
                    </a:lnTo>
                    <a:lnTo>
                      <a:pt x="210" y="414"/>
                    </a:lnTo>
                    <a:lnTo>
                      <a:pt x="210" y="408"/>
                    </a:lnTo>
                    <a:lnTo>
                      <a:pt x="216" y="408"/>
                    </a:lnTo>
                    <a:lnTo>
                      <a:pt x="210" y="408"/>
                    </a:lnTo>
                    <a:lnTo>
                      <a:pt x="210" y="402"/>
                    </a:lnTo>
                    <a:lnTo>
                      <a:pt x="216" y="402"/>
                    </a:lnTo>
                    <a:lnTo>
                      <a:pt x="222" y="402"/>
                    </a:lnTo>
                    <a:lnTo>
                      <a:pt x="222" y="408"/>
                    </a:lnTo>
                    <a:lnTo>
                      <a:pt x="228" y="402"/>
                    </a:lnTo>
                    <a:lnTo>
                      <a:pt x="222" y="402"/>
                    </a:lnTo>
                    <a:lnTo>
                      <a:pt x="222" y="396"/>
                    </a:lnTo>
                    <a:lnTo>
                      <a:pt x="216" y="396"/>
                    </a:lnTo>
                    <a:lnTo>
                      <a:pt x="222" y="396"/>
                    </a:lnTo>
                    <a:lnTo>
                      <a:pt x="222" y="390"/>
                    </a:lnTo>
                    <a:lnTo>
                      <a:pt x="222" y="396"/>
                    </a:lnTo>
                    <a:lnTo>
                      <a:pt x="222" y="390"/>
                    </a:lnTo>
                    <a:lnTo>
                      <a:pt x="228" y="390"/>
                    </a:lnTo>
                    <a:lnTo>
                      <a:pt x="228" y="384"/>
                    </a:lnTo>
                    <a:lnTo>
                      <a:pt x="234" y="384"/>
                    </a:lnTo>
                    <a:lnTo>
                      <a:pt x="234" y="378"/>
                    </a:lnTo>
                    <a:lnTo>
                      <a:pt x="234" y="372"/>
                    </a:lnTo>
                    <a:lnTo>
                      <a:pt x="240" y="372"/>
                    </a:lnTo>
                    <a:lnTo>
                      <a:pt x="234" y="372"/>
                    </a:lnTo>
                    <a:lnTo>
                      <a:pt x="234" y="366"/>
                    </a:lnTo>
                    <a:lnTo>
                      <a:pt x="240" y="360"/>
                    </a:lnTo>
                    <a:lnTo>
                      <a:pt x="240" y="354"/>
                    </a:lnTo>
                    <a:lnTo>
                      <a:pt x="234" y="354"/>
                    </a:lnTo>
                    <a:lnTo>
                      <a:pt x="240" y="354"/>
                    </a:lnTo>
                    <a:lnTo>
                      <a:pt x="234" y="348"/>
                    </a:lnTo>
                    <a:lnTo>
                      <a:pt x="240" y="348"/>
                    </a:lnTo>
                    <a:lnTo>
                      <a:pt x="240" y="354"/>
                    </a:lnTo>
                    <a:lnTo>
                      <a:pt x="246" y="354"/>
                    </a:lnTo>
                    <a:lnTo>
                      <a:pt x="246" y="348"/>
                    </a:lnTo>
                    <a:lnTo>
                      <a:pt x="252" y="348"/>
                    </a:lnTo>
                    <a:lnTo>
                      <a:pt x="246" y="342"/>
                    </a:lnTo>
                    <a:lnTo>
                      <a:pt x="252" y="342"/>
                    </a:lnTo>
                    <a:lnTo>
                      <a:pt x="246" y="336"/>
                    </a:lnTo>
                    <a:lnTo>
                      <a:pt x="246" y="330"/>
                    </a:lnTo>
                    <a:lnTo>
                      <a:pt x="240" y="330"/>
                    </a:lnTo>
                    <a:lnTo>
                      <a:pt x="240" y="324"/>
                    </a:lnTo>
                    <a:lnTo>
                      <a:pt x="246" y="324"/>
                    </a:lnTo>
                    <a:lnTo>
                      <a:pt x="246" y="318"/>
                    </a:lnTo>
                    <a:lnTo>
                      <a:pt x="252" y="318"/>
                    </a:lnTo>
                    <a:lnTo>
                      <a:pt x="252" y="312"/>
                    </a:lnTo>
                    <a:lnTo>
                      <a:pt x="246" y="312"/>
                    </a:lnTo>
                    <a:lnTo>
                      <a:pt x="246" y="306"/>
                    </a:lnTo>
                    <a:lnTo>
                      <a:pt x="246" y="300"/>
                    </a:lnTo>
                    <a:lnTo>
                      <a:pt x="246" y="294"/>
                    </a:lnTo>
                    <a:lnTo>
                      <a:pt x="246" y="288"/>
                    </a:lnTo>
                    <a:lnTo>
                      <a:pt x="246" y="294"/>
                    </a:lnTo>
                    <a:lnTo>
                      <a:pt x="246" y="288"/>
                    </a:lnTo>
                    <a:lnTo>
                      <a:pt x="240" y="288"/>
                    </a:lnTo>
                    <a:lnTo>
                      <a:pt x="240" y="282"/>
                    </a:lnTo>
                    <a:lnTo>
                      <a:pt x="234" y="282"/>
                    </a:lnTo>
                    <a:lnTo>
                      <a:pt x="234" y="276"/>
                    </a:lnTo>
                    <a:lnTo>
                      <a:pt x="240" y="276"/>
                    </a:lnTo>
                    <a:lnTo>
                      <a:pt x="240" y="270"/>
                    </a:lnTo>
                    <a:lnTo>
                      <a:pt x="240" y="264"/>
                    </a:lnTo>
                    <a:lnTo>
                      <a:pt x="234" y="264"/>
                    </a:lnTo>
                    <a:lnTo>
                      <a:pt x="234" y="258"/>
                    </a:lnTo>
                    <a:lnTo>
                      <a:pt x="240" y="258"/>
                    </a:lnTo>
                    <a:lnTo>
                      <a:pt x="246" y="258"/>
                    </a:lnTo>
                    <a:lnTo>
                      <a:pt x="240" y="258"/>
                    </a:lnTo>
                    <a:lnTo>
                      <a:pt x="240" y="252"/>
                    </a:lnTo>
                    <a:lnTo>
                      <a:pt x="234" y="252"/>
                    </a:lnTo>
                    <a:lnTo>
                      <a:pt x="234" y="246"/>
                    </a:lnTo>
                    <a:lnTo>
                      <a:pt x="234" y="240"/>
                    </a:lnTo>
                    <a:lnTo>
                      <a:pt x="234" y="234"/>
                    </a:lnTo>
                    <a:lnTo>
                      <a:pt x="240" y="240"/>
                    </a:lnTo>
                    <a:lnTo>
                      <a:pt x="240" y="234"/>
                    </a:lnTo>
                    <a:lnTo>
                      <a:pt x="246" y="234"/>
                    </a:lnTo>
                    <a:lnTo>
                      <a:pt x="246" y="228"/>
                    </a:lnTo>
                    <a:lnTo>
                      <a:pt x="246" y="222"/>
                    </a:lnTo>
                    <a:lnTo>
                      <a:pt x="246" y="228"/>
                    </a:lnTo>
                    <a:lnTo>
                      <a:pt x="246" y="222"/>
                    </a:lnTo>
                    <a:lnTo>
                      <a:pt x="246" y="228"/>
                    </a:lnTo>
                    <a:lnTo>
                      <a:pt x="246" y="222"/>
                    </a:lnTo>
                    <a:lnTo>
                      <a:pt x="252" y="222"/>
                    </a:lnTo>
                    <a:lnTo>
                      <a:pt x="246" y="222"/>
                    </a:lnTo>
                    <a:lnTo>
                      <a:pt x="252" y="222"/>
                    </a:lnTo>
                    <a:lnTo>
                      <a:pt x="252" y="216"/>
                    </a:lnTo>
                    <a:lnTo>
                      <a:pt x="258" y="216"/>
                    </a:lnTo>
                    <a:lnTo>
                      <a:pt x="258" y="222"/>
                    </a:lnTo>
                    <a:lnTo>
                      <a:pt x="264" y="222"/>
                    </a:lnTo>
                    <a:lnTo>
                      <a:pt x="270" y="222"/>
                    </a:lnTo>
                    <a:lnTo>
                      <a:pt x="270" y="216"/>
                    </a:lnTo>
                    <a:lnTo>
                      <a:pt x="264" y="216"/>
                    </a:lnTo>
                    <a:lnTo>
                      <a:pt x="264" y="210"/>
                    </a:lnTo>
                    <a:lnTo>
                      <a:pt x="264" y="204"/>
                    </a:lnTo>
                    <a:lnTo>
                      <a:pt x="270" y="204"/>
                    </a:lnTo>
                    <a:lnTo>
                      <a:pt x="270" y="198"/>
                    </a:lnTo>
                    <a:lnTo>
                      <a:pt x="264" y="198"/>
                    </a:lnTo>
                    <a:lnTo>
                      <a:pt x="264" y="192"/>
                    </a:lnTo>
                    <a:lnTo>
                      <a:pt x="252" y="186"/>
                    </a:lnTo>
                    <a:lnTo>
                      <a:pt x="246" y="186"/>
                    </a:lnTo>
                    <a:lnTo>
                      <a:pt x="252" y="186"/>
                    </a:lnTo>
                    <a:lnTo>
                      <a:pt x="252" y="180"/>
                    </a:lnTo>
                    <a:lnTo>
                      <a:pt x="246" y="180"/>
                    </a:lnTo>
                    <a:lnTo>
                      <a:pt x="246" y="174"/>
                    </a:lnTo>
                    <a:lnTo>
                      <a:pt x="240" y="174"/>
                    </a:lnTo>
                    <a:lnTo>
                      <a:pt x="240" y="168"/>
                    </a:lnTo>
                    <a:lnTo>
                      <a:pt x="240" y="162"/>
                    </a:lnTo>
                    <a:lnTo>
                      <a:pt x="240" y="156"/>
                    </a:lnTo>
                    <a:lnTo>
                      <a:pt x="246" y="156"/>
                    </a:lnTo>
                    <a:lnTo>
                      <a:pt x="246" y="150"/>
                    </a:lnTo>
                    <a:lnTo>
                      <a:pt x="252" y="150"/>
                    </a:lnTo>
                    <a:lnTo>
                      <a:pt x="258" y="150"/>
                    </a:lnTo>
                    <a:lnTo>
                      <a:pt x="258" y="144"/>
                    </a:lnTo>
                    <a:lnTo>
                      <a:pt x="252" y="144"/>
                    </a:lnTo>
                    <a:lnTo>
                      <a:pt x="252" y="138"/>
                    </a:lnTo>
                    <a:lnTo>
                      <a:pt x="258" y="138"/>
                    </a:lnTo>
                    <a:lnTo>
                      <a:pt x="258" y="132"/>
                    </a:lnTo>
                    <a:lnTo>
                      <a:pt x="258" y="138"/>
                    </a:lnTo>
                    <a:lnTo>
                      <a:pt x="258" y="132"/>
                    </a:lnTo>
                    <a:lnTo>
                      <a:pt x="264" y="132"/>
                    </a:lnTo>
                    <a:lnTo>
                      <a:pt x="264" y="126"/>
                    </a:lnTo>
                    <a:lnTo>
                      <a:pt x="270" y="126"/>
                    </a:lnTo>
                    <a:lnTo>
                      <a:pt x="270" y="120"/>
                    </a:lnTo>
                    <a:lnTo>
                      <a:pt x="276" y="120"/>
                    </a:lnTo>
                    <a:lnTo>
                      <a:pt x="276" y="126"/>
                    </a:lnTo>
                    <a:lnTo>
                      <a:pt x="276" y="120"/>
                    </a:lnTo>
                    <a:lnTo>
                      <a:pt x="276" y="126"/>
                    </a:lnTo>
                    <a:lnTo>
                      <a:pt x="276" y="120"/>
                    </a:lnTo>
                    <a:lnTo>
                      <a:pt x="282" y="120"/>
                    </a:lnTo>
                    <a:lnTo>
                      <a:pt x="276" y="120"/>
                    </a:lnTo>
                    <a:lnTo>
                      <a:pt x="282" y="120"/>
                    </a:lnTo>
                    <a:lnTo>
                      <a:pt x="282" y="114"/>
                    </a:lnTo>
                    <a:lnTo>
                      <a:pt x="288" y="114"/>
                    </a:lnTo>
                    <a:lnTo>
                      <a:pt x="294" y="108"/>
                    </a:lnTo>
                    <a:lnTo>
                      <a:pt x="294" y="102"/>
                    </a:lnTo>
                    <a:lnTo>
                      <a:pt x="288" y="102"/>
                    </a:lnTo>
                    <a:lnTo>
                      <a:pt x="288" y="96"/>
                    </a:lnTo>
                    <a:lnTo>
                      <a:pt x="282" y="96"/>
                    </a:lnTo>
                    <a:lnTo>
                      <a:pt x="282" y="90"/>
                    </a:lnTo>
                    <a:lnTo>
                      <a:pt x="282" y="84"/>
                    </a:lnTo>
                    <a:lnTo>
                      <a:pt x="276" y="84"/>
                    </a:lnTo>
                    <a:lnTo>
                      <a:pt x="276" y="78"/>
                    </a:lnTo>
                    <a:lnTo>
                      <a:pt x="282" y="78"/>
                    </a:lnTo>
                    <a:lnTo>
                      <a:pt x="282" y="72"/>
                    </a:lnTo>
                    <a:lnTo>
                      <a:pt x="282" y="66"/>
                    </a:lnTo>
                    <a:lnTo>
                      <a:pt x="282" y="60"/>
                    </a:lnTo>
                    <a:lnTo>
                      <a:pt x="282" y="54"/>
                    </a:lnTo>
                    <a:lnTo>
                      <a:pt x="282" y="48"/>
                    </a:lnTo>
                    <a:lnTo>
                      <a:pt x="282" y="42"/>
                    </a:lnTo>
                    <a:lnTo>
                      <a:pt x="276" y="42"/>
                    </a:lnTo>
                    <a:lnTo>
                      <a:pt x="282" y="42"/>
                    </a:lnTo>
                    <a:lnTo>
                      <a:pt x="282" y="36"/>
                    </a:lnTo>
                    <a:lnTo>
                      <a:pt x="276" y="36"/>
                    </a:lnTo>
                    <a:lnTo>
                      <a:pt x="276" y="30"/>
                    </a:lnTo>
                    <a:lnTo>
                      <a:pt x="270" y="30"/>
                    </a:lnTo>
                    <a:lnTo>
                      <a:pt x="270" y="24"/>
                    </a:lnTo>
                    <a:lnTo>
                      <a:pt x="264" y="24"/>
                    </a:lnTo>
                    <a:lnTo>
                      <a:pt x="264" y="18"/>
                    </a:lnTo>
                    <a:lnTo>
                      <a:pt x="264" y="12"/>
                    </a:lnTo>
                    <a:lnTo>
                      <a:pt x="258" y="12"/>
                    </a:lnTo>
                    <a:lnTo>
                      <a:pt x="264" y="12"/>
                    </a:lnTo>
                    <a:lnTo>
                      <a:pt x="264" y="6"/>
                    </a:lnTo>
                    <a:lnTo>
                      <a:pt x="264" y="0"/>
                    </a:lnTo>
                    <a:lnTo>
                      <a:pt x="270" y="0"/>
                    </a:lnTo>
                    <a:lnTo>
                      <a:pt x="270" y="6"/>
                    </a:lnTo>
                    <a:lnTo>
                      <a:pt x="270" y="12"/>
                    </a:lnTo>
                    <a:lnTo>
                      <a:pt x="276" y="12"/>
                    </a:lnTo>
                    <a:lnTo>
                      <a:pt x="282" y="12"/>
                    </a:lnTo>
                    <a:lnTo>
                      <a:pt x="288" y="12"/>
                    </a:lnTo>
                    <a:lnTo>
                      <a:pt x="294" y="12"/>
                    </a:lnTo>
                    <a:lnTo>
                      <a:pt x="300" y="12"/>
                    </a:lnTo>
                    <a:lnTo>
                      <a:pt x="306" y="12"/>
                    </a:lnTo>
                    <a:lnTo>
                      <a:pt x="306" y="18"/>
                    </a:lnTo>
                    <a:lnTo>
                      <a:pt x="306" y="12"/>
                    </a:lnTo>
                    <a:lnTo>
                      <a:pt x="306" y="18"/>
                    </a:lnTo>
                    <a:lnTo>
                      <a:pt x="312" y="18"/>
                    </a:lnTo>
                    <a:lnTo>
                      <a:pt x="318" y="18"/>
                    </a:lnTo>
                    <a:lnTo>
                      <a:pt x="318" y="12"/>
                    </a:lnTo>
                    <a:lnTo>
                      <a:pt x="324" y="12"/>
                    </a:lnTo>
                    <a:lnTo>
                      <a:pt x="324" y="6"/>
                    </a:lnTo>
                    <a:lnTo>
                      <a:pt x="330" y="6"/>
                    </a:lnTo>
                    <a:lnTo>
                      <a:pt x="330" y="0"/>
                    </a:lnTo>
                    <a:lnTo>
                      <a:pt x="330" y="6"/>
                    </a:lnTo>
                    <a:lnTo>
                      <a:pt x="330" y="0"/>
                    </a:lnTo>
                    <a:lnTo>
                      <a:pt x="336" y="0"/>
                    </a:lnTo>
                    <a:lnTo>
                      <a:pt x="336" y="6"/>
                    </a:lnTo>
                    <a:lnTo>
                      <a:pt x="342" y="6"/>
                    </a:lnTo>
                    <a:lnTo>
                      <a:pt x="348" y="6"/>
                    </a:lnTo>
                    <a:lnTo>
                      <a:pt x="348" y="12"/>
                    </a:lnTo>
                    <a:lnTo>
                      <a:pt x="348" y="6"/>
                    </a:lnTo>
                    <a:lnTo>
                      <a:pt x="354" y="6"/>
                    </a:lnTo>
                    <a:lnTo>
                      <a:pt x="360" y="6"/>
                    </a:lnTo>
                    <a:lnTo>
                      <a:pt x="360" y="12"/>
                    </a:lnTo>
                    <a:lnTo>
                      <a:pt x="366" y="12"/>
                    </a:lnTo>
                    <a:lnTo>
                      <a:pt x="366" y="18"/>
                    </a:lnTo>
                    <a:lnTo>
                      <a:pt x="366" y="24"/>
                    </a:lnTo>
                    <a:lnTo>
                      <a:pt x="366" y="30"/>
                    </a:lnTo>
                    <a:lnTo>
                      <a:pt x="366" y="36"/>
                    </a:lnTo>
                    <a:lnTo>
                      <a:pt x="366" y="30"/>
                    </a:lnTo>
                    <a:lnTo>
                      <a:pt x="372" y="30"/>
                    </a:lnTo>
                    <a:lnTo>
                      <a:pt x="378" y="30"/>
                    </a:lnTo>
                    <a:lnTo>
                      <a:pt x="378" y="36"/>
                    </a:lnTo>
                    <a:lnTo>
                      <a:pt x="372" y="36"/>
                    </a:lnTo>
                    <a:lnTo>
                      <a:pt x="378" y="36"/>
                    </a:lnTo>
                    <a:lnTo>
                      <a:pt x="384" y="36"/>
                    </a:lnTo>
                    <a:lnTo>
                      <a:pt x="384" y="42"/>
                    </a:lnTo>
                    <a:lnTo>
                      <a:pt x="390" y="42"/>
                    </a:lnTo>
                    <a:lnTo>
                      <a:pt x="384" y="42"/>
                    </a:lnTo>
                    <a:lnTo>
                      <a:pt x="390" y="42"/>
                    </a:lnTo>
                    <a:lnTo>
                      <a:pt x="390" y="48"/>
                    </a:lnTo>
                    <a:lnTo>
                      <a:pt x="396" y="48"/>
                    </a:lnTo>
                    <a:lnTo>
                      <a:pt x="396" y="54"/>
                    </a:lnTo>
                    <a:lnTo>
                      <a:pt x="402" y="54"/>
                    </a:lnTo>
                    <a:lnTo>
                      <a:pt x="408" y="54"/>
                    </a:lnTo>
                    <a:lnTo>
                      <a:pt x="408" y="48"/>
                    </a:lnTo>
                    <a:lnTo>
                      <a:pt x="408" y="54"/>
                    </a:lnTo>
                    <a:lnTo>
                      <a:pt x="414" y="54"/>
                    </a:lnTo>
                    <a:lnTo>
                      <a:pt x="414" y="48"/>
                    </a:lnTo>
                    <a:lnTo>
                      <a:pt x="420" y="48"/>
                    </a:lnTo>
                    <a:lnTo>
                      <a:pt x="426" y="48"/>
                    </a:lnTo>
                    <a:lnTo>
                      <a:pt x="432" y="48"/>
                    </a:lnTo>
                    <a:lnTo>
                      <a:pt x="438" y="48"/>
                    </a:lnTo>
                    <a:lnTo>
                      <a:pt x="438" y="54"/>
                    </a:lnTo>
                    <a:lnTo>
                      <a:pt x="444" y="54"/>
                    </a:lnTo>
                    <a:lnTo>
                      <a:pt x="450" y="54"/>
                    </a:lnTo>
                    <a:lnTo>
                      <a:pt x="456" y="54"/>
                    </a:lnTo>
                    <a:lnTo>
                      <a:pt x="456" y="60"/>
                    </a:lnTo>
                    <a:lnTo>
                      <a:pt x="462" y="60"/>
                    </a:lnTo>
                    <a:lnTo>
                      <a:pt x="456" y="60"/>
                    </a:lnTo>
                    <a:lnTo>
                      <a:pt x="456" y="66"/>
                    </a:lnTo>
                    <a:lnTo>
                      <a:pt x="462" y="66"/>
                    </a:lnTo>
                    <a:lnTo>
                      <a:pt x="462" y="60"/>
                    </a:lnTo>
                    <a:lnTo>
                      <a:pt x="468" y="60"/>
                    </a:lnTo>
                    <a:lnTo>
                      <a:pt x="468" y="66"/>
                    </a:lnTo>
                    <a:lnTo>
                      <a:pt x="474" y="66"/>
                    </a:lnTo>
                    <a:lnTo>
                      <a:pt x="480" y="66"/>
                    </a:lnTo>
                    <a:lnTo>
                      <a:pt x="486" y="66"/>
                    </a:lnTo>
                    <a:lnTo>
                      <a:pt x="486" y="72"/>
                    </a:lnTo>
                    <a:lnTo>
                      <a:pt x="486" y="78"/>
                    </a:lnTo>
                    <a:lnTo>
                      <a:pt x="486" y="84"/>
                    </a:lnTo>
                    <a:lnTo>
                      <a:pt x="486" y="90"/>
                    </a:lnTo>
                    <a:lnTo>
                      <a:pt x="486" y="96"/>
                    </a:lnTo>
                    <a:lnTo>
                      <a:pt x="486" y="102"/>
                    </a:lnTo>
                    <a:lnTo>
                      <a:pt x="480" y="102"/>
                    </a:lnTo>
                    <a:lnTo>
                      <a:pt x="480" y="108"/>
                    </a:lnTo>
                    <a:lnTo>
                      <a:pt x="486" y="108"/>
                    </a:lnTo>
                    <a:lnTo>
                      <a:pt x="480" y="108"/>
                    </a:lnTo>
                    <a:lnTo>
                      <a:pt x="480" y="114"/>
                    </a:lnTo>
                    <a:lnTo>
                      <a:pt x="474" y="114"/>
                    </a:lnTo>
                    <a:lnTo>
                      <a:pt x="468" y="120"/>
                    </a:lnTo>
                    <a:lnTo>
                      <a:pt x="474" y="120"/>
                    </a:lnTo>
                    <a:lnTo>
                      <a:pt x="468" y="120"/>
                    </a:lnTo>
                    <a:lnTo>
                      <a:pt x="468" y="126"/>
                    </a:lnTo>
                    <a:lnTo>
                      <a:pt x="468" y="132"/>
                    </a:lnTo>
                    <a:lnTo>
                      <a:pt x="462" y="132"/>
                    </a:lnTo>
                    <a:lnTo>
                      <a:pt x="468" y="132"/>
                    </a:lnTo>
                    <a:lnTo>
                      <a:pt x="468" y="138"/>
                    </a:lnTo>
                    <a:lnTo>
                      <a:pt x="462" y="138"/>
                    </a:lnTo>
                    <a:lnTo>
                      <a:pt x="462" y="132"/>
                    </a:lnTo>
                    <a:lnTo>
                      <a:pt x="456" y="132"/>
                    </a:lnTo>
                    <a:lnTo>
                      <a:pt x="456" y="138"/>
                    </a:lnTo>
                    <a:lnTo>
                      <a:pt x="456" y="132"/>
                    </a:lnTo>
                    <a:lnTo>
                      <a:pt x="456" y="138"/>
                    </a:lnTo>
                    <a:lnTo>
                      <a:pt x="462" y="138"/>
                    </a:lnTo>
                    <a:lnTo>
                      <a:pt x="456" y="138"/>
                    </a:lnTo>
                    <a:lnTo>
                      <a:pt x="450" y="138"/>
                    </a:lnTo>
                    <a:lnTo>
                      <a:pt x="456" y="138"/>
                    </a:lnTo>
                    <a:lnTo>
                      <a:pt x="450" y="138"/>
                    </a:lnTo>
                    <a:lnTo>
                      <a:pt x="450" y="144"/>
                    </a:lnTo>
                    <a:lnTo>
                      <a:pt x="456" y="144"/>
                    </a:lnTo>
                    <a:lnTo>
                      <a:pt x="450" y="150"/>
                    </a:lnTo>
                    <a:lnTo>
                      <a:pt x="456" y="150"/>
                    </a:lnTo>
                    <a:lnTo>
                      <a:pt x="456" y="144"/>
                    </a:lnTo>
                    <a:lnTo>
                      <a:pt x="456" y="150"/>
                    </a:lnTo>
                    <a:lnTo>
                      <a:pt x="456" y="156"/>
                    </a:lnTo>
                    <a:lnTo>
                      <a:pt x="456" y="150"/>
                    </a:lnTo>
                    <a:lnTo>
                      <a:pt x="456" y="156"/>
                    </a:lnTo>
                    <a:lnTo>
                      <a:pt x="450" y="156"/>
                    </a:lnTo>
                    <a:lnTo>
                      <a:pt x="450" y="162"/>
                    </a:lnTo>
                    <a:lnTo>
                      <a:pt x="450" y="168"/>
                    </a:lnTo>
                    <a:lnTo>
                      <a:pt x="444" y="168"/>
                    </a:lnTo>
                    <a:lnTo>
                      <a:pt x="444" y="162"/>
                    </a:lnTo>
                    <a:lnTo>
                      <a:pt x="438" y="162"/>
                    </a:lnTo>
                    <a:lnTo>
                      <a:pt x="432" y="162"/>
                    </a:lnTo>
                    <a:lnTo>
                      <a:pt x="432" y="156"/>
                    </a:lnTo>
                    <a:lnTo>
                      <a:pt x="426" y="156"/>
                    </a:lnTo>
                    <a:lnTo>
                      <a:pt x="426" y="162"/>
                    </a:lnTo>
                    <a:lnTo>
                      <a:pt x="420" y="162"/>
                    </a:lnTo>
                    <a:lnTo>
                      <a:pt x="420" y="156"/>
                    </a:lnTo>
                    <a:lnTo>
                      <a:pt x="414" y="156"/>
                    </a:lnTo>
                    <a:lnTo>
                      <a:pt x="414" y="150"/>
                    </a:lnTo>
                    <a:lnTo>
                      <a:pt x="408" y="150"/>
                    </a:lnTo>
                    <a:lnTo>
                      <a:pt x="414" y="150"/>
                    </a:lnTo>
                    <a:lnTo>
                      <a:pt x="408" y="150"/>
                    </a:lnTo>
                    <a:lnTo>
                      <a:pt x="408" y="144"/>
                    </a:lnTo>
                    <a:lnTo>
                      <a:pt x="402" y="144"/>
                    </a:lnTo>
                    <a:lnTo>
                      <a:pt x="402" y="138"/>
                    </a:lnTo>
                    <a:lnTo>
                      <a:pt x="396" y="138"/>
                    </a:lnTo>
                    <a:lnTo>
                      <a:pt x="396" y="132"/>
                    </a:lnTo>
                    <a:lnTo>
                      <a:pt x="396" y="126"/>
                    </a:lnTo>
                    <a:lnTo>
                      <a:pt x="390" y="126"/>
                    </a:lnTo>
                    <a:lnTo>
                      <a:pt x="396" y="120"/>
                    </a:lnTo>
                    <a:lnTo>
                      <a:pt x="390" y="120"/>
                    </a:lnTo>
                    <a:lnTo>
                      <a:pt x="396" y="120"/>
                    </a:lnTo>
                    <a:lnTo>
                      <a:pt x="390" y="120"/>
                    </a:lnTo>
                    <a:lnTo>
                      <a:pt x="390" y="114"/>
                    </a:lnTo>
                    <a:lnTo>
                      <a:pt x="390" y="120"/>
                    </a:lnTo>
                    <a:lnTo>
                      <a:pt x="390" y="114"/>
                    </a:lnTo>
                    <a:lnTo>
                      <a:pt x="390" y="108"/>
                    </a:lnTo>
                    <a:lnTo>
                      <a:pt x="384" y="108"/>
                    </a:lnTo>
                    <a:lnTo>
                      <a:pt x="384" y="102"/>
                    </a:lnTo>
                    <a:lnTo>
                      <a:pt x="378" y="102"/>
                    </a:lnTo>
                    <a:lnTo>
                      <a:pt x="378" y="108"/>
                    </a:lnTo>
                    <a:lnTo>
                      <a:pt x="378" y="102"/>
                    </a:lnTo>
                    <a:lnTo>
                      <a:pt x="372" y="102"/>
                    </a:lnTo>
                    <a:lnTo>
                      <a:pt x="372" y="108"/>
                    </a:lnTo>
                    <a:lnTo>
                      <a:pt x="372" y="114"/>
                    </a:lnTo>
                    <a:lnTo>
                      <a:pt x="378" y="114"/>
                    </a:lnTo>
                    <a:lnTo>
                      <a:pt x="384" y="114"/>
                    </a:lnTo>
                    <a:lnTo>
                      <a:pt x="384" y="120"/>
                    </a:lnTo>
                    <a:lnTo>
                      <a:pt x="378" y="120"/>
                    </a:lnTo>
                    <a:lnTo>
                      <a:pt x="384" y="120"/>
                    </a:lnTo>
                    <a:lnTo>
                      <a:pt x="384" y="126"/>
                    </a:lnTo>
                    <a:lnTo>
                      <a:pt x="384" y="120"/>
                    </a:lnTo>
                    <a:lnTo>
                      <a:pt x="384" y="126"/>
                    </a:lnTo>
                    <a:lnTo>
                      <a:pt x="390" y="126"/>
                    </a:lnTo>
                    <a:lnTo>
                      <a:pt x="384" y="126"/>
                    </a:lnTo>
                    <a:lnTo>
                      <a:pt x="384" y="132"/>
                    </a:lnTo>
                    <a:lnTo>
                      <a:pt x="378" y="132"/>
                    </a:lnTo>
                    <a:lnTo>
                      <a:pt x="378" y="126"/>
                    </a:lnTo>
                    <a:lnTo>
                      <a:pt x="378" y="132"/>
                    </a:lnTo>
                    <a:lnTo>
                      <a:pt x="378" y="126"/>
                    </a:lnTo>
                    <a:lnTo>
                      <a:pt x="372" y="126"/>
                    </a:lnTo>
                    <a:lnTo>
                      <a:pt x="372" y="120"/>
                    </a:lnTo>
                    <a:lnTo>
                      <a:pt x="366" y="120"/>
                    </a:lnTo>
                    <a:lnTo>
                      <a:pt x="366" y="126"/>
                    </a:lnTo>
                    <a:lnTo>
                      <a:pt x="366" y="132"/>
                    </a:lnTo>
                    <a:lnTo>
                      <a:pt x="360" y="132"/>
                    </a:lnTo>
                    <a:lnTo>
                      <a:pt x="360" y="126"/>
                    </a:lnTo>
                    <a:lnTo>
                      <a:pt x="360" y="120"/>
                    </a:lnTo>
                    <a:lnTo>
                      <a:pt x="354" y="120"/>
                    </a:lnTo>
                    <a:lnTo>
                      <a:pt x="348" y="120"/>
                    </a:lnTo>
                    <a:lnTo>
                      <a:pt x="348" y="126"/>
                    </a:lnTo>
                    <a:lnTo>
                      <a:pt x="342" y="126"/>
                    </a:lnTo>
                    <a:lnTo>
                      <a:pt x="342" y="120"/>
                    </a:lnTo>
                    <a:lnTo>
                      <a:pt x="348" y="120"/>
                    </a:lnTo>
                    <a:lnTo>
                      <a:pt x="348" y="114"/>
                    </a:lnTo>
                    <a:lnTo>
                      <a:pt x="342" y="114"/>
                    </a:lnTo>
                    <a:lnTo>
                      <a:pt x="342" y="108"/>
                    </a:lnTo>
                    <a:lnTo>
                      <a:pt x="336" y="108"/>
                    </a:lnTo>
                    <a:lnTo>
                      <a:pt x="342" y="108"/>
                    </a:lnTo>
                    <a:lnTo>
                      <a:pt x="342" y="102"/>
                    </a:lnTo>
                    <a:lnTo>
                      <a:pt x="336" y="102"/>
                    </a:lnTo>
                    <a:lnTo>
                      <a:pt x="336" y="96"/>
                    </a:lnTo>
                    <a:lnTo>
                      <a:pt x="330" y="96"/>
                    </a:lnTo>
                    <a:lnTo>
                      <a:pt x="330" y="102"/>
                    </a:lnTo>
                    <a:lnTo>
                      <a:pt x="330" y="96"/>
                    </a:lnTo>
                    <a:lnTo>
                      <a:pt x="324" y="96"/>
                    </a:lnTo>
                    <a:lnTo>
                      <a:pt x="318" y="96"/>
                    </a:lnTo>
                    <a:lnTo>
                      <a:pt x="318" y="90"/>
                    </a:lnTo>
                    <a:lnTo>
                      <a:pt x="312" y="90"/>
                    </a:lnTo>
                    <a:lnTo>
                      <a:pt x="312" y="84"/>
                    </a:lnTo>
                    <a:lnTo>
                      <a:pt x="312" y="78"/>
                    </a:lnTo>
                    <a:lnTo>
                      <a:pt x="306" y="78"/>
                    </a:lnTo>
                    <a:lnTo>
                      <a:pt x="306" y="84"/>
                    </a:lnTo>
                    <a:lnTo>
                      <a:pt x="306" y="90"/>
                    </a:lnTo>
                    <a:lnTo>
                      <a:pt x="306" y="96"/>
                    </a:lnTo>
                    <a:lnTo>
                      <a:pt x="300" y="96"/>
                    </a:lnTo>
                    <a:lnTo>
                      <a:pt x="306" y="102"/>
                    </a:lnTo>
                    <a:lnTo>
                      <a:pt x="306" y="96"/>
                    </a:lnTo>
                    <a:lnTo>
                      <a:pt x="312" y="96"/>
                    </a:lnTo>
                    <a:lnTo>
                      <a:pt x="312" y="102"/>
                    </a:lnTo>
                    <a:lnTo>
                      <a:pt x="312" y="96"/>
                    </a:lnTo>
                    <a:lnTo>
                      <a:pt x="312" y="102"/>
                    </a:lnTo>
                    <a:lnTo>
                      <a:pt x="318" y="102"/>
                    </a:lnTo>
                    <a:lnTo>
                      <a:pt x="324" y="102"/>
                    </a:lnTo>
                    <a:lnTo>
                      <a:pt x="318" y="102"/>
                    </a:lnTo>
                    <a:lnTo>
                      <a:pt x="324" y="102"/>
                    </a:lnTo>
                    <a:lnTo>
                      <a:pt x="324" y="108"/>
                    </a:lnTo>
                    <a:lnTo>
                      <a:pt x="318" y="108"/>
                    </a:lnTo>
                    <a:lnTo>
                      <a:pt x="324" y="108"/>
                    </a:lnTo>
                    <a:lnTo>
                      <a:pt x="318" y="108"/>
                    </a:lnTo>
                    <a:lnTo>
                      <a:pt x="324" y="108"/>
                    </a:lnTo>
                    <a:lnTo>
                      <a:pt x="324" y="114"/>
                    </a:lnTo>
                    <a:lnTo>
                      <a:pt x="318" y="114"/>
                    </a:lnTo>
                    <a:lnTo>
                      <a:pt x="312" y="114"/>
                    </a:lnTo>
                    <a:lnTo>
                      <a:pt x="312" y="120"/>
                    </a:lnTo>
                    <a:lnTo>
                      <a:pt x="306" y="120"/>
                    </a:lnTo>
                    <a:lnTo>
                      <a:pt x="306" y="126"/>
                    </a:lnTo>
                    <a:lnTo>
                      <a:pt x="306" y="132"/>
                    </a:lnTo>
                    <a:lnTo>
                      <a:pt x="300" y="132"/>
                    </a:lnTo>
                    <a:lnTo>
                      <a:pt x="300" y="138"/>
                    </a:lnTo>
                    <a:lnTo>
                      <a:pt x="300" y="132"/>
                    </a:lnTo>
                    <a:lnTo>
                      <a:pt x="294" y="132"/>
                    </a:lnTo>
                    <a:lnTo>
                      <a:pt x="294" y="138"/>
                    </a:lnTo>
                    <a:lnTo>
                      <a:pt x="294" y="132"/>
                    </a:lnTo>
                    <a:lnTo>
                      <a:pt x="294" y="138"/>
                    </a:lnTo>
                    <a:lnTo>
                      <a:pt x="294" y="132"/>
                    </a:lnTo>
                    <a:lnTo>
                      <a:pt x="294" y="138"/>
                    </a:lnTo>
                    <a:lnTo>
                      <a:pt x="288" y="138"/>
                    </a:lnTo>
                    <a:lnTo>
                      <a:pt x="282" y="138"/>
                    </a:lnTo>
                    <a:lnTo>
                      <a:pt x="282" y="144"/>
                    </a:lnTo>
                    <a:lnTo>
                      <a:pt x="282" y="138"/>
                    </a:lnTo>
                    <a:lnTo>
                      <a:pt x="282" y="144"/>
                    </a:lnTo>
                    <a:lnTo>
                      <a:pt x="282" y="150"/>
                    </a:lnTo>
                    <a:lnTo>
                      <a:pt x="282" y="156"/>
                    </a:lnTo>
                    <a:lnTo>
                      <a:pt x="282" y="162"/>
                    </a:lnTo>
                    <a:lnTo>
                      <a:pt x="282" y="156"/>
                    </a:lnTo>
                    <a:lnTo>
                      <a:pt x="282" y="162"/>
                    </a:lnTo>
                    <a:lnTo>
                      <a:pt x="276" y="162"/>
                    </a:lnTo>
                    <a:lnTo>
                      <a:pt x="282" y="162"/>
                    </a:lnTo>
                    <a:lnTo>
                      <a:pt x="276" y="162"/>
                    </a:lnTo>
                    <a:lnTo>
                      <a:pt x="276" y="168"/>
                    </a:lnTo>
                    <a:lnTo>
                      <a:pt x="276" y="174"/>
                    </a:lnTo>
                    <a:lnTo>
                      <a:pt x="276" y="168"/>
                    </a:lnTo>
                    <a:lnTo>
                      <a:pt x="270" y="168"/>
                    </a:lnTo>
                    <a:lnTo>
                      <a:pt x="270" y="174"/>
                    </a:lnTo>
                    <a:lnTo>
                      <a:pt x="276" y="174"/>
                    </a:lnTo>
                    <a:lnTo>
                      <a:pt x="276" y="180"/>
                    </a:lnTo>
                    <a:lnTo>
                      <a:pt x="276" y="186"/>
                    </a:lnTo>
                    <a:lnTo>
                      <a:pt x="276" y="192"/>
                    </a:lnTo>
                    <a:lnTo>
                      <a:pt x="282" y="192"/>
                    </a:lnTo>
                    <a:lnTo>
                      <a:pt x="282" y="186"/>
                    </a:lnTo>
                    <a:lnTo>
                      <a:pt x="288" y="186"/>
                    </a:lnTo>
                    <a:lnTo>
                      <a:pt x="294" y="186"/>
                    </a:lnTo>
                    <a:lnTo>
                      <a:pt x="294" y="192"/>
                    </a:lnTo>
                    <a:lnTo>
                      <a:pt x="300" y="192"/>
                    </a:lnTo>
                    <a:lnTo>
                      <a:pt x="300" y="198"/>
                    </a:lnTo>
                    <a:lnTo>
                      <a:pt x="300" y="192"/>
                    </a:lnTo>
                    <a:lnTo>
                      <a:pt x="300" y="198"/>
                    </a:lnTo>
                    <a:lnTo>
                      <a:pt x="306" y="198"/>
                    </a:lnTo>
                    <a:lnTo>
                      <a:pt x="306" y="204"/>
                    </a:lnTo>
                    <a:lnTo>
                      <a:pt x="312" y="204"/>
                    </a:lnTo>
                    <a:lnTo>
                      <a:pt x="318" y="204"/>
                    </a:lnTo>
                    <a:lnTo>
                      <a:pt x="318" y="210"/>
                    </a:lnTo>
                    <a:lnTo>
                      <a:pt x="318" y="216"/>
                    </a:lnTo>
                    <a:lnTo>
                      <a:pt x="324" y="216"/>
                    </a:lnTo>
                    <a:lnTo>
                      <a:pt x="318" y="216"/>
                    </a:lnTo>
                    <a:lnTo>
                      <a:pt x="318" y="222"/>
                    </a:lnTo>
                    <a:lnTo>
                      <a:pt x="324" y="222"/>
                    </a:lnTo>
                    <a:lnTo>
                      <a:pt x="324" y="228"/>
                    </a:lnTo>
                    <a:lnTo>
                      <a:pt x="330" y="228"/>
                    </a:lnTo>
                    <a:lnTo>
                      <a:pt x="336" y="228"/>
                    </a:lnTo>
                    <a:lnTo>
                      <a:pt x="342" y="228"/>
                    </a:lnTo>
                    <a:lnTo>
                      <a:pt x="342" y="234"/>
                    </a:lnTo>
                    <a:lnTo>
                      <a:pt x="348" y="234"/>
                    </a:lnTo>
                    <a:lnTo>
                      <a:pt x="348" y="228"/>
                    </a:lnTo>
                    <a:lnTo>
                      <a:pt x="354" y="228"/>
                    </a:lnTo>
                    <a:lnTo>
                      <a:pt x="354" y="222"/>
                    </a:lnTo>
                    <a:lnTo>
                      <a:pt x="354" y="228"/>
                    </a:lnTo>
                    <a:lnTo>
                      <a:pt x="354" y="222"/>
                    </a:lnTo>
                    <a:lnTo>
                      <a:pt x="360" y="222"/>
                    </a:lnTo>
                    <a:lnTo>
                      <a:pt x="360" y="228"/>
                    </a:lnTo>
                    <a:lnTo>
                      <a:pt x="360" y="234"/>
                    </a:lnTo>
                    <a:lnTo>
                      <a:pt x="360" y="240"/>
                    </a:lnTo>
                    <a:lnTo>
                      <a:pt x="360" y="246"/>
                    </a:lnTo>
                    <a:lnTo>
                      <a:pt x="366" y="246"/>
                    </a:lnTo>
                    <a:lnTo>
                      <a:pt x="366" y="252"/>
                    </a:lnTo>
                    <a:lnTo>
                      <a:pt x="366" y="246"/>
                    </a:lnTo>
                    <a:lnTo>
                      <a:pt x="372" y="246"/>
                    </a:lnTo>
                    <a:lnTo>
                      <a:pt x="372" y="252"/>
                    </a:lnTo>
                    <a:lnTo>
                      <a:pt x="378" y="252"/>
                    </a:lnTo>
                    <a:lnTo>
                      <a:pt x="384" y="252"/>
                    </a:lnTo>
                    <a:lnTo>
                      <a:pt x="384" y="258"/>
                    </a:lnTo>
                    <a:lnTo>
                      <a:pt x="378" y="258"/>
                    </a:lnTo>
                    <a:lnTo>
                      <a:pt x="378" y="264"/>
                    </a:lnTo>
                    <a:lnTo>
                      <a:pt x="372" y="264"/>
                    </a:lnTo>
                    <a:lnTo>
                      <a:pt x="372" y="270"/>
                    </a:lnTo>
                    <a:lnTo>
                      <a:pt x="378" y="270"/>
                    </a:lnTo>
                    <a:lnTo>
                      <a:pt x="372" y="270"/>
                    </a:lnTo>
                    <a:lnTo>
                      <a:pt x="366" y="270"/>
                    </a:lnTo>
                    <a:lnTo>
                      <a:pt x="366" y="264"/>
                    </a:lnTo>
                    <a:lnTo>
                      <a:pt x="360" y="264"/>
                    </a:lnTo>
                    <a:lnTo>
                      <a:pt x="360" y="270"/>
                    </a:lnTo>
                    <a:lnTo>
                      <a:pt x="354" y="270"/>
                    </a:lnTo>
                    <a:lnTo>
                      <a:pt x="348" y="270"/>
                    </a:lnTo>
                    <a:lnTo>
                      <a:pt x="348" y="264"/>
                    </a:lnTo>
                    <a:lnTo>
                      <a:pt x="342" y="264"/>
                    </a:lnTo>
                    <a:lnTo>
                      <a:pt x="336" y="264"/>
                    </a:lnTo>
                    <a:lnTo>
                      <a:pt x="336" y="270"/>
                    </a:lnTo>
                    <a:lnTo>
                      <a:pt x="330" y="270"/>
                    </a:lnTo>
                    <a:lnTo>
                      <a:pt x="324" y="270"/>
                    </a:lnTo>
                    <a:lnTo>
                      <a:pt x="324" y="264"/>
                    </a:lnTo>
                    <a:lnTo>
                      <a:pt x="318" y="264"/>
                    </a:lnTo>
                    <a:lnTo>
                      <a:pt x="318" y="270"/>
                    </a:lnTo>
                    <a:lnTo>
                      <a:pt x="312" y="270"/>
                    </a:lnTo>
                    <a:lnTo>
                      <a:pt x="318" y="270"/>
                    </a:lnTo>
                    <a:lnTo>
                      <a:pt x="318" y="276"/>
                    </a:lnTo>
                    <a:lnTo>
                      <a:pt x="312" y="276"/>
                    </a:lnTo>
                    <a:lnTo>
                      <a:pt x="312" y="282"/>
                    </a:lnTo>
                    <a:lnTo>
                      <a:pt x="318" y="282"/>
                    </a:lnTo>
                    <a:lnTo>
                      <a:pt x="312" y="282"/>
                    </a:lnTo>
                    <a:lnTo>
                      <a:pt x="318" y="282"/>
                    </a:lnTo>
                    <a:lnTo>
                      <a:pt x="318" y="288"/>
                    </a:lnTo>
                    <a:lnTo>
                      <a:pt x="312" y="288"/>
                    </a:lnTo>
                    <a:lnTo>
                      <a:pt x="312" y="294"/>
                    </a:lnTo>
                    <a:lnTo>
                      <a:pt x="306" y="300"/>
                    </a:lnTo>
                    <a:lnTo>
                      <a:pt x="300" y="300"/>
                    </a:lnTo>
                    <a:lnTo>
                      <a:pt x="300" y="306"/>
                    </a:lnTo>
                    <a:lnTo>
                      <a:pt x="306" y="306"/>
                    </a:lnTo>
                    <a:lnTo>
                      <a:pt x="300" y="306"/>
                    </a:lnTo>
                    <a:lnTo>
                      <a:pt x="300" y="312"/>
                    </a:lnTo>
                    <a:lnTo>
                      <a:pt x="294" y="312"/>
                    </a:lnTo>
                    <a:lnTo>
                      <a:pt x="294" y="306"/>
                    </a:lnTo>
                    <a:lnTo>
                      <a:pt x="294" y="312"/>
                    </a:lnTo>
                    <a:lnTo>
                      <a:pt x="294" y="306"/>
                    </a:lnTo>
                    <a:lnTo>
                      <a:pt x="294" y="300"/>
                    </a:lnTo>
                    <a:lnTo>
                      <a:pt x="288" y="300"/>
                    </a:lnTo>
                    <a:lnTo>
                      <a:pt x="282" y="300"/>
                    </a:lnTo>
                    <a:lnTo>
                      <a:pt x="282" y="306"/>
                    </a:lnTo>
                    <a:lnTo>
                      <a:pt x="276" y="306"/>
                    </a:lnTo>
                    <a:lnTo>
                      <a:pt x="282" y="306"/>
                    </a:lnTo>
                    <a:lnTo>
                      <a:pt x="282" y="312"/>
                    </a:lnTo>
                    <a:lnTo>
                      <a:pt x="276" y="312"/>
                    </a:lnTo>
                    <a:lnTo>
                      <a:pt x="276" y="318"/>
                    </a:lnTo>
                    <a:lnTo>
                      <a:pt x="276" y="324"/>
                    </a:lnTo>
                    <a:lnTo>
                      <a:pt x="270" y="324"/>
                    </a:lnTo>
                    <a:lnTo>
                      <a:pt x="270" y="330"/>
                    </a:lnTo>
                    <a:lnTo>
                      <a:pt x="264" y="336"/>
                    </a:lnTo>
                    <a:lnTo>
                      <a:pt x="264" y="342"/>
                    </a:lnTo>
                    <a:lnTo>
                      <a:pt x="270" y="348"/>
                    </a:lnTo>
                    <a:lnTo>
                      <a:pt x="270" y="354"/>
                    </a:lnTo>
                    <a:lnTo>
                      <a:pt x="270" y="360"/>
                    </a:lnTo>
                    <a:lnTo>
                      <a:pt x="270" y="354"/>
                    </a:lnTo>
                    <a:lnTo>
                      <a:pt x="276" y="354"/>
                    </a:lnTo>
                    <a:lnTo>
                      <a:pt x="276" y="360"/>
                    </a:lnTo>
                    <a:lnTo>
                      <a:pt x="282" y="360"/>
                    </a:lnTo>
                    <a:lnTo>
                      <a:pt x="282" y="366"/>
                    </a:lnTo>
                    <a:lnTo>
                      <a:pt x="288" y="366"/>
                    </a:lnTo>
                    <a:lnTo>
                      <a:pt x="294" y="366"/>
                    </a:lnTo>
                    <a:lnTo>
                      <a:pt x="294" y="372"/>
                    </a:lnTo>
                    <a:lnTo>
                      <a:pt x="300" y="372"/>
                    </a:lnTo>
                    <a:lnTo>
                      <a:pt x="306" y="372"/>
                    </a:lnTo>
                    <a:lnTo>
                      <a:pt x="306" y="378"/>
                    </a:lnTo>
                    <a:lnTo>
                      <a:pt x="312" y="378"/>
                    </a:lnTo>
                    <a:lnTo>
                      <a:pt x="312" y="372"/>
                    </a:lnTo>
                    <a:lnTo>
                      <a:pt x="318" y="372"/>
                    </a:lnTo>
                    <a:lnTo>
                      <a:pt x="318" y="378"/>
                    </a:lnTo>
                    <a:lnTo>
                      <a:pt x="324" y="378"/>
                    </a:lnTo>
                    <a:lnTo>
                      <a:pt x="324" y="384"/>
                    </a:lnTo>
                    <a:lnTo>
                      <a:pt x="330" y="384"/>
                    </a:lnTo>
                    <a:lnTo>
                      <a:pt x="330" y="390"/>
                    </a:lnTo>
                    <a:lnTo>
                      <a:pt x="336" y="390"/>
                    </a:lnTo>
                    <a:lnTo>
                      <a:pt x="336" y="384"/>
                    </a:lnTo>
                    <a:lnTo>
                      <a:pt x="342" y="384"/>
                    </a:lnTo>
                    <a:lnTo>
                      <a:pt x="348" y="384"/>
                    </a:lnTo>
                    <a:lnTo>
                      <a:pt x="348" y="390"/>
                    </a:lnTo>
                    <a:lnTo>
                      <a:pt x="348" y="396"/>
                    </a:lnTo>
                    <a:lnTo>
                      <a:pt x="348" y="402"/>
                    </a:lnTo>
                    <a:lnTo>
                      <a:pt x="342" y="408"/>
                    </a:lnTo>
                    <a:lnTo>
                      <a:pt x="348" y="408"/>
                    </a:lnTo>
                    <a:lnTo>
                      <a:pt x="342" y="408"/>
                    </a:lnTo>
                    <a:lnTo>
                      <a:pt x="348" y="408"/>
                    </a:lnTo>
                    <a:lnTo>
                      <a:pt x="348" y="414"/>
                    </a:lnTo>
                    <a:lnTo>
                      <a:pt x="348" y="420"/>
                    </a:lnTo>
                    <a:lnTo>
                      <a:pt x="354" y="420"/>
                    </a:lnTo>
                    <a:lnTo>
                      <a:pt x="348" y="420"/>
                    </a:lnTo>
                    <a:lnTo>
                      <a:pt x="348" y="426"/>
                    </a:lnTo>
                    <a:lnTo>
                      <a:pt x="354" y="426"/>
                    </a:lnTo>
                    <a:lnTo>
                      <a:pt x="348" y="426"/>
                    </a:lnTo>
                    <a:lnTo>
                      <a:pt x="348" y="432"/>
                    </a:lnTo>
                    <a:lnTo>
                      <a:pt x="348" y="438"/>
                    </a:lnTo>
                    <a:lnTo>
                      <a:pt x="342" y="438"/>
                    </a:lnTo>
                    <a:lnTo>
                      <a:pt x="342" y="444"/>
                    </a:lnTo>
                    <a:lnTo>
                      <a:pt x="336" y="444"/>
                    </a:lnTo>
                    <a:lnTo>
                      <a:pt x="330" y="444"/>
                    </a:lnTo>
                    <a:lnTo>
                      <a:pt x="330" y="438"/>
                    </a:lnTo>
                    <a:lnTo>
                      <a:pt x="330" y="444"/>
                    </a:lnTo>
                    <a:lnTo>
                      <a:pt x="330" y="450"/>
                    </a:lnTo>
                    <a:lnTo>
                      <a:pt x="336" y="450"/>
                    </a:lnTo>
                    <a:lnTo>
                      <a:pt x="330" y="450"/>
                    </a:lnTo>
                    <a:lnTo>
                      <a:pt x="330" y="456"/>
                    </a:lnTo>
                    <a:lnTo>
                      <a:pt x="330" y="450"/>
                    </a:lnTo>
                    <a:lnTo>
                      <a:pt x="330" y="456"/>
                    </a:lnTo>
                    <a:lnTo>
                      <a:pt x="330" y="462"/>
                    </a:lnTo>
                    <a:lnTo>
                      <a:pt x="330" y="468"/>
                    </a:lnTo>
                    <a:lnTo>
                      <a:pt x="330" y="474"/>
                    </a:lnTo>
                    <a:lnTo>
                      <a:pt x="336" y="474"/>
                    </a:lnTo>
                    <a:lnTo>
                      <a:pt x="336" y="480"/>
                    </a:lnTo>
                    <a:lnTo>
                      <a:pt x="336" y="474"/>
                    </a:lnTo>
                    <a:lnTo>
                      <a:pt x="336" y="480"/>
                    </a:lnTo>
                    <a:lnTo>
                      <a:pt x="336" y="474"/>
                    </a:lnTo>
                    <a:lnTo>
                      <a:pt x="342" y="474"/>
                    </a:lnTo>
                    <a:lnTo>
                      <a:pt x="342" y="480"/>
                    </a:lnTo>
                    <a:lnTo>
                      <a:pt x="342" y="486"/>
                    </a:lnTo>
                    <a:lnTo>
                      <a:pt x="348" y="486"/>
                    </a:lnTo>
                    <a:lnTo>
                      <a:pt x="348" y="492"/>
                    </a:lnTo>
                    <a:lnTo>
                      <a:pt x="348" y="486"/>
                    </a:lnTo>
                    <a:lnTo>
                      <a:pt x="348" y="492"/>
                    </a:lnTo>
                    <a:lnTo>
                      <a:pt x="354" y="492"/>
                    </a:lnTo>
                    <a:lnTo>
                      <a:pt x="360" y="492"/>
                    </a:lnTo>
                    <a:lnTo>
                      <a:pt x="354" y="492"/>
                    </a:lnTo>
                    <a:lnTo>
                      <a:pt x="354" y="498"/>
                    </a:lnTo>
                    <a:lnTo>
                      <a:pt x="360" y="498"/>
                    </a:lnTo>
                    <a:lnTo>
                      <a:pt x="354" y="498"/>
                    </a:lnTo>
                    <a:lnTo>
                      <a:pt x="354" y="504"/>
                    </a:lnTo>
                    <a:lnTo>
                      <a:pt x="354" y="510"/>
                    </a:lnTo>
                    <a:lnTo>
                      <a:pt x="348" y="510"/>
                    </a:lnTo>
                    <a:lnTo>
                      <a:pt x="354" y="510"/>
                    </a:lnTo>
                    <a:lnTo>
                      <a:pt x="348" y="510"/>
                    </a:lnTo>
                    <a:lnTo>
                      <a:pt x="348" y="516"/>
                    </a:lnTo>
                    <a:lnTo>
                      <a:pt x="354" y="516"/>
                    </a:lnTo>
                    <a:lnTo>
                      <a:pt x="348" y="516"/>
                    </a:lnTo>
                    <a:lnTo>
                      <a:pt x="342" y="516"/>
                    </a:lnTo>
                    <a:lnTo>
                      <a:pt x="348" y="516"/>
                    </a:lnTo>
                    <a:lnTo>
                      <a:pt x="348" y="522"/>
                    </a:lnTo>
                    <a:lnTo>
                      <a:pt x="354" y="522"/>
                    </a:lnTo>
                    <a:lnTo>
                      <a:pt x="354" y="528"/>
                    </a:lnTo>
                    <a:lnTo>
                      <a:pt x="360" y="528"/>
                    </a:lnTo>
                    <a:lnTo>
                      <a:pt x="360" y="522"/>
                    </a:lnTo>
                    <a:lnTo>
                      <a:pt x="360" y="528"/>
                    </a:lnTo>
                    <a:lnTo>
                      <a:pt x="366" y="528"/>
                    </a:lnTo>
                    <a:lnTo>
                      <a:pt x="372" y="528"/>
                    </a:lnTo>
                    <a:lnTo>
                      <a:pt x="378" y="528"/>
                    </a:lnTo>
                    <a:lnTo>
                      <a:pt x="378" y="534"/>
                    </a:lnTo>
                    <a:lnTo>
                      <a:pt x="372" y="534"/>
                    </a:lnTo>
                    <a:lnTo>
                      <a:pt x="372" y="540"/>
                    </a:lnTo>
                    <a:lnTo>
                      <a:pt x="366" y="540"/>
                    </a:lnTo>
                    <a:lnTo>
                      <a:pt x="366" y="546"/>
                    </a:lnTo>
                    <a:lnTo>
                      <a:pt x="366" y="552"/>
                    </a:lnTo>
                    <a:lnTo>
                      <a:pt x="366" y="546"/>
                    </a:lnTo>
                    <a:lnTo>
                      <a:pt x="366" y="552"/>
                    </a:lnTo>
                    <a:lnTo>
                      <a:pt x="360" y="552"/>
                    </a:lnTo>
                    <a:lnTo>
                      <a:pt x="366" y="552"/>
                    </a:lnTo>
                    <a:lnTo>
                      <a:pt x="366" y="558"/>
                    </a:lnTo>
                    <a:lnTo>
                      <a:pt x="366" y="564"/>
                    </a:lnTo>
                    <a:lnTo>
                      <a:pt x="372" y="564"/>
                    </a:lnTo>
                    <a:lnTo>
                      <a:pt x="366" y="564"/>
                    </a:lnTo>
                    <a:lnTo>
                      <a:pt x="372" y="570"/>
                    </a:lnTo>
                    <a:lnTo>
                      <a:pt x="378" y="570"/>
                    </a:lnTo>
                    <a:lnTo>
                      <a:pt x="378" y="576"/>
                    </a:lnTo>
                    <a:lnTo>
                      <a:pt x="378" y="582"/>
                    </a:lnTo>
                    <a:lnTo>
                      <a:pt x="372" y="582"/>
                    </a:lnTo>
                    <a:lnTo>
                      <a:pt x="378" y="582"/>
                    </a:lnTo>
                    <a:lnTo>
                      <a:pt x="372" y="582"/>
                    </a:lnTo>
                    <a:lnTo>
                      <a:pt x="372" y="588"/>
                    </a:lnTo>
                    <a:lnTo>
                      <a:pt x="372" y="594"/>
                    </a:lnTo>
                    <a:lnTo>
                      <a:pt x="378" y="594"/>
                    </a:lnTo>
                    <a:lnTo>
                      <a:pt x="372" y="594"/>
                    </a:lnTo>
                    <a:lnTo>
                      <a:pt x="372" y="600"/>
                    </a:lnTo>
                    <a:lnTo>
                      <a:pt x="372" y="606"/>
                    </a:lnTo>
                    <a:lnTo>
                      <a:pt x="378" y="606"/>
                    </a:lnTo>
                    <a:lnTo>
                      <a:pt x="372" y="606"/>
                    </a:lnTo>
                    <a:lnTo>
                      <a:pt x="372" y="612"/>
                    </a:lnTo>
                    <a:lnTo>
                      <a:pt x="378" y="612"/>
                    </a:lnTo>
                    <a:lnTo>
                      <a:pt x="378" y="618"/>
                    </a:lnTo>
                    <a:lnTo>
                      <a:pt x="378" y="624"/>
                    </a:lnTo>
                    <a:lnTo>
                      <a:pt x="378" y="630"/>
                    </a:lnTo>
                    <a:lnTo>
                      <a:pt x="384" y="630"/>
                    </a:lnTo>
                    <a:lnTo>
                      <a:pt x="378" y="630"/>
                    </a:lnTo>
                    <a:lnTo>
                      <a:pt x="378" y="636"/>
                    </a:lnTo>
                    <a:lnTo>
                      <a:pt x="378" y="642"/>
                    </a:lnTo>
                    <a:lnTo>
                      <a:pt x="384" y="642"/>
                    </a:lnTo>
                    <a:lnTo>
                      <a:pt x="384" y="648"/>
                    </a:lnTo>
                    <a:lnTo>
                      <a:pt x="378" y="648"/>
                    </a:lnTo>
                    <a:lnTo>
                      <a:pt x="384" y="648"/>
                    </a:lnTo>
                    <a:lnTo>
                      <a:pt x="384" y="654"/>
                    </a:lnTo>
                    <a:lnTo>
                      <a:pt x="384" y="648"/>
                    </a:lnTo>
                    <a:lnTo>
                      <a:pt x="384" y="654"/>
                    </a:lnTo>
                    <a:lnTo>
                      <a:pt x="390" y="660"/>
                    </a:lnTo>
                    <a:lnTo>
                      <a:pt x="390" y="666"/>
                    </a:lnTo>
                    <a:lnTo>
                      <a:pt x="384" y="672"/>
                    </a:lnTo>
                    <a:lnTo>
                      <a:pt x="384" y="678"/>
                    </a:lnTo>
                    <a:lnTo>
                      <a:pt x="390" y="678"/>
                    </a:lnTo>
                    <a:lnTo>
                      <a:pt x="390" y="684"/>
                    </a:lnTo>
                    <a:lnTo>
                      <a:pt x="390" y="690"/>
                    </a:lnTo>
                    <a:lnTo>
                      <a:pt x="390" y="696"/>
                    </a:lnTo>
                    <a:lnTo>
                      <a:pt x="384" y="696"/>
                    </a:lnTo>
                    <a:lnTo>
                      <a:pt x="384" y="690"/>
                    </a:lnTo>
                    <a:lnTo>
                      <a:pt x="378" y="690"/>
                    </a:lnTo>
                    <a:lnTo>
                      <a:pt x="384" y="690"/>
                    </a:lnTo>
                    <a:lnTo>
                      <a:pt x="384" y="696"/>
                    </a:lnTo>
                    <a:lnTo>
                      <a:pt x="378" y="696"/>
                    </a:lnTo>
                    <a:lnTo>
                      <a:pt x="378" y="702"/>
                    </a:lnTo>
                    <a:lnTo>
                      <a:pt x="384" y="702"/>
                    </a:lnTo>
                    <a:lnTo>
                      <a:pt x="384" y="708"/>
                    </a:lnTo>
                    <a:lnTo>
                      <a:pt x="384" y="714"/>
                    </a:lnTo>
                    <a:lnTo>
                      <a:pt x="384" y="720"/>
                    </a:lnTo>
                    <a:lnTo>
                      <a:pt x="390" y="720"/>
                    </a:lnTo>
                    <a:lnTo>
                      <a:pt x="390" y="726"/>
                    </a:lnTo>
                    <a:lnTo>
                      <a:pt x="390" y="732"/>
                    </a:lnTo>
                    <a:lnTo>
                      <a:pt x="384" y="732"/>
                    </a:lnTo>
                    <a:lnTo>
                      <a:pt x="384" y="726"/>
                    </a:lnTo>
                    <a:lnTo>
                      <a:pt x="384" y="732"/>
                    </a:lnTo>
                    <a:lnTo>
                      <a:pt x="384" y="726"/>
                    </a:lnTo>
                    <a:lnTo>
                      <a:pt x="384" y="732"/>
                    </a:lnTo>
                    <a:lnTo>
                      <a:pt x="384" y="738"/>
                    </a:lnTo>
                    <a:lnTo>
                      <a:pt x="378" y="738"/>
                    </a:lnTo>
                    <a:lnTo>
                      <a:pt x="378" y="732"/>
                    </a:lnTo>
                    <a:lnTo>
                      <a:pt x="372" y="732"/>
                    </a:lnTo>
                    <a:lnTo>
                      <a:pt x="372" y="726"/>
                    </a:lnTo>
                    <a:lnTo>
                      <a:pt x="378" y="726"/>
                    </a:lnTo>
                    <a:lnTo>
                      <a:pt x="378" y="720"/>
                    </a:lnTo>
                    <a:lnTo>
                      <a:pt x="372" y="720"/>
                    </a:lnTo>
                    <a:lnTo>
                      <a:pt x="372" y="714"/>
                    </a:lnTo>
                    <a:lnTo>
                      <a:pt x="372" y="720"/>
                    </a:lnTo>
                    <a:lnTo>
                      <a:pt x="372" y="726"/>
                    </a:lnTo>
                    <a:lnTo>
                      <a:pt x="372" y="732"/>
                    </a:lnTo>
                    <a:lnTo>
                      <a:pt x="366" y="732"/>
                    </a:lnTo>
                    <a:lnTo>
                      <a:pt x="366" y="726"/>
                    </a:lnTo>
                    <a:lnTo>
                      <a:pt x="366" y="720"/>
                    </a:lnTo>
                    <a:lnTo>
                      <a:pt x="366" y="714"/>
                    </a:lnTo>
                    <a:lnTo>
                      <a:pt x="360" y="714"/>
                    </a:lnTo>
                    <a:lnTo>
                      <a:pt x="366" y="714"/>
                    </a:lnTo>
                    <a:lnTo>
                      <a:pt x="366" y="720"/>
                    </a:lnTo>
                    <a:lnTo>
                      <a:pt x="360" y="720"/>
                    </a:lnTo>
                    <a:lnTo>
                      <a:pt x="360" y="726"/>
                    </a:lnTo>
                    <a:lnTo>
                      <a:pt x="366" y="726"/>
                    </a:lnTo>
                    <a:lnTo>
                      <a:pt x="366" y="732"/>
                    </a:lnTo>
                    <a:lnTo>
                      <a:pt x="360" y="732"/>
                    </a:lnTo>
                    <a:lnTo>
                      <a:pt x="360" y="726"/>
                    </a:lnTo>
                    <a:lnTo>
                      <a:pt x="354" y="726"/>
                    </a:lnTo>
                    <a:lnTo>
                      <a:pt x="348" y="726"/>
                    </a:lnTo>
                    <a:lnTo>
                      <a:pt x="348" y="720"/>
                    </a:lnTo>
                    <a:lnTo>
                      <a:pt x="342" y="720"/>
                    </a:lnTo>
                    <a:lnTo>
                      <a:pt x="342" y="714"/>
                    </a:lnTo>
                    <a:lnTo>
                      <a:pt x="348" y="714"/>
                    </a:lnTo>
                    <a:lnTo>
                      <a:pt x="348" y="708"/>
                    </a:lnTo>
                    <a:lnTo>
                      <a:pt x="342" y="708"/>
                    </a:lnTo>
                    <a:lnTo>
                      <a:pt x="342" y="702"/>
                    </a:lnTo>
                    <a:lnTo>
                      <a:pt x="348" y="702"/>
                    </a:lnTo>
                    <a:lnTo>
                      <a:pt x="342" y="702"/>
                    </a:lnTo>
                    <a:lnTo>
                      <a:pt x="348" y="702"/>
                    </a:lnTo>
                    <a:lnTo>
                      <a:pt x="348" y="696"/>
                    </a:lnTo>
                    <a:lnTo>
                      <a:pt x="348" y="690"/>
                    </a:lnTo>
                    <a:lnTo>
                      <a:pt x="348" y="684"/>
                    </a:lnTo>
                    <a:lnTo>
                      <a:pt x="348" y="690"/>
                    </a:lnTo>
                    <a:lnTo>
                      <a:pt x="348" y="684"/>
                    </a:lnTo>
                    <a:lnTo>
                      <a:pt x="348" y="690"/>
                    </a:lnTo>
                    <a:lnTo>
                      <a:pt x="354" y="690"/>
                    </a:lnTo>
                    <a:lnTo>
                      <a:pt x="354" y="684"/>
                    </a:lnTo>
                    <a:lnTo>
                      <a:pt x="354" y="678"/>
                    </a:lnTo>
                    <a:lnTo>
                      <a:pt x="348" y="678"/>
                    </a:lnTo>
                    <a:lnTo>
                      <a:pt x="354" y="678"/>
                    </a:lnTo>
                    <a:lnTo>
                      <a:pt x="354" y="672"/>
                    </a:lnTo>
                    <a:lnTo>
                      <a:pt x="348" y="672"/>
                    </a:lnTo>
                    <a:lnTo>
                      <a:pt x="348" y="678"/>
                    </a:lnTo>
                    <a:lnTo>
                      <a:pt x="348" y="672"/>
                    </a:lnTo>
                    <a:lnTo>
                      <a:pt x="342" y="672"/>
                    </a:lnTo>
                    <a:lnTo>
                      <a:pt x="342" y="678"/>
                    </a:lnTo>
                    <a:lnTo>
                      <a:pt x="348" y="678"/>
                    </a:lnTo>
                    <a:lnTo>
                      <a:pt x="348" y="684"/>
                    </a:lnTo>
                    <a:lnTo>
                      <a:pt x="342" y="684"/>
                    </a:lnTo>
                    <a:lnTo>
                      <a:pt x="342" y="678"/>
                    </a:lnTo>
                    <a:lnTo>
                      <a:pt x="342" y="672"/>
                    </a:lnTo>
                    <a:lnTo>
                      <a:pt x="336" y="672"/>
                    </a:lnTo>
                    <a:lnTo>
                      <a:pt x="336" y="678"/>
                    </a:lnTo>
                    <a:lnTo>
                      <a:pt x="336" y="684"/>
                    </a:lnTo>
                    <a:lnTo>
                      <a:pt x="336" y="678"/>
                    </a:lnTo>
                    <a:lnTo>
                      <a:pt x="336" y="684"/>
                    </a:lnTo>
                    <a:lnTo>
                      <a:pt x="336" y="690"/>
                    </a:lnTo>
                    <a:lnTo>
                      <a:pt x="336" y="696"/>
                    </a:lnTo>
                    <a:lnTo>
                      <a:pt x="336" y="690"/>
                    </a:lnTo>
                    <a:lnTo>
                      <a:pt x="336" y="696"/>
                    </a:lnTo>
                    <a:lnTo>
                      <a:pt x="330" y="696"/>
                    </a:lnTo>
                    <a:lnTo>
                      <a:pt x="330" y="702"/>
                    </a:lnTo>
                    <a:lnTo>
                      <a:pt x="330" y="708"/>
                    </a:lnTo>
                    <a:lnTo>
                      <a:pt x="324" y="708"/>
                    </a:lnTo>
                    <a:lnTo>
                      <a:pt x="324" y="702"/>
                    </a:lnTo>
                    <a:lnTo>
                      <a:pt x="330" y="702"/>
                    </a:lnTo>
                    <a:lnTo>
                      <a:pt x="324" y="702"/>
                    </a:lnTo>
                    <a:lnTo>
                      <a:pt x="318" y="702"/>
                    </a:lnTo>
                    <a:lnTo>
                      <a:pt x="318" y="696"/>
                    </a:lnTo>
                    <a:lnTo>
                      <a:pt x="324" y="696"/>
                    </a:lnTo>
                    <a:lnTo>
                      <a:pt x="324" y="690"/>
                    </a:lnTo>
                    <a:lnTo>
                      <a:pt x="324" y="696"/>
                    </a:lnTo>
                    <a:lnTo>
                      <a:pt x="318" y="696"/>
                    </a:lnTo>
                    <a:lnTo>
                      <a:pt x="318" y="702"/>
                    </a:lnTo>
                    <a:lnTo>
                      <a:pt x="318" y="708"/>
                    </a:lnTo>
                    <a:lnTo>
                      <a:pt x="318" y="714"/>
                    </a:lnTo>
                    <a:lnTo>
                      <a:pt x="318" y="708"/>
                    </a:lnTo>
                    <a:lnTo>
                      <a:pt x="318" y="714"/>
                    </a:lnTo>
                    <a:lnTo>
                      <a:pt x="318" y="720"/>
                    </a:lnTo>
                    <a:lnTo>
                      <a:pt x="318" y="726"/>
                    </a:lnTo>
                    <a:lnTo>
                      <a:pt x="318" y="732"/>
                    </a:lnTo>
                    <a:lnTo>
                      <a:pt x="312" y="732"/>
                    </a:lnTo>
                    <a:lnTo>
                      <a:pt x="312" y="726"/>
                    </a:lnTo>
                    <a:lnTo>
                      <a:pt x="312" y="720"/>
                    </a:lnTo>
                    <a:lnTo>
                      <a:pt x="312" y="726"/>
                    </a:lnTo>
                    <a:lnTo>
                      <a:pt x="312" y="732"/>
                    </a:lnTo>
                    <a:lnTo>
                      <a:pt x="312" y="738"/>
                    </a:lnTo>
                    <a:lnTo>
                      <a:pt x="306" y="738"/>
                    </a:lnTo>
                    <a:lnTo>
                      <a:pt x="306" y="732"/>
                    </a:lnTo>
                    <a:lnTo>
                      <a:pt x="306" y="726"/>
                    </a:lnTo>
                    <a:lnTo>
                      <a:pt x="312" y="726"/>
                    </a:lnTo>
                    <a:lnTo>
                      <a:pt x="312" y="720"/>
                    </a:lnTo>
                    <a:lnTo>
                      <a:pt x="306" y="720"/>
                    </a:lnTo>
                    <a:lnTo>
                      <a:pt x="306" y="714"/>
                    </a:lnTo>
                    <a:lnTo>
                      <a:pt x="306" y="720"/>
                    </a:lnTo>
                    <a:lnTo>
                      <a:pt x="312" y="720"/>
                    </a:lnTo>
                    <a:lnTo>
                      <a:pt x="306" y="720"/>
                    </a:lnTo>
                    <a:lnTo>
                      <a:pt x="306" y="726"/>
                    </a:lnTo>
                    <a:lnTo>
                      <a:pt x="300" y="726"/>
                    </a:lnTo>
                    <a:lnTo>
                      <a:pt x="300" y="720"/>
                    </a:lnTo>
                    <a:lnTo>
                      <a:pt x="306" y="720"/>
                    </a:lnTo>
                    <a:lnTo>
                      <a:pt x="300" y="720"/>
                    </a:lnTo>
                    <a:lnTo>
                      <a:pt x="294" y="720"/>
                    </a:lnTo>
                    <a:lnTo>
                      <a:pt x="294" y="726"/>
                    </a:lnTo>
                    <a:lnTo>
                      <a:pt x="300" y="726"/>
                    </a:lnTo>
                    <a:lnTo>
                      <a:pt x="300" y="732"/>
                    </a:lnTo>
                    <a:lnTo>
                      <a:pt x="294" y="732"/>
                    </a:lnTo>
                    <a:lnTo>
                      <a:pt x="300" y="732"/>
                    </a:lnTo>
                    <a:lnTo>
                      <a:pt x="294" y="732"/>
                    </a:lnTo>
                    <a:lnTo>
                      <a:pt x="294" y="738"/>
                    </a:lnTo>
                    <a:lnTo>
                      <a:pt x="300" y="738"/>
                    </a:lnTo>
                    <a:lnTo>
                      <a:pt x="294" y="738"/>
                    </a:lnTo>
                    <a:lnTo>
                      <a:pt x="294" y="744"/>
                    </a:lnTo>
                    <a:lnTo>
                      <a:pt x="294" y="738"/>
                    </a:lnTo>
                    <a:lnTo>
                      <a:pt x="288" y="738"/>
                    </a:lnTo>
                    <a:lnTo>
                      <a:pt x="288" y="732"/>
                    </a:lnTo>
                    <a:lnTo>
                      <a:pt x="288" y="726"/>
                    </a:lnTo>
                    <a:lnTo>
                      <a:pt x="288" y="720"/>
                    </a:lnTo>
                    <a:lnTo>
                      <a:pt x="288" y="714"/>
                    </a:lnTo>
                    <a:lnTo>
                      <a:pt x="288" y="708"/>
                    </a:lnTo>
                    <a:lnTo>
                      <a:pt x="282" y="708"/>
                    </a:lnTo>
                    <a:lnTo>
                      <a:pt x="282" y="702"/>
                    </a:lnTo>
                    <a:lnTo>
                      <a:pt x="282" y="696"/>
                    </a:lnTo>
                    <a:lnTo>
                      <a:pt x="282" y="690"/>
                    </a:lnTo>
                    <a:lnTo>
                      <a:pt x="282" y="684"/>
                    </a:lnTo>
                    <a:lnTo>
                      <a:pt x="288" y="684"/>
                    </a:lnTo>
                    <a:lnTo>
                      <a:pt x="288" y="678"/>
                    </a:lnTo>
                    <a:lnTo>
                      <a:pt x="288" y="672"/>
                    </a:lnTo>
                    <a:lnTo>
                      <a:pt x="288" y="666"/>
                    </a:lnTo>
                    <a:lnTo>
                      <a:pt x="288" y="660"/>
                    </a:lnTo>
                    <a:lnTo>
                      <a:pt x="282" y="660"/>
                    </a:lnTo>
                    <a:lnTo>
                      <a:pt x="276" y="660"/>
                    </a:lnTo>
                    <a:lnTo>
                      <a:pt x="270" y="660"/>
                    </a:lnTo>
                    <a:lnTo>
                      <a:pt x="270" y="654"/>
                    </a:lnTo>
                    <a:lnTo>
                      <a:pt x="264" y="654"/>
                    </a:lnTo>
                    <a:lnTo>
                      <a:pt x="264" y="660"/>
                    </a:lnTo>
                    <a:lnTo>
                      <a:pt x="270" y="660"/>
                    </a:lnTo>
                    <a:lnTo>
                      <a:pt x="276" y="660"/>
                    </a:lnTo>
                    <a:lnTo>
                      <a:pt x="282" y="660"/>
                    </a:lnTo>
                    <a:lnTo>
                      <a:pt x="282" y="666"/>
                    </a:lnTo>
                    <a:lnTo>
                      <a:pt x="282" y="672"/>
                    </a:lnTo>
                    <a:lnTo>
                      <a:pt x="282" y="678"/>
                    </a:lnTo>
                    <a:lnTo>
                      <a:pt x="276" y="678"/>
                    </a:lnTo>
                    <a:lnTo>
                      <a:pt x="270" y="678"/>
                    </a:lnTo>
                    <a:lnTo>
                      <a:pt x="270" y="684"/>
                    </a:lnTo>
                    <a:lnTo>
                      <a:pt x="264" y="684"/>
                    </a:lnTo>
                    <a:lnTo>
                      <a:pt x="264" y="690"/>
                    </a:lnTo>
                    <a:lnTo>
                      <a:pt x="264" y="696"/>
                    </a:lnTo>
                    <a:lnTo>
                      <a:pt x="258" y="702"/>
                    </a:lnTo>
                    <a:lnTo>
                      <a:pt x="258" y="708"/>
                    </a:lnTo>
                    <a:lnTo>
                      <a:pt x="252" y="708"/>
                    </a:lnTo>
                    <a:lnTo>
                      <a:pt x="246" y="708"/>
                    </a:lnTo>
                    <a:lnTo>
                      <a:pt x="246" y="714"/>
                    </a:lnTo>
                    <a:lnTo>
                      <a:pt x="246" y="720"/>
                    </a:lnTo>
                    <a:lnTo>
                      <a:pt x="240" y="720"/>
                    </a:lnTo>
                    <a:lnTo>
                      <a:pt x="240" y="726"/>
                    </a:lnTo>
                    <a:lnTo>
                      <a:pt x="234" y="726"/>
                    </a:lnTo>
                    <a:lnTo>
                      <a:pt x="228" y="726"/>
                    </a:lnTo>
                    <a:lnTo>
                      <a:pt x="222" y="726"/>
                    </a:lnTo>
                    <a:lnTo>
                      <a:pt x="222" y="732"/>
                    </a:lnTo>
                    <a:lnTo>
                      <a:pt x="216" y="732"/>
                    </a:lnTo>
                    <a:lnTo>
                      <a:pt x="216" y="726"/>
                    </a:lnTo>
                    <a:lnTo>
                      <a:pt x="216" y="732"/>
                    </a:lnTo>
                    <a:lnTo>
                      <a:pt x="210" y="732"/>
                    </a:lnTo>
                    <a:lnTo>
                      <a:pt x="204" y="732"/>
                    </a:lnTo>
                    <a:lnTo>
                      <a:pt x="198" y="732"/>
                    </a:lnTo>
                    <a:close/>
                    <a:moveTo>
                      <a:pt x="276" y="732"/>
                    </a:moveTo>
                    <a:lnTo>
                      <a:pt x="270" y="732"/>
                    </a:lnTo>
                    <a:lnTo>
                      <a:pt x="264" y="732"/>
                    </a:lnTo>
                    <a:lnTo>
                      <a:pt x="264" y="726"/>
                    </a:lnTo>
                    <a:lnTo>
                      <a:pt x="270" y="726"/>
                    </a:lnTo>
                    <a:lnTo>
                      <a:pt x="270" y="720"/>
                    </a:lnTo>
                    <a:lnTo>
                      <a:pt x="270" y="714"/>
                    </a:lnTo>
                    <a:lnTo>
                      <a:pt x="270" y="708"/>
                    </a:lnTo>
                    <a:lnTo>
                      <a:pt x="276" y="708"/>
                    </a:lnTo>
                    <a:lnTo>
                      <a:pt x="276" y="702"/>
                    </a:lnTo>
                    <a:lnTo>
                      <a:pt x="282" y="702"/>
                    </a:lnTo>
                    <a:lnTo>
                      <a:pt x="282" y="708"/>
                    </a:lnTo>
                    <a:lnTo>
                      <a:pt x="282" y="714"/>
                    </a:lnTo>
                    <a:lnTo>
                      <a:pt x="282" y="720"/>
                    </a:lnTo>
                    <a:lnTo>
                      <a:pt x="282" y="726"/>
                    </a:lnTo>
                    <a:lnTo>
                      <a:pt x="276" y="726"/>
                    </a:lnTo>
                    <a:lnTo>
                      <a:pt x="282" y="726"/>
                    </a:lnTo>
                    <a:lnTo>
                      <a:pt x="282" y="732"/>
                    </a:lnTo>
                    <a:lnTo>
                      <a:pt x="276" y="732"/>
                    </a:lnTo>
                    <a:close/>
                    <a:moveTo>
                      <a:pt x="330" y="714"/>
                    </a:moveTo>
                    <a:lnTo>
                      <a:pt x="330" y="720"/>
                    </a:lnTo>
                    <a:lnTo>
                      <a:pt x="330" y="726"/>
                    </a:lnTo>
                    <a:lnTo>
                      <a:pt x="336" y="726"/>
                    </a:lnTo>
                    <a:lnTo>
                      <a:pt x="330" y="726"/>
                    </a:lnTo>
                    <a:lnTo>
                      <a:pt x="330" y="732"/>
                    </a:lnTo>
                    <a:lnTo>
                      <a:pt x="336" y="732"/>
                    </a:lnTo>
                    <a:lnTo>
                      <a:pt x="330" y="732"/>
                    </a:lnTo>
                    <a:lnTo>
                      <a:pt x="324" y="732"/>
                    </a:lnTo>
                    <a:lnTo>
                      <a:pt x="324" y="726"/>
                    </a:lnTo>
                    <a:lnTo>
                      <a:pt x="324" y="720"/>
                    </a:lnTo>
                    <a:lnTo>
                      <a:pt x="324" y="714"/>
                    </a:lnTo>
                    <a:lnTo>
                      <a:pt x="324" y="708"/>
                    </a:lnTo>
                    <a:lnTo>
                      <a:pt x="330" y="708"/>
                    </a:lnTo>
                    <a:lnTo>
                      <a:pt x="330" y="714"/>
                    </a:lnTo>
                    <a:close/>
                    <a:moveTo>
                      <a:pt x="396" y="714"/>
                    </a:moveTo>
                    <a:lnTo>
                      <a:pt x="396" y="720"/>
                    </a:lnTo>
                    <a:lnTo>
                      <a:pt x="390" y="720"/>
                    </a:lnTo>
                    <a:lnTo>
                      <a:pt x="390" y="714"/>
                    </a:lnTo>
                    <a:lnTo>
                      <a:pt x="384" y="714"/>
                    </a:lnTo>
                    <a:lnTo>
                      <a:pt x="384" y="708"/>
                    </a:lnTo>
                    <a:lnTo>
                      <a:pt x="390" y="708"/>
                    </a:lnTo>
                    <a:lnTo>
                      <a:pt x="390" y="702"/>
                    </a:lnTo>
                    <a:lnTo>
                      <a:pt x="384" y="702"/>
                    </a:lnTo>
                    <a:lnTo>
                      <a:pt x="384" y="696"/>
                    </a:lnTo>
                    <a:lnTo>
                      <a:pt x="390" y="696"/>
                    </a:lnTo>
                    <a:lnTo>
                      <a:pt x="390" y="702"/>
                    </a:lnTo>
                    <a:lnTo>
                      <a:pt x="390" y="708"/>
                    </a:lnTo>
                    <a:lnTo>
                      <a:pt x="390" y="714"/>
                    </a:lnTo>
                    <a:lnTo>
                      <a:pt x="396" y="714"/>
                    </a:lnTo>
                    <a:close/>
                    <a:moveTo>
                      <a:pt x="354" y="732"/>
                    </a:moveTo>
                    <a:lnTo>
                      <a:pt x="354" y="726"/>
                    </a:lnTo>
                    <a:lnTo>
                      <a:pt x="354" y="732"/>
                    </a:lnTo>
                    <a:lnTo>
                      <a:pt x="354" y="738"/>
                    </a:lnTo>
                    <a:lnTo>
                      <a:pt x="348" y="738"/>
                    </a:lnTo>
                    <a:lnTo>
                      <a:pt x="348" y="732"/>
                    </a:lnTo>
                    <a:lnTo>
                      <a:pt x="348" y="726"/>
                    </a:lnTo>
                    <a:lnTo>
                      <a:pt x="342" y="726"/>
                    </a:lnTo>
                    <a:lnTo>
                      <a:pt x="342" y="720"/>
                    </a:lnTo>
                    <a:lnTo>
                      <a:pt x="348" y="720"/>
                    </a:lnTo>
                    <a:lnTo>
                      <a:pt x="348" y="726"/>
                    </a:lnTo>
                    <a:lnTo>
                      <a:pt x="348" y="732"/>
                    </a:lnTo>
                    <a:lnTo>
                      <a:pt x="354" y="732"/>
                    </a:lnTo>
                    <a:close/>
                    <a:moveTo>
                      <a:pt x="342" y="696"/>
                    </a:moveTo>
                    <a:lnTo>
                      <a:pt x="342" y="702"/>
                    </a:lnTo>
                    <a:lnTo>
                      <a:pt x="336" y="702"/>
                    </a:lnTo>
                    <a:lnTo>
                      <a:pt x="342" y="702"/>
                    </a:lnTo>
                    <a:lnTo>
                      <a:pt x="342" y="708"/>
                    </a:lnTo>
                    <a:lnTo>
                      <a:pt x="336" y="708"/>
                    </a:lnTo>
                    <a:lnTo>
                      <a:pt x="336" y="714"/>
                    </a:lnTo>
                    <a:lnTo>
                      <a:pt x="336" y="708"/>
                    </a:lnTo>
                    <a:lnTo>
                      <a:pt x="336" y="702"/>
                    </a:lnTo>
                    <a:lnTo>
                      <a:pt x="330" y="702"/>
                    </a:lnTo>
                    <a:lnTo>
                      <a:pt x="336" y="702"/>
                    </a:lnTo>
                    <a:lnTo>
                      <a:pt x="336" y="696"/>
                    </a:lnTo>
                    <a:lnTo>
                      <a:pt x="342" y="696"/>
                    </a:lnTo>
                    <a:close/>
                    <a:moveTo>
                      <a:pt x="336" y="684"/>
                    </a:moveTo>
                    <a:lnTo>
                      <a:pt x="348" y="684"/>
                    </a:lnTo>
                    <a:lnTo>
                      <a:pt x="348" y="690"/>
                    </a:lnTo>
                    <a:lnTo>
                      <a:pt x="336" y="690"/>
                    </a:lnTo>
                    <a:lnTo>
                      <a:pt x="336" y="684"/>
                    </a:lnTo>
                    <a:close/>
                    <a:moveTo>
                      <a:pt x="270" y="696"/>
                    </a:moveTo>
                    <a:lnTo>
                      <a:pt x="264" y="696"/>
                    </a:lnTo>
                    <a:lnTo>
                      <a:pt x="270" y="696"/>
                    </a:lnTo>
                    <a:lnTo>
                      <a:pt x="270" y="690"/>
                    </a:lnTo>
                    <a:lnTo>
                      <a:pt x="270" y="684"/>
                    </a:lnTo>
                    <a:lnTo>
                      <a:pt x="276" y="684"/>
                    </a:lnTo>
                    <a:lnTo>
                      <a:pt x="276" y="690"/>
                    </a:lnTo>
                    <a:lnTo>
                      <a:pt x="270" y="690"/>
                    </a:lnTo>
                    <a:lnTo>
                      <a:pt x="270" y="696"/>
                    </a:lnTo>
                    <a:close/>
                    <a:moveTo>
                      <a:pt x="324" y="726"/>
                    </a:moveTo>
                    <a:lnTo>
                      <a:pt x="330" y="726"/>
                    </a:lnTo>
                    <a:lnTo>
                      <a:pt x="330" y="738"/>
                    </a:lnTo>
                    <a:lnTo>
                      <a:pt x="324" y="738"/>
                    </a:lnTo>
                    <a:lnTo>
                      <a:pt x="324" y="726"/>
                    </a:lnTo>
                    <a:close/>
                    <a:moveTo>
                      <a:pt x="360" y="732"/>
                    </a:moveTo>
                    <a:lnTo>
                      <a:pt x="372" y="732"/>
                    </a:lnTo>
                    <a:lnTo>
                      <a:pt x="372" y="744"/>
                    </a:lnTo>
                    <a:lnTo>
                      <a:pt x="360" y="744"/>
                    </a:lnTo>
                    <a:lnTo>
                      <a:pt x="360" y="732"/>
                    </a:lnTo>
                    <a:close/>
                    <a:moveTo>
                      <a:pt x="300" y="732"/>
                    </a:moveTo>
                    <a:lnTo>
                      <a:pt x="300" y="726"/>
                    </a:lnTo>
                    <a:lnTo>
                      <a:pt x="300" y="720"/>
                    </a:lnTo>
                    <a:lnTo>
                      <a:pt x="300" y="726"/>
                    </a:lnTo>
                    <a:lnTo>
                      <a:pt x="306" y="726"/>
                    </a:lnTo>
                    <a:lnTo>
                      <a:pt x="300" y="726"/>
                    </a:lnTo>
                    <a:lnTo>
                      <a:pt x="306" y="726"/>
                    </a:lnTo>
                    <a:lnTo>
                      <a:pt x="306" y="732"/>
                    </a:lnTo>
                    <a:lnTo>
                      <a:pt x="300" y="732"/>
                    </a:lnTo>
                    <a:close/>
                    <a:moveTo>
                      <a:pt x="288" y="726"/>
                    </a:moveTo>
                    <a:lnTo>
                      <a:pt x="288" y="732"/>
                    </a:lnTo>
                    <a:lnTo>
                      <a:pt x="288" y="738"/>
                    </a:lnTo>
                    <a:lnTo>
                      <a:pt x="288" y="732"/>
                    </a:lnTo>
                    <a:lnTo>
                      <a:pt x="282" y="732"/>
                    </a:lnTo>
                    <a:lnTo>
                      <a:pt x="282" y="726"/>
                    </a:lnTo>
                    <a:lnTo>
                      <a:pt x="282" y="720"/>
                    </a:lnTo>
                    <a:lnTo>
                      <a:pt x="288" y="720"/>
                    </a:lnTo>
                    <a:lnTo>
                      <a:pt x="288" y="726"/>
                    </a:lnTo>
                    <a:lnTo>
                      <a:pt x="282" y="726"/>
                    </a:lnTo>
                    <a:lnTo>
                      <a:pt x="288" y="726"/>
                    </a:lnTo>
                    <a:close/>
                    <a:moveTo>
                      <a:pt x="318" y="738"/>
                    </a:moveTo>
                    <a:lnTo>
                      <a:pt x="324" y="738"/>
                    </a:lnTo>
                    <a:lnTo>
                      <a:pt x="324" y="744"/>
                    </a:lnTo>
                    <a:lnTo>
                      <a:pt x="318" y="744"/>
                    </a:lnTo>
                    <a:lnTo>
                      <a:pt x="318" y="738"/>
                    </a:lnTo>
                    <a:close/>
                    <a:moveTo>
                      <a:pt x="330" y="714"/>
                    </a:moveTo>
                    <a:lnTo>
                      <a:pt x="336" y="714"/>
                    </a:lnTo>
                    <a:lnTo>
                      <a:pt x="336" y="720"/>
                    </a:lnTo>
                    <a:lnTo>
                      <a:pt x="330" y="720"/>
                    </a:lnTo>
                    <a:lnTo>
                      <a:pt x="330" y="714"/>
                    </a:lnTo>
                    <a:close/>
                    <a:moveTo>
                      <a:pt x="330" y="702"/>
                    </a:moveTo>
                    <a:lnTo>
                      <a:pt x="336" y="702"/>
                    </a:lnTo>
                    <a:lnTo>
                      <a:pt x="336" y="708"/>
                    </a:lnTo>
                    <a:lnTo>
                      <a:pt x="330" y="708"/>
                    </a:lnTo>
                    <a:lnTo>
                      <a:pt x="330" y="702"/>
                    </a:lnTo>
                    <a:close/>
                    <a:moveTo>
                      <a:pt x="318" y="708"/>
                    </a:moveTo>
                    <a:lnTo>
                      <a:pt x="324" y="708"/>
                    </a:lnTo>
                    <a:lnTo>
                      <a:pt x="318" y="708"/>
                    </a:lnTo>
                    <a:close/>
                    <a:moveTo>
                      <a:pt x="330" y="714"/>
                    </a:moveTo>
                    <a:lnTo>
                      <a:pt x="336" y="714"/>
                    </a:lnTo>
                    <a:lnTo>
                      <a:pt x="336" y="720"/>
                    </a:lnTo>
                    <a:lnTo>
                      <a:pt x="330" y="720"/>
                    </a:lnTo>
                    <a:lnTo>
                      <a:pt x="330" y="714"/>
                    </a:lnTo>
                    <a:close/>
                    <a:moveTo>
                      <a:pt x="282" y="738"/>
                    </a:moveTo>
                    <a:lnTo>
                      <a:pt x="288" y="738"/>
                    </a:lnTo>
                    <a:lnTo>
                      <a:pt x="288" y="744"/>
                    </a:lnTo>
                    <a:lnTo>
                      <a:pt x="282" y="744"/>
                    </a:lnTo>
                    <a:lnTo>
                      <a:pt x="282" y="738"/>
                    </a:lnTo>
                    <a:close/>
                    <a:moveTo>
                      <a:pt x="318" y="696"/>
                    </a:moveTo>
                    <a:lnTo>
                      <a:pt x="324" y="696"/>
                    </a:lnTo>
                    <a:lnTo>
                      <a:pt x="318" y="696"/>
                    </a:lnTo>
                    <a:close/>
                    <a:moveTo>
                      <a:pt x="336" y="726"/>
                    </a:moveTo>
                    <a:lnTo>
                      <a:pt x="336" y="732"/>
                    </a:lnTo>
                    <a:lnTo>
                      <a:pt x="337" y="732"/>
                    </a:lnTo>
                    <a:lnTo>
                      <a:pt x="336" y="726"/>
                    </a:lnTo>
                    <a:close/>
                    <a:moveTo>
                      <a:pt x="348" y="684"/>
                    </a:moveTo>
                    <a:lnTo>
                      <a:pt x="354" y="684"/>
                    </a:lnTo>
                    <a:lnTo>
                      <a:pt x="348" y="684"/>
                    </a:lnTo>
                    <a:close/>
                    <a:moveTo>
                      <a:pt x="282" y="714"/>
                    </a:moveTo>
                    <a:lnTo>
                      <a:pt x="288" y="714"/>
                    </a:lnTo>
                    <a:lnTo>
                      <a:pt x="282" y="714"/>
                    </a:lnTo>
                    <a:close/>
                    <a:moveTo>
                      <a:pt x="276" y="696"/>
                    </a:moveTo>
                    <a:lnTo>
                      <a:pt x="276" y="702"/>
                    </a:lnTo>
                    <a:lnTo>
                      <a:pt x="277" y="702"/>
                    </a:lnTo>
                    <a:lnTo>
                      <a:pt x="276" y="696"/>
                    </a:lnTo>
                    <a:close/>
                    <a:moveTo>
                      <a:pt x="282" y="708"/>
                    </a:moveTo>
                    <a:lnTo>
                      <a:pt x="282" y="714"/>
                    </a:lnTo>
                    <a:lnTo>
                      <a:pt x="283" y="714"/>
                    </a:lnTo>
                    <a:lnTo>
                      <a:pt x="282" y="708"/>
                    </a:lnTo>
                    <a:close/>
                    <a:moveTo>
                      <a:pt x="282" y="714"/>
                    </a:moveTo>
                    <a:lnTo>
                      <a:pt x="288" y="714"/>
                    </a:lnTo>
                    <a:lnTo>
                      <a:pt x="288" y="720"/>
                    </a:lnTo>
                    <a:lnTo>
                      <a:pt x="282" y="720"/>
                    </a:lnTo>
                    <a:lnTo>
                      <a:pt x="282" y="714"/>
                    </a:lnTo>
                    <a:close/>
                    <a:moveTo>
                      <a:pt x="396" y="732"/>
                    </a:moveTo>
                    <a:lnTo>
                      <a:pt x="402" y="732"/>
                    </a:lnTo>
                    <a:lnTo>
                      <a:pt x="396" y="732"/>
                    </a:lnTo>
                    <a:close/>
                    <a:moveTo>
                      <a:pt x="318" y="720"/>
                    </a:moveTo>
                    <a:lnTo>
                      <a:pt x="324" y="720"/>
                    </a:lnTo>
                    <a:lnTo>
                      <a:pt x="324" y="726"/>
                    </a:lnTo>
                    <a:lnTo>
                      <a:pt x="318" y="726"/>
                    </a:lnTo>
                    <a:lnTo>
                      <a:pt x="318" y="720"/>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US" sz="800" dirty="0">
                  <a:solidFill>
                    <a:srgbClr val="000000"/>
                  </a:solidFill>
                </a:endParaRPr>
              </a:p>
            </p:txBody>
          </p:sp>
          <p:sp>
            <p:nvSpPr>
              <p:cNvPr id="68" name="Freeform 79"/>
              <p:cNvSpPr>
                <a:spLocks/>
              </p:cNvSpPr>
              <p:nvPr/>
            </p:nvSpPr>
            <p:spPr bwMode="gray">
              <a:xfrm>
                <a:off x="4402024" y="2717923"/>
                <a:ext cx="756577" cy="550382"/>
              </a:xfrm>
              <a:custGeom>
                <a:avLst/>
                <a:gdLst>
                  <a:gd name="T0" fmla="*/ 90 w 588"/>
                  <a:gd name="T1" fmla="*/ 0 h 432"/>
                  <a:gd name="T2" fmla="*/ 132 w 588"/>
                  <a:gd name="T3" fmla="*/ 24 h 432"/>
                  <a:gd name="T4" fmla="*/ 162 w 588"/>
                  <a:gd name="T5" fmla="*/ 54 h 432"/>
                  <a:gd name="T6" fmla="*/ 180 w 588"/>
                  <a:gd name="T7" fmla="*/ 78 h 432"/>
                  <a:gd name="T8" fmla="*/ 204 w 588"/>
                  <a:gd name="T9" fmla="*/ 90 h 432"/>
                  <a:gd name="T10" fmla="*/ 228 w 588"/>
                  <a:gd name="T11" fmla="*/ 108 h 432"/>
                  <a:gd name="T12" fmla="*/ 264 w 588"/>
                  <a:gd name="T13" fmla="*/ 96 h 432"/>
                  <a:gd name="T14" fmla="*/ 288 w 588"/>
                  <a:gd name="T15" fmla="*/ 114 h 432"/>
                  <a:gd name="T16" fmla="*/ 318 w 588"/>
                  <a:gd name="T17" fmla="*/ 114 h 432"/>
                  <a:gd name="T18" fmla="*/ 348 w 588"/>
                  <a:gd name="T19" fmla="*/ 120 h 432"/>
                  <a:gd name="T20" fmla="*/ 390 w 588"/>
                  <a:gd name="T21" fmla="*/ 138 h 432"/>
                  <a:gd name="T22" fmla="*/ 420 w 588"/>
                  <a:gd name="T23" fmla="*/ 132 h 432"/>
                  <a:gd name="T24" fmla="*/ 444 w 588"/>
                  <a:gd name="T25" fmla="*/ 156 h 432"/>
                  <a:gd name="T26" fmla="*/ 462 w 588"/>
                  <a:gd name="T27" fmla="*/ 150 h 432"/>
                  <a:gd name="T28" fmla="*/ 474 w 588"/>
                  <a:gd name="T29" fmla="*/ 150 h 432"/>
                  <a:gd name="T30" fmla="*/ 516 w 588"/>
                  <a:gd name="T31" fmla="*/ 144 h 432"/>
                  <a:gd name="T32" fmla="*/ 528 w 588"/>
                  <a:gd name="T33" fmla="*/ 144 h 432"/>
                  <a:gd name="T34" fmla="*/ 546 w 588"/>
                  <a:gd name="T35" fmla="*/ 144 h 432"/>
                  <a:gd name="T36" fmla="*/ 570 w 588"/>
                  <a:gd name="T37" fmla="*/ 126 h 432"/>
                  <a:gd name="T38" fmla="*/ 576 w 588"/>
                  <a:gd name="T39" fmla="*/ 162 h 432"/>
                  <a:gd name="T40" fmla="*/ 558 w 588"/>
                  <a:gd name="T41" fmla="*/ 168 h 432"/>
                  <a:gd name="T42" fmla="*/ 546 w 588"/>
                  <a:gd name="T43" fmla="*/ 192 h 432"/>
                  <a:gd name="T44" fmla="*/ 546 w 588"/>
                  <a:gd name="T45" fmla="*/ 228 h 432"/>
                  <a:gd name="T46" fmla="*/ 564 w 588"/>
                  <a:gd name="T47" fmla="*/ 258 h 432"/>
                  <a:gd name="T48" fmla="*/ 540 w 588"/>
                  <a:gd name="T49" fmla="*/ 270 h 432"/>
                  <a:gd name="T50" fmla="*/ 528 w 588"/>
                  <a:gd name="T51" fmla="*/ 288 h 432"/>
                  <a:gd name="T52" fmla="*/ 510 w 588"/>
                  <a:gd name="T53" fmla="*/ 294 h 432"/>
                  <a:gd name="T54" fmla="*/ 474 w 588"/>
                  <a:gd name="T55" fmla="*/ 306 h 432"/>
                  <a:gd name="T56" fmla="*/ 456 w 588"/>
                  <a:gd name="T57" fmla="*/ 348 h 432"/>
                  <a:gd name="T58" fmla="*/ 438 w 588"/>
                  <a:gd name="T59" fmla="*/ 384 h 432"/>
                  <a:gd name="T60" fmla="*/ 408 w 588"/>
                  <a:gd name="T61" fmla="*/ 384 h 432"/>
                  <a:gd name="T62" fmla="*/ 372 w 588"/>
                  <a:gd name="T63" fmla="*/ 414 h 432"/>
                  <a:gd name="T64" fmla="*/ 348 w 588"/>
                  <a:gd name="T65" fmla="*/ 402 h 432"/>
                  <a:gd name="T66" fmla="*/ 330 w 588"/>
                  <a:gd name="T67" fmla="*/ 378 h 432"/>
                  <a:gd name="T68" fmla="*/ 312 w 588"/>
                  <a:gd name="T69" fmla="*/ 372 h 432"/>
                  <a:gd name="T70" fmla="*/ 282 w 588"/>
                  <a:gd name="T71" fmla="*/ 378 h 432"/>
                  <a:gd name="T72" fmla="*/ 240 w 588"/>
                  <a:gd name="T73" fmla="*/ 396 h 432"/>
                  <a:gd name="T74" fmla="*/ 198 w 588"/>
                  <a:gd name="T75" fmla="*/ 414 h 432"/>
                  <a:gd name="T76" fmla="*/ 174 w 588"/>
                  <a:gd name="T77" fmla="*/ 402 h 432"/>
                  <a:gd name="T78" fmla="*/ 144 w 588"/>
                  <a:gd name="T79" fmla="*/ 420 h 432"/>
                  <a:gd name="T80" fmla="*/ 126 w 588"/>
                  <a:gd name="T81" fmla="*/ 420 h 432"/>
                  <a:gd name="T82" fmla="*/ 114 w 588"/>
                  <a:gd name="T83" fmla="*/ 396 h 432"/>
                  <a:gd name="T84" fmla="*/ 90 w 588"/>
                  <a:gd name="T85" fmla="*/ 396 h 432"/>
                  <a:gd name="T86" fmla="*/ 54 w 588"/>
                  <a:gd name="T87" fmla="*/ 402 h 432"/>
                  <a:gd name="T88" fmla="*/ 18 w 588"/>
                  <a:gd name="T89" fmla="*/ 384 h 432"/>
                  <a:gd name="T90" fmla="*/ 0 w 588"/>
                  <a:gd name="T91" fmla="*/ 342 h 432"/>
                  <a:gd name="T92" fmla="*/ 6 w 588"/>
                  <a:gd name="T93" fmla="*/ 300 h 432"/>
                  <a:gd name="T94" fmla="*/ 24 w 588"/>
                  <a:gd name="T95" fmla="*/ 294 h 432"/>
                  <a:gd name="T96" fmla="*/ 54 w 588"/>
                  <a:gd name="T97" fmla="*/ 276 h 432"/>
                  <a:gd name="T98" fmla="*/ 90 w 588"/>
                  <a:gd name="T99" fmla="*/ 252 h 432"/>
                  <a:gd name="T100" fmla="*/ 132 w 588"/>
                  <a:gd name="T101" fmla="*/ 240 h 432"/>
                  <a:gd name="T102" fmla="*/ 156 w 588"/>
                  <a:gd name="T103" fmla="*/ 240 h 432"/>
                  <a:gd name="T104" fmla="*/ 120 w 588"/>
                  <a:gd name="T105" fmla="*/ 210 h 432"/>
                  <a:gd name="T106" fmla="*/ 78 w 588"/>
                  <a:gd name="T107" fmla="*/ 180 h 432"/>
                  <a:gd name="T108" fmla="*/ 96 w 588"/>
                  <a:gd name="T109" fmla="*/ 162 h 432"/>
                  <a:gd name="T110" fmla="*/ 78 w 588"/>
                  <a:gd name="T111" fmla="*/ 144 h 432"/>
                  <a:gd name="T112" fmla="*/ 90 w 588"/>
                  <a:gd name="T113" fmla="*/ 120 h 432"/>
                  <a:gd name="T114" fmla="*/ 126 w 588"/>
                  <a:gd name="T115" fmla="*/ 114 h 432"/>
                  <a:gd name="T116" fmla="*/ 102 w 588"/>
                  <a:gd name="T117" fmla="*/ 102 h 432"/>
                  <a:gd name="T118" fmla="*/ 78 w 588"/>
                  <a:gd name="T119" fmla="*/ 66 h 432"/>
                  <a:gd name="T120" fmla="*/ 72 w 588"/>
                  <a:gd name="T121" fmla="*/ 36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88" h="432">
                    <a:moveTo>
                      <a:pt x="66" y="18"/>
                    </a:moveTo>
                    <a:lnTo>
                      <a:pt x="60" y="18"/>
                    </a:lnTo>
                    <a:lnTo>
                      <a:pt x="60" y="12"/>
                    </a:lnTo>
                    <a:lnTo>
                      <a:pt x="66" y="12"/>
                    </a:lnTo>
                    <a:lnTo>
                      <a:pt x="72" y="12"/>
                    </a:lnTo>
                    <a:lnTo>
                      <a:pt x="72" y="6"/>
                    </a:lnTo>
                    <a:lnTo>
                      <a:pt x="78" y="6"/>
                    </a:lnTo>
                    <a:lnTo>
                      <a:pt x="84" y="6"/>
                    </a:lnTo>
                    <a:lnTo>
                      <a:pt x="90" y="6"/>
                    </a:lnTo>
                    <a:lnTo>
                      <a:pt x="90" y="0"/>
                    </a:lnTo>
                    <a:lnTo>
                      <a:pt x="96" y="0"/>
                    </a:lnTo>
                    <a:lnTo>
                      <a:pt x="96" y="6"/>
                    </a:lnTo>
                    <a:lnTo>
                      <a:pt x="102" y="6"/>
                    </a:lnTo>
                    <a:lnTo>
                      <a:pt x="108" y="12"/>
                    </a:lnTo>
                    <a:lnTo>
                      <a:pt x="114" y="12"/>
                    </a:lnTo>
                    <a:lnTo>
                      <a:pt x="114" y="18"/>
                    </a:lnTo>
                    <a:lnTo>
                      <a:pt x="120" y="18"/>
                    </a:lnTo>
                    <a:lnTo>
                      <a:pt x="126" y="18"/>
                    </a:lnTo>
                    <a:lnTo>
                      <a:pt x="132" y="18"/>
                    </a:lnTo>
                    <a:lnTo>
                      <a:pt x="132" y="24"/>
                    </a:lnTo>
                    <a:lnTo>
                      <a:pt x="138" y="24"/>
                    </a:lnTo>
                    <a:lnTo>
                      <a:pt x="144" y="24"/>
                    </a:lnTo>
                    <a:lnTo>
                      <a:pt x="150" y="24"/>
                    </a:lnTo>
                    <a:lnTo>
                      <a:pt x="156" y="24"/>
                    </a:lnTo>
                    <a:lnTo>
                      <a:pt x="156" y="30"/>
                    </a:lnTo>
                    <a:lnTo>
                      <a:pt x="162" y="42"/>
                    </a:lnTo>
                    <a:lnTo>
                      <a:pt x="162" y="48"/>
                    </a:lnTo>
                    <a:lnTo>
                      <a:pt x="162" y="54"/>
                    </a:lnTo>
                    <a:lnTo>
                      <a:pt x="156" y="54"/>
                    </a:lnTo>
                    <a:lnTo>
                      <a:pt x="162" y="54"/>
                    </a:lnTo>
                    <a:lnTo>
                      <a:pt x="162" y="60"/>
                    </a:lnTo>
                    <a:lnTo>
                      <a:pt x="156" y="60"/>
                    </a:lnTo>
                    <a:lnTo>
                      <a:pt x="156" y="66"/>
                    </a:lnTo>
                    <a:lnTo>
                      <a:pt x="162" y="66"/>
                    </a:lnTo>
                    <a:lnTo>
                      <a:pt x="156" y="66"/>
                    </a:lnTo>
                    <a:lnTo>
                      <a:pt x="162" y="66"/>
                    </a:lnTo>
                    <a:lnTo>
                      <a:pt x="168" y="72"/>
                    </a:lnTo>
                    <a:lnTo>
                      <a:pt x="174" y="72"/>
                    </a:lnTo>
                    <a:lnTo>
                      <a:pt x="180" y="72"/>
                    </a:lnTo>
                    <a:lnTo>
                      <a:pt x="180" y="78"/>
                    </a:lnTo>
                    <a:lnTo>
                      <a:pt x="186" y="78"/>
                    </a:lnTo>
                    <a:lnTo>
                      <a:pt x="192" y="78"/>
                    </a:lnTo>
                    <a:lnTo>
                      <a:pt x="192" y="84"/>
                    </a:lnTo>
                    <a:lnTo>
                      <a:pt x="198" y="84"/>
                    </a:lnTo>
                    <a:lnTo>
                      <a:pt x="198" y="90"/>
                    </a:lnTo>
                    <a:lnTo>
                      <a:pt x="204" y="90"/>
                    </a:lnTo>
                    <a:lnTo>
                      <a:pt x="198" y="90"/>
                    </a:lnTo>
                    <a:lnTo>
                      <a:pt x="204" y="90"/>
                    </a:lnTo>
                    <a:lnTo>
                      <a:pt x="198" y="90"/>
                    </a:lnTo>
                    <a:lnTo>
                      <a:pt x="204" y="90"/>
                    </a:lnTo>
                    <a:lnTo>
                      <a:pt x="204" y="96"/>
                    </a:lnTo>
                    <a:lnTo>
                      <a:pt x="204" y="90"/>
                    </a:lnTo>
                    <a:lnTo>
                      <a:pt x="210" y="90"/>
                    </a:lnTo>
                    <a:lnTo>
                      <a:pt x="216" y="90"/>
                    </a:lnTo>
                    <a:lnTo>
                      <a:pt x="222" y="90"/>
                    </a:lnTo>
                    <a:lnTo>
                      <a:pt x="222" y="96"/>
                    </a:lnTo>
                    <a:lnTo>
                      <a:pt x="216" y="96"/>
                    </a:lnTo>
                    <a:lnTo>
                      <a:pt x="222" y="102"/>
                    </a:lnTo>
                    <a:lnTo>
                      <a:pt x="228" y="102"/>
                    </a:lnTo>
                    <a:lnTo>
                      <a:pt x="228" y="108"/>
                    </a:lnTo>
                    <a:lnTo>
                      <a:pt x="234" y="108"/>
                    </a:lnTo>
                    <a:lnTo>
                      <a:pt x="240" y="108"/>
                    </a:lnTo>
                    <a:lnTo>
                      <a:pt x="240" y="102"/>
                    </a:lnTo>
                    <a:lnTo>
                      <a:pt x="246" y="102"/>
                    </a:lnTo>
                    <a:lnTo>
                      <a:pt x="246" y="96"/>
                    </a:lnTo>
                    <a:lnTo>
                      <a:pt x="252" y="96"/>
                    </a:lnTo>
                    <a:lnTo>
                      <a:pt x="252" y="102"/>
                    </a:lnTo>
                    <a:lnTo>
                      <a:pt x="258" y="102"/>
                    </a:lnTo>
                    <a:lnTo>
                      <a:pt x="258" y="96"/>
                    </a:lnTo>
                    <a:lnTo>
                      <a:pt x="264" y="96"/>
                    </a:lnTo>
                    <a:lnTo>
                      <a:pt x="270" y="90"/>
                    </a:lnTo>
                    <a:lnTo>
                      <a:pt x="276" y="90"/>
                    </a:lnTo>
                    <a:lnTo>
                      <a:pt x="282" y="90"/>
                    </a:lnTo>
                    <a:lnTo>
                      <a:pt x="282" y="96"/>
                    </a:lnTo>
                    <a:lnTo>
                      <a:pt x="288" y="96"/>
                    </a:lnTo>
                    <a:lnTo>
                      <a:pt x="288" y="102"/>
                    </a:lnTo>
                    <a:lnTo>
                      <a:pt x="282" y="102"/>
                    </a:lnTo>
                    <a:lnTo>
                      <a:pt x="282" y="108"/>
                    </a:lnTo>
                    <a:lnTo>
                      <a:pt x="282" y="114"/>
                    </a:lnTo>
                    <a:lnTo>
                      <a:pt x="288" y="114"/>
                    </a:lnTo>
                    <a:lnTo>
                      <a:pt x="288" y="120"/>
                    </a:lnTo>
                    <a:lnTo>
                      <a:pt x="294" y="120"/>
                    </a:lnTo>
                    <a:lnTo>
                      <a:pt x="294" y="126"/>
                    </a:lnTo>
                    <a:lnTo>
                      <a:pt x="300" y="126"/>
                    </a:lnTo>
                    <a:lnTo>
                      <a:pt x="306" y="126"/>
                    </a:lnTo>
                    <a:lnTo>
                      <a:pt x="312" y="120"/>
                    </a:lnTo>
                    <a:lnTo>
                      <a:pt x="312" y="114"/>
                    </a:lnTo>
                    <a:lnTo>
                      <a:pt x="312" y="120"/>
                    </a:lnTo>
                    <a:lnTo>
                      <a:pt x="312" y="114"/>
                    </a:lnTo>
                    <a:lnTo>
                      <a:pt x="318" y="114"/>
                    </a:lnTo>
                    <a:lnTo>
                      <a:pt x="324" y="114"/>
                    </a:lnTo>
                    <a:lnTo>
                      <a:pt x="330" y="114"/>
                    </a:lnTo>
                    <a:lnTo>
                      <a:pt x="330" y="120"/>
                    </a:lnTo>
                    <a:lnTo>
                      <a:pt x="336" y="120"/>
                    </a:lnTo>
                    <a:lnTo>
                      <a:pt x="336" y="126"/>
                    </a:lnTo>
                    <a:lnTo>
                      <a:pt x="336" y="120"/>
                    </a:lnTo>
                    <a:lnTo>
                      <a:pt x="342" y="120"/>
                    </a:lnTo>
                    <a:lnTo>
                      <a:pt x="342" y="126"/>
                    </a:lnTo>
                    <a:lnTo>
                      <a:pt x="342" y="120"/>
                    </a:lnTo>
                    <a:lnTo>
                      <a:pt x="348" y="120"/>
                    </a:lnTo>
                    <a:lnTo>
                      <a:pt x="354" y="120"/>
                    </a:lnTo>
                    <a:lnTo>
                      <a:pt x="360" y="120"/>
                    </a:lnTo>
                    <a:lnTo>
                      <a:pt x="360" y="126"/>
                    </a:lnTo>
                    <a:lnTo>
                      <a:pt x="366" y="126"/>
                    </a:lnTo>
                    <a:lnTo>
                      <a:pt x="372" y="126"/>
                    </a:lnTo>
                    <a:lnTo>
                      <a:pt x="372" y="132"/>
                    </a:lnTo>
                    <a:lnTo>
                      <a:pt x="378" y="132"/>
                    </a:lnTo>
                    <a:lnTo>
                      <a:pt x="384" y="132"/>
                    </a:lnTo>
                    <a:lnTo>
                      <a:pt x="384" y="138"/>
                    </a:lnTo>
                    <a:lnTo>
                      <a:pt x="390" y="138"/>
                    </a:lnTo>
                    <a:lnTo>
                      <a:pt x="390" y="144"/>
                    </a:lnTo>
                    <a:lnTo>
                      <a:pt x="396" y="144"/>
                    </a:lnTo>
                    <a:lnTo>
                      <a:pt x="402" y="144"/>
                    </a:lnTo>
                    <a:lnTo>
                      <a:pt x="402" y="150"/>
                    </a:lnTo>
                    <a:lnTo>
                      <a:pt x="408" y="150"/>
                    </a:lnTo>
                    <a:lnTo>
                      <a:pt x="408" y="144"/>
                    </a:lnTo>
                    <a:lnTo>
                      <a:pt x="414" y="144"/>
                    </a:lnTo>
                    <a:lnTo>
                      <a:pt x="414" y="138"/>
                    </a:lnTo>
                    <a:lnTo>
                      <a:pt x="420" y="138"/>
                    </a:lnTo>
                    <a:lnTo>
                      <a:pt x="420" y="132"/>
                    </a:lnTo>
                    <a:lnTo>
                      <a:pt x="426" y="132"/>
                    </a:lnTo>
                    <a:lnTo>
                      <a:pt x="432" y="132"/>
                    </a:lnTo>
                    <a:lnTo>
                      <a:pt x="432" y="126"/>
                    </a:lnTo>
                    <a:lnTo>
                      <a:pt x="438" y="126"/>
                    </a:lnTo>
                    <a:lnTo>
                      <a:pt x="444" y="126"/>
                    </a:lnTo>
                    <a:lnTo>
                      <a:pt x="444" y="132"/>
                    </a:lnTo>
                    <a:lnTo>
                      <a:pt x="444" y="138"/>
                    </a:lnTo>
                    <a:lnTo>
                      <a:pt x="444" y="144"/>
                    </a:lnTo>
                    <a:lnTo>
                      <a:pt x="444" y="150"/>
                    </a:lnTo>
                    <a:lnTo>
                      <a:pt x="444" y="156"/>
                    </a:lnTo>
                    <a:lnTo>
                      <a:pt x="450" y="156"/>
                    </a:lnTo>
                    <a:lnTo>
                      <a:pt x="456" y="156"/>
                    </a:lnTo>
                    <a:lnTo>
                      <a:pt x="462" y="156"/>
                    </a:lnTo>
                    <a:lnTo>
                      <a:pt x="456" y="156"/>
                    </a:lnTo>
                    <a:lnTo>
                      <a:pt x="456" y="150"/>
                    </a:lnTo>
                    <a:lnTo>
                      <a:pt x="462" y="150"/>
                    </a:lnTo>
                    <a:lnTo>
                      <a:pt x="462" y="156"/>
                    </a:lnTo>
                    <a:lnTo>
                      <a:pt x="462" y="150"/>
                    </a:lnTo>
                    <a:lnTo>
                      <a:pt x="462" y="156"/>
                    </a:lnTo>
                    <a:lnTo>
                      <a:pt x="462" y="150"/>
                    </a:lnTo>
                    <a:lnTo>
                      <a:pt x="468" y="150"/>
                    </a:lnTo>
                    <a:lnTo>
                      <a:pt x="462" y="150"/>
                    </a:lnTo>
                    <a:lnTo>
                      <a:pt x="468" y="150"/>
                    </a:lnTo>
                    <a:lnTo>
                      <a:pt x="468" y="144"/>
                    </a:lnTo>
                    <a:lnTo>
                      <a:pt x="468" y="150"/>
                    </a:lnTo>
                    <a:lnTo>
                      <a:pt x="474" y="150"/>
                    </a:lnTo>
                    <a:lnTo>
                      <a:pt x="474" y="156"/>
                    </a:lnTo>
                    <a:lnTo>
                      <a:pt x="474" y="150"/>
                    </a:lnTo>
                    <a:lnTo>
                      <a:pt x="474" y="156"/>
                    </a:lnTo>
                    <a:lnTo>
                      <a:pt x="474" y="150"/>
                    </a:lnTo>
                    <a:lnTo>
                      <a:pt x="480" y="150"/>
                    </a:lnTo>
                    <a:lnTo>
                      <a:pt x="486" y="150"/>
                    </a:lnTo>
                    <a:lnTo>
                      <a:pt x="486" y="144"/>
                    </a:lnTo>
                    <a:lnTo>
                      <a:pt x="492" y="144"/>
                    </a:lnTo>
                    <a:lnTo>
                      <a:pt x="498" y="144"/>
                    </a:lnTo>
                    <a:lnTo>
                      <a:pt x="504" y="144"/>
                    </a:lnTo>
                    <a:lnTo>
                      <a:pt x="504" y="150"/>
                    </a:lnTo>
                    <a:lnTo>
                      <a:pt x="510" y="150"/>
                    </a:lnTo>
                    <a:lnTo>
                      <a:pt x="510" y="144"/>
                    </a:lnTo>
                    <a:lnTo>
                      <a:pt x="516" y="144"/>
                    </a:lnTo>
                    <a:lnTo>
                      <a:pt x="522" y="144"/>
                    </a:lnTo>
                    <a:lnTo>
                      <a:pt x="522" y="138"/>
                    </a:lnTo>
                    <a:lnTo>
                      <a:pt x="528" y="138"/>
                    </a:lnTo>
                    <a:lnTo>
                      <a:pt x="522" y="138"/>
                    </a:lnTo>
                    <a:lnTo>
                      <a:pt x="528" y="138"/>
                    </a:lnTo>
                    <a:lnTo>
                      <a:pt x="522" y="138"/>
                    </a:lnTo>
                    <a:lnTo>
                      <a:pt x="528" y="138"/>
                    </a:lnTo>
                    <a:lnTo>
                      <a:pt x="534" y="138"/>
                    </a:lnTo>
                    <a:lnTo>
                      <a:pt x="534" y="144"/>
                    </a:lnTo>
                    <a:lnTo>
                      <a:pt x="528" y="144"/>
                    </a:lnTo>
                    <a:lnTo>
                      <a:pt x="534" y="144"/>
                    </a:lnTo>
                    <a:lnTo>
                      <a:pt x="534" y="138"/>
                    </a:lnTo>
                    <a:lnTo>
                      <a:pt x="534" y="132"/>
                    </a:lnTo>
                    <a:lnTo>
                      <a:pt x="540" y="132"/>
                    </a:lnTo>
                    <a:lnTo>
                      <a:pt x="540" y="138"/>
                    </a:lnTo>
                    <a:lnTo>
                      <a:pt x="534" y="138"/>
                    </a:lnTo>
                    <a:lnTo>
                      <a:pt x="540" y="138"/>
                    </a:lnTo>
                    <a:lnTo>
                      <a:pt x="540" y="144"/>
                    </a:lnTo>
                    <a:lnTo>
                      <a:pt x="540" y="138"/>
                    </a:lnTo>
                    <a:lnTo>
                      <a:pt x="546" y="144"/>
                    </a:lnTo>
                    <a:lnTo>
                      <a:pt x="546" y="150"/>
                    </a:lnTo>
                    <a:lnTo>
                      <a:pt x="552" y="150"/>
                    </a:lnTo>
                    <a:lnTo>
                      <a:pt x="558" y="150"/>
                    </a:lnTo>
                    <a:lnTo>
                      <a:pt x="558" y="144"/>
                    </a:lnTo>
                    <a:lnTo>
                      <a:pt x="564" y="144"/>
                    </a:lnTo>
                    <a:lnTo>
                      <a:pt x="564" y="138"/>
                    </a:lnTo>
                    <a:lnTo>
                      <a:pt x="570" y="138"/>
                    </a:lnTo>
                    <a:lnTo>
                      <a:pt x="564" y="138"/>
                    </a:lnTo>
                    <a:lnTo>
                      <a:pt x="570" y="132"/>
                    </a:lnTo>
                    <a:lnTo>
                      <a:pt x="570" y="126"/>
                    </a:lnTo>
                    <a:lnTo>
                      <a:pt x="576" y="126"/>
                    </a:lnTo>
                    <a:lnTo>
                      <a:pt x="576" y="132"/>
                    </a:lnTo>
                    <a:lnTo>
                      <a:pt x="576" y="138"/>
                    </a:lnTo>
                    <a:lnTo>
                      <a:pt x="582" y="138"/>
                    </a:lnTo>
                    <a:lnTo>
                      <a:pt x="582" y="144"/>
                    </a:lnTo>
                    <a:lnTo>
                      <a:pt x="588" y="144"/>
                    </a:lnTo>
                    <a:lnTo>
                      <a:pt x="588" y="150"/>
                    </a:lnTo>
                    <a:lnTo>
                      <a:pt x="582" y="156"/>
                    </a:lnTo>
                    <a:lnTo>
                      <a:pt x="576" y="156"/>
                    </a:lnTo>
                    <a:lnTo>
                      <a:pt x="576" y="162"/>
                    </a:lnTo>
                    <a:lnTo>
                      <a:pt x="570" y="162"/>
                    </a:lnTo>
                    <a:lnTo>
                      <a:pt x="576" y="162"/>
                    </a:lnTo>
                    <a:lnTo>
                      <a:pt x="570" y="162"/>
                    </a:lnTo>
                    <a:lnTo>
                      <a:pt x="570" y="168"/>
                    </a:lnTo>
                    <a:lnTo>
                      <a:pt x="570" y="162"/>
                    </a:lnTo>
                    <a:lnTo>
                      <a:pt x="570" y="168"/>
                    </a:lnTo>
                    <a:lnTo>
                      <a:pt x="570" y="162"/>
                    </a:lnTo>
                    <a:lnTo>
                      <a:pt x="564" y="162"/>
                    </a:lnTo>
                    <a:lnTo>
                      <a:pt x="564" y="168"/>
                    </a:lnTo>
                    <a:lnTo>
                      <a:pt x="558" y="168"/>
                    </a:lnTo>
                    <a:lnTo>
                      <a:pt x="558" y="174"/>
                    </a:lnTo>
                    <a:lnTo>
                      <a:pt x="552" y="174"/>
                    </a:lnTo>
                    <a:lnTo>
                      <a:pt x="552" y="180"/>
                    </a:lnTo>
                    <a:lnTo>
                      <a:pt x="552" y="174"/>
                    </a:lnTo>
                    <a:lnTo>
                      <a:pt x="552" y="180"/>
                    </a:lnTo>
                    <a:lnTo>
                      <a:pt x="546" y="180"/>
                    </a:lnTo>
                    <a:lnTo>
                      <a:pt x="546" y="186"/>
                    </a:lnTo>
                    <a:lnTo>
                      <a:pt x="552" y="186"/>
                    </a:lnTo>
                    <a:lnTo>
                      <a:pt x="552" y="192"/>
                    </a:lnTo>
                    <a:lnTo>
                      <a:pt x="546" y="192"/>
                    </a:lnTo>
                    <a:lnTo>
                      <a:pt x="540" y="192"/>
                    </a:lnTo>
                    <a:lnTo>
                      <a:pt x="540" y="198"/>
                    </a:lnTo>
                    <a:lnTo>
                      <a:pt x="534" y="198"/>
                    </a:lnTo>
                    <a:lnTo>
                      <a:pt x="534" y="204"/>
                    </a:lnTo>
                    <a:lnTo>
                      <a:pt x="534" y="210"/>
                    </a:lnTo>
                    <a:lnTo>
                      <a:pt x="534" y="216"/>
                    </a:lnTo>
                    <a:lnTo>
                      <a:pt x="540" y="216"/>
                    </a:lnTo>
                    <a:lnTo>
                      <a:pt x="540" y="222"/>
                    </a:lnTo>
                    <a:lnTo>
                      <a:pt x="546" y="222"/>
                    </a:lnTo>
                    <a:lnTo>
                      <a:pt x="546" y="228"/>
                    </a:lnTo>
                    <a:lnTo>
                      <a:pt x="540" y="228"/>
                    </a:lnTo>
                    <a:lnTo>
                      <a:pt x="546" y="228"/>
                    </a:lnTo>
                    <a:lnTo>
                      <a:pt x="558" y="234"/>
                    </a:lnTo>
                    <a:lnTo>
                      <a:pt x="558" y="240"/>
                    </a:lnTo>
                    <a:lnTo>
                      <a:pt x="564" y="240"/>
                    </a:lnTo>
                    <a:lnTo>
                      <a:pt x="564" y="246"/>
                    </a:lnTo>
                    <a:lnTo>
                      <a:pt x="558" y="246"/>
                    </a:lnTo>
                    <a:lnTo>
                      <a:pt x="558" y="252"/>
                    </a:lnTo>
                    <a:lnTo>
                      <a:pt x="558" y="258"/>
                    </a:lnTo>
                    <a:lnTo>
                      <a:pt x="564" y="258"/>
                    </a:lnTo>
                    <a:lnTo>
                      <a:pt x="564" y="264"/>
                    </a:lnTo>
                    <a:lnTo>
                      <a:pt x="558" y="264"/>
                    </a:lnTo>
                    <a:lnTo>
                      <a:pt x="552" y="264"/>
                    </a:lnTo>
                    <a:lnTo>
                      <a:pt x="552" y="258"/>
                    </a:lnTo>
                    <a:lnTo>
                      <a:pt x="546" y="258"/>
                    </a:lnTo>
                    <a:lnTo>
                      <a:pt x="546" y="264"/>
                    </a:lnTo>
                    <a:lnTo>
                      <a:pt x="540" y="264"/>
                    </a:lnTo>
                    <a:lnTo>
                      <a:pt x="546" y="264"/>
                    </a:lnTo>
                    <a:lnTo>
                      <a:pt x="540" y="264"/>
                    </a:lnTo>
                    <a:lnTo>
                      <a:pt x="540" y="270"/>
                    </a:lnTo>
                    <a:lnTo>
                      <a:pt x="540" y="264"/>
                    </a:lnTo>
                    <a:lnTo>
                      <a:pt x="540" y="270"/>
                    </a:lnTo>
                    <a:lnTo>
                      <a:pt x="540" y="264"/>
                    </a:lnTo>
                    <a:lnTo>
                      <a:pt x="540" y="270"/>
                    </a:lnTo>
                    <a:lnTo>
                      <a:pt x="540" y="276"/>
                    </a:lnTo>
                    <a:lnTo>
                      <a:pt x="534" y="276"/>
                    </a:lnTo>
                    <a:lnTo>
                      <a:pt x="534" y="282"/>
                    </a:lnTo>
                    <a:lnTo>
                      <a:pt x="528" y="276"/>
                    </a:lnTo>
                    <a:lnTo>
                      <a:pt x="528" y="282"/>
                    </a:lnTo>
                    <a:lnTo>
                      <a:pt x="528" y="288"/>
                    </a:lnTo>
                    <a:lnTo>
                      <a:pt x="528" y="294"/>
                    </a:lnTo>
                    <a:lnTo>
                      <a:pt x="534" y="294"/>
                    </a:lnTo>
                    <a:lnTo>
                      <a:pt x="534" y="300"/>
                    </a:lnTo>
                    <a:lnTo>
                      <a:pt x="540" y="300"/>
                    </a:lnTo>
                    <a:lnTo>
                      <a:pt x="534" y="300"/>
                    </a:lnTo>
                    <a:lnTo>
                      <a:pt x="528" y="300"/>
                    </a:lnTo>
                    <a:lnTo>
                      <a:pt x="522" y="294"/>
                    </a:lnTo>
                    <a:lnTo>
                      <a:pt x="516" y="300"/>
                    </a:lnTo>
                    <a:lnTo>
                      <a:pt x="516" y="294"/>
                    </a:lnTo>
                    <a:lnTo>
                      <a:pt x="510" y="294"/>
                    </a:lnTo>
                    <a:lnTo>
                      <a:pt x="504" y="288"/>
                    </a:lnTo>
                    <a:lnTo>
                      <a:pt x="504" y="282"/>
                    </a:lnTo>
                    <a:lnTo>
                      <a:pt x="498" y="282"/>
                    </a:lnTo>
                    <a:lnTo>
                      <a:pt x="498" y="288"/>
                    </a:lnTo>
                    <a:lnTo>
                      <a:pt x="498" y="294"/>
                    </a:lnTo>
                    <a:lnTo>
                      <a:pt x="492" y="300"/>
                    </a:lnTo>
                    <a:lnTo>
                      <a:pt x="492" y="306"/>
                    </a:lnTo>
                    <a:lnTo>
                      <a:pt x="486" y="306"/>
                    </a:lnTo>
                    <a:lnTo>
                      <a:pt x="480" y="306"/>
                    </a:lnTo>
                    <a:lnTo>
                      <a:pt x="474" y="306"/>
                    </a:lnTo>
                    <a:lnTo>
                      <a:pt x="474" y="312"/>
                    </a:lnTo>
                    <a:lnTo>
                      <a:pt x="474" y="318"/>
                    </a:lnTo>
                    <a:lnTo>
                      <a:pt x="468" y="318"/>
                    </a:lnTo>
                    <a:lnTo>
                      <a:pt x="468" y="324"/>
                    </a:lnTo>
                    <a:lnTo>
                      <a:pt x="462" y="324"/>
                    </a:lnTo>
                    <a:lnTo>
                      <a:pt x="456" y="324"/>
                    </a:lnTo>
                    <a:lnTo>
                      <a:pt x="456" y="330"/>
                    </a:lnTo>
                    <a:lnTo>
                      <a:pt x="456" y="336"/>
                    </a:lnTo>
                    <a:lnTo>
                      <a:pt x="456" y="342"/>
                    </a:lnTo>
                    <a:lnTo>
                      <a:pt x="456" y="348"/>
                    </a:lnTo>
                    <a:lnTo>
                      <a:pt x="456" y="354"/>
                    </a:lnTo>
                    <a:lnTo>
                      <a:pt x="450" y="354"/>
                    </a:lnTo>
                    <a:lnTo>
                      <a:pt x="444" y="354"/>
                    </a:lnTo>
                    <a:lnTo>
                      <a:pt x="444" y="360"/>
                    </a:lnTo>
                    <a:lnTo>
                      <a:pt x="444" y="366"/>
                    </a:lnTo>
                    <a:lnTo>
                      <a:pt x="444" y="372"/>
                    </a:lnTo>
                    <a:lnTo>
                      <a:pt x="444" y="378"/>
                    </a:lnTo>
                    <a:lnTo>
                      <a:pt x="444" y="384"/>
                    </a:lnTo>
                    <a:lnTo>
                      <a:pt x="444" y="390"/>
                    </a:lnTo>
                    <a:lnTo>
                      <a:pt x="438" y="384"/>
                    </a:lnTo>
                    <a:lnTo>
                      <a:pt x="432" y="384"/>
                    </a:lnTo>
                    <a:lnTo>
                      <a:pt x="426" y="384"/>
                    </a:lnTo>
                    <a:lnTo>
                      <a:pt x="426" y="390"/>
                    </a:lnTo>
                    <a:lnTo>
                      <a:pt x="426" y="396"/>
                    </a:lnTo>
                    <a:lnTo>
                      <a:pt x="420" y="390"/>
                    </a:lnTo>
                    <a:lnTo>
                      <a:pt x="420" y="396"/>
                    </a:lnTo>
                    <a:lnTo>
                      <a:pt x="420" y="390"/>
                    </a:lnTo>
                    <a:lnTo>
                      <a:pt x="414" y="390"/>
                    </a:lnTo>
                    <a:lnTo>
                      <a:pt x="414" y="384"/>
                    </a:lnTo>
                    <a:lnTo>
                      <a:pt x="408" y="384"/>
                    </a:lnTo>
                    <a:lnTo>
                      <a:pt x="408" y="390"/>
                    </a:lnTo>
                    <a:lnTo>
                      <a:pt x="402" y="390"/>
                    </a:lnTo>
                    <a:lnTo>
                      <a:pt x="396" y="390"/>
                    </a:lnTo>
                    <a:lnTo>
                      <a:pt x="390" y="390"/>
                    </a:lnTo>
                    <a:lnTo>
                      <a:pt x="384" y="390"/>
                    </a:lnTo>
                    <a:lnTo>
                      <a:pt x="384" y="396"/>
                    </a:lnTo>
                    <a:lnTo>
                      <a:pt x="378" y="396"/>
                    </a:lnTo>
                    <a:lnTo>
                      <a:pt x="378" y="402"/>
                    </a:lnTo>
                    <a:lnTo>
                      <a:pt x="378" y="408"/>
                    </a:lnTo>
                    <a:lnTo>
                      <a:pt x="372" y="414"/>
                    </a:lnTo>
                    <a:lnTo>
                      <a:pt x="372" y="420"/>
                    </a:lnTo>
                    <a:lnTo>
                      <a:pt x="366" y="420"/>
                    </a:lnTo>
                    <a:lnTo>
                      <a:pt x="366" y="414"/>
                    </a:lnTo>
                    <a:lnTo>
                      <a:pt x="366" y="420"/>
                    </a:lnTo>
                    <a:lnTo>
                      <a:pt x="366" y="414"/>
                    </a:lnTo>
                    <a:lnTo>
                      <a:pt x="360" y="414"/>
                    </a:lnTo>
                    <a:lnTo>
                      <a:pt x="360" y="408"/>
                    </a:lnTo>
                    <a:lnTo>
                      <a:pt x="354" y="408"/>
                    </a:lnTo>
                    <a:lnTo>
                      <a:pt x="348" y="408"/>
                    </a:lnTo>
                    <a:lnTo>
                      <a:pt x="348" y="402"/>
                    </a:lnTo>
                    <a:lnTo>
                      <a:pt x="354" y="402"/>
                    </a:lnTo>
                    <a:lnTo>
                      <a:pt x="354" y="396"/>
                    </a:lnTo>
                    <a:lnTo>
                      <a:pt x="354" y="390"/>
                    </a:lnTo>
                    <a:lnTo>
                      <a:pt x="348" y="390"/>
                    </a:lnTo>
                    <a:lnTo>
                      <a:pt x="342" y="384"/>
                    </a:lnTo>
                    <a:lnTo>
                      <a:pt x="342" y="390"/>
                    </a:lnTo>
                    <a:lnTo>
                      <a:pt x="336" y="390"/>
                    </a:lnTo>
                    <a:lnTo>
                      <a:pt x="330" y="390"/>
                    </a:lnTo>
                    <a:lnTo>
                      <a:pt x="330" y="384"/>
                    </a:lnTo>
                    <a:lnTo>
                      <a:pt x="330" y="378"/>
                    </a:lnTo>
                    <a:lnTo>
                      <a:pt x="336" y="378"/>
                    </a:lnTo>
                    <a:lnTo>
                      <a:pt x="330" y="378"/>
                    </a:lnTo>
                    <a:lnTo>
                      <a:pt x="330" y="372"/>
                    </a:lnTo>
                    <a:lnTo>
                      <a:pt x="324" y="372"/>
                    </a:lnTo>
                    <a:lnTo>
                      <a:pt x="324" y="366"/>
                    </a:lnTo>
                    <a:lnTo>
                      <a:pt x="324" y="372"/>
                    </a:lnTo>
                    <a:lnTo>
                      <a:pt x="324" y="366"/>
                    </a:lnTo>
                    <a:lnTo>
                      <a:pt x="318" y="366"/>
                    </a:lnTo>
                    <a:lnTo>
                      <a:pt x="312" y="366"/>
                    </a:lnTo>
                    <a:lnTo>
                      <a:pt x="312" y="372"/>
                    </a:lnTo>
                    <a:lnTo>
                      <a:pt x="306" y="372"/>
                    </a:lnTo>
                    <a:lnTo>
                      <a:pt x="306" y="366"/>
                    </a:lnTo>
                    <a:lnTo>
                      <a:pt x="306" y="360"/>
                    </a:lnTo>
                    <a:lnTo>
                      <a:pt x="300" y="360"/>
                    </a:lnTo>
                    <a:lnTo>
                      <a:pt x="294" y="360"/>
                    </a:lnTo>
                    <a:lnTo>
                      <a:pt x="288" y="360"/>
                    </a:lnTo>
                    <a:lnTo>
                      <a:pt x="282" y="360"/>
                    </a:lnTo>
                    <a:lnTo>
                      <a:pt x="282" y="366"/>
                    </a:lnTo>
                    <a:lnTo>
                      <a:pt x="282" y="372"/>
                    </a:lnTo>
                    <a:lnTo>
                      <a:pt x="282" y="378"/>
                    </a:lnTo>
                    <a:lnTo>
                      <a:pt x="276" y="378"/>
                    </a:lnTo>
                    <a:lnTo>
                      <a:pt x="276" y="384"/>
                    </a:lnTo>
                    <a:lnTo>
                      <a:pt x="276" y="390"/>
                    </a:lnTo>
                    <a:lnTo>
                      <a:pt x="270" y="390"/>
                    </a:lnTo>
                    <a:lnTo>
                      <a:pt x="264" y="390"/>
                    </a:lnTo>
                    <a:lnTo>
                      <a:pt x="264" y="396"/>
                    </a:lnTo>
                    <a:lnTo>
                      <a:pt x="258" y="396"/>
                    </a:lnTo>
                    <a:lnTo>
                      <a:pt x="252" y="396"/>
                    </a:lnTo>
                    <a:lnTo>
                      <a:pt x="246" y="396"/>
                    </a:lnTo>
                    <a:lnTo>
                      <a:pt x="240" y="396"/>
                    </a:lnTo>
                    <a:lnTo>
                      <a:pt x="234" y="396"/>
                    </a:lnTo>
                    <a:lnTo>
                      <a:pt x="234" y="402"/>
                    </a:lnTo>
                    <a:lnTo>
                      <a:pt x="228" y="402"/>
                    </a:lnTo>
                    <a:lnTo>
                      <a:pt x="228" y="408"/>
                    </a:lnTo>
                    <a:lnTo>
                      <a:pt x="222" y="408"/>
                    </a:lnTo>
                    <a:lnTo>
                      <a:pt x="216" y="408"/>
                    </a:lnTo>
                    <a:lnTo>
                      <a:pt x="216" y="414"/>
                    </a:lnTo>
                    <a:lnTo>
                      <a:pt x="210" y="414"/>
                    </a:lnTo>
                    <a:lnTo>
                      <a:pt x="204" y="414"/>
                    </a:lnTo>
                    <a:lnTo>
                      <a:pt x="198" y="414"/>
                    </a:lnTo>
                    <a:lnTo>
                      <a:pt x="198" y="420"/>
                    </a:lnTo>
                    <a:lnTo>
                      <a:pt x="192" y="420"/>
                    </a:lnTo>
                    <a:lnTo>
                      <a:pt x="186" y="420"/>
                    </a:lnTo>
                    <a:lnTo>
                      <a:pt x="186" y="414"/>
                    </a:lnTo>
                    <a:lnTo>
                      <a:pt x="186" y="408"/>
                    </a:lnTo>
                    <a:lnTo>
                      <a:pt x="180" y="408"/>
                    </a:lnTo>
                    <a:lnTo>
                      <a:pt x="180" y="402"/>
                    </a:lnTo>
                    <a:lnTo>
                      <a:pt x="180" y="396"/>
                    </a:lnTo>
                    <a:lnTo>
                      <a:pt x="174" y="396"/>
                    </a:lnTo>
                    <a:lnTo>
                      <a:pt x="174" y="402"/>
                    </a:lnTo>
                    <a:lnTo>
                      <a:pt x="168" y="402"/>
                    </a:lnTo>
                    <a:lnTo>
                      <a:pt x="168" y="408"/>
                    </a:lnTo>
                    <a:lnTo>
                      <a:pt x="162" y="408"/>
                    </a:lnTo>
                    <a:lnTo>
                      <a:pt x="162" y="414"/>
                    </a:lnTo>
                    <a:lnTo>
                      <a:pt x="156" y="414"/>
                    </a:lnTo>
                    <a:lnTo>
                      <a:pt x="150" y="414"/>
                    </a:lnTo>
                    <a:lnTo>
                      <a:pt x="144" y="414"/>
                    </a:lnTo>
                    <a:lnTo>
                      <a:pt x="144" y="420"/>
                    </a:lnTo>
                    <a:lnTo>
                      <a:pt x="138" y="420"/>
                    </a:lnTo>
                    <a:lnTo>
                      <a:pt x="144" y="420"/>
                    </a:lnTo>
                    <a:lnTo>
                      <a:pt x="138" y="420"/>
                    </a:lnTo>
                    <a:lnTo>
                      <a:pt x="144" y="420"/>
                    </a:lnTo>
                    <a:lnTo>
                      <a:pt x="138" y="426"/>
                    </a:lnTo>
                    <a:lnTo>
                      <a:pt x="138" y="432"/>
                    </a:lnTo>
                    <a:lnTo>
                      <a:pt x="138" y="426"/>
                    </a:lnTo>
                    <a:lnTo>
                      <a:pt x="132" y="426"/>
                    </a:lnTo>
                    <a:lnTo>
                      <a:pt x="132" y="420"/>
                    </a:lnTo>
                    <a:lnTo>
                      <a:pt x="132" y="426"/>
                    </a:lnTo>
                    <a:lnTo>
                      <a:pt x="132" y="420"/>
                    </a:lnTo>
                    <a:lnTo>
                      <a:pt x="126" y="420"/>
                    </a:lnTo>
                    <a:lnTo>
                      <a:pt x="126" y="414"/>
                    </a:lnTo>
                    <a:lnTo>
                      <a:pt x="120" y="414"/>
                    </a:lnTo>
                    <a:lnTo>
                      <a:pt x="114" y="414"/>
                    </a:lnTo>
                    <a:lnTo>
                      <a:pt x="120" y="414"/>
                    </a:lnTo>
                    <a:lnTo>
                      <a:pt x="120" y="408"/>
                    </a:lnTo>
                    <a:lnTo>
                      <a:pt x="114" y="408"/>
                    </a:lnTo>
                    <a:lnTo>
                      <a:pt x="114" y="402"/>
                    </a:lnTo>
                    <a:lnTo>
                      <a:pt x="120" y="402"/>
                    </a:lnTo>
                    <a:lnTo>
                      <a:pt x="114" y="402"/>
                    </a:lnTo>
                    <a:lnTo>
                      <a:pt x="114" y="396"/>
                    </a:lnTo>
                    <a:lnTo>
                      <a:pt x="108" y="396"/>
                    </a:lnTo>
                    <a:lnTo>
                      <a:pt x="102" y="396"/>
                    </a:lnTo>
                    <a:lnTo>
                      <a:pt x="102" y="402"/>
                    </a:lnTo>
                    <a:lnTo>
                      <a:pt x="96" y="402"/>
                    </a:lnTo>
                    <a:lnTo>
                      <a:pt x="96" y="396"/>
                    </a:lnTo>
                    <a:lnTo>
                      <a:pt x="96" y="402"/>
                    </a:lnTo>
                    <a:lnTo>
                      <a:pt x="90" y="402"/>
                    </a:lnTo>
                    <a:lnTo>
                      <a:pt x="90" y="396"/>
                    </a:lnTo>
                    <a:lnTo>
                      <a:pt x="84" y="396"/>
                    </a:lnTo>
                    <a:lnTo>
                      <a:pt x="90" y="396"/>
                    </a:lnTo>
                    <a:lnTo>
                      <a:pt x="84" y="396"/>
                    </a:lnTo>
                    <a:lnTo>
                      <a:pt x="84" y="390"/>
                    </a:lnTo>
                    <a:lnTo>
                      <a:pt x="84" y="384"/>
                    </a:lnTo>
                    <a:lnTo>
                      <a:pt x="78" y="384"/>
                    </a:lnTo>
                    <a:lnTo>
                      <a:pt x="78" y="390"/>
                    </a:lnTo>
                    <a:lnTo>
                      <a:pt x="72" y="396"/>
                    </a:lnTo>
                    <a:lnTo>
                      <a:pt x="66" y="396"/>
                    </a:lnTo>
                    <a:lnTo>
                      <a:pt x="60" y="396"/>
                    </a:lnTo>
                    <a:lnTo>
                      <a:pt x="54" y="396"/>
                    </a:lnTo>
                    <a:lnTo>
                      <a:pt x="54" y="402"/>
                    </a:lnTo>
                    <a:lnTo>
                      <a:pt x="48" y="402"/>
                    </a:lnTo>
                    <a:lnTo>
                      <a:pt x="42" y="402"/>
                    </a:lnTo>
                    <a:lnTo>
                      <a:pt x="36" y="402"/>
                    </a:lnTo>
                    <a:lnTo>
                      <a:pt x="30" y="402"/>
                    </a:lnTo>
                    <a:lnTo>
                      <a:pt x="24" y="396"/>
                    </a:lnTo>
                    <a:lnTo>
                      <a:pt x="18" y="396"/>
                    </a:lnTo>
                    <a:lnTo>
                      <a:pt x="24" y="396"/>
                    </a:lnTo>
                    <a:lnTo>
                      <a:pt x="24" y="390"/>
                    </a:lnTo>
                    <a:lnTo>
                      <a:pt x="24" y="384"/>
                    </a:lnTo>
                    <a:lnTo>
                      <a:pt x="18" y="384"/>
                    </a:lnTo>
                    <a:lnTo>
                      <a:pt x="18" y="378"/>
                    </a:lnTo>
                    <a:lnTo>
                      <a:pt x="18" y="372"/>
                    </a:lnTo>
                    <a:lnTo>
                      <a:pt x="12" y="372"/>
                    </a:lnTo>
                    <a:lnTo>
                      <a:pt x="12" y="366"/>
                    </a:lnTo>
                    <a:lnTo>
                      <a:pt x="6" y="366"/>
                    </a:lnTo>
                    <a:lnTo>
                      <a:pt x="6" y="360"/>
                    </a:lnTo>
                    <a:lnTo>
                      <a:pt x="6" y="354"/>
                    </a:lnTo>
                    <a:lnTo>
                      <a:pt x="0" y="354"/>
                    </a:lnTo>
                    <a:lnTo>
                      <a:pt x="0" y="348"/>
                    </a:lnTo>
                    <a:lnTo>
                      <a:pt x="0" y="342"/>
                    </a:lnTo>
                    <a:lnTo>
                      <a:pt x="0" y="336"/>
                    </a:lnTo>
                    <a:lnTo>
                      <a:pt x="0" y="330"/>
                    </a:lnTo>
                    <a:lnTo>
                      <a:pt x="0" y="324"/>
                    </a:lnTo>
                    <a:lnTo>
                      <a:pt x="0" y="318"/>
                    </a:lnTo>
                    <a:lnTo>
                      <a:pt x="0" y="324"/>
                    </a:lnTo>
                    <a:lnTo>
                      <a:pt x="0" y="318"/>
                    </a:lnTo>
                    <a:lnTo>
                      <a:pt x="0" y="312"/>
                    </a:lnTo>
                    <a:lnTo>
                      <a:pt x="6" y="312"/>
                    </a:lnTo>
                    <a:lnTo>
                      <a:pt x="6" y="306"/>
                    </a:lnTo>
                    <a:lnTo>
                      <a:pt x="6" y="300"/>
                    </a:lnTo>
                    <a:lnTo>
                      <a:pt x="6" y="306"/>
                    </a:lnTo>
                    <a:lnTo>
                      <a:pt x="12" y="306"/>
                    </a:lnTo>
                    <a:lnTo>
                      <a:pt x="12" y="300"/>
                    </a:lnTo>
                    <a:lnTo>
                      <a:pt x="12" y="306"/>
                    </a:lnTo>
                    <a:lnTo>
                      <a:pt x="12" y="300"/>
                    </a:lnTo>
                    <a:lnTo>
                      <a:pt x="18" y="300"/>
                    </a:lnTo>
                    <a:lnTo>
                      <a:pt x="24" y="300"/>
                    </a:lnTo>
                    <a:lnTo>
                      <a:pt x="24" y="294"/>
                    </a:lnTo>
                    <a:lnTo>
                      <a:pt x="30" y="294"/>
                    </a:lnTo>
                    <a:lnTo>
                      <a:pt x="24" y="294"/>
                    </a:lnTo>
                    <a:lnTo>
                      <a:pt x="30" y="294"/>
                    </a:lnTo>
                    <a:lnTo>
                      <a:pt x="36" y="294"/>
                    </a:lnTo>
                    <a:lnTo>
                      <a:pt x="36" y="288"/>
                    </a:lnTo>
                    <a:lnTo>
                      <a:pt x="42" y="288"/>
                    </a:lnTo>
                    <a:lnTo>
                      <a:pt x="42" y="282"/>
                    </a:lnTo>
                    <a:lnTo>
                      <a:pt x="48" y="282"/>
                    </a:lnTo>
                    <a:lnTo>
                      <a:pt x="54" y="282"/>
                    </a:lnTo>
                    <a:lnTo>
                      <a:pt x="54" y="276"/>
                    </a:lnTo>
                    <a:lnTo>
                      <a:pt x="60" y="276"/>
                    </a:lnTo>
                    <a:lnTo>
                      <a:pt x="54" y="276"/>
                    </a:lnTo>
                    <a:lnTo>
                      <a:pt x="60" y="276"/>
                    </a:lnTo>
                    <a:lnTo>
                      <a:pt x="60" y="270"/>
                    </a:lnTo>
                    <a:lnTo>
                      <a:pt x="66" y="270"/>
                    </a:lnTo>
                    <a:lnTo>
                      <a:pt x="66" y="264"/>
                    </a:lnTo>
                    <a:lnTo>
                      <a:pt x="72" y="264"/>
                    </a:lnTo>
                    <a:lnTo>
                      <a:pt x="72" y="258"/>
                    </a:lnTo>
                    <a:lnTo>
                      <a:pt x="78" y="258"/>
                    </a:lnTo>
                    <a:lnTo>
                      <a:pt x="78" y="252"/>
                    </a:lnTo>
                    <a:lnTo>
                      <a:pt x="84" y="252"/>
                    </a:lnTo>
                    <a:lnTo>
                      <a:pt x="90" y="252"/>
                    </a:lnTo>
                    <a:lnTo>
                      <a:pt x="90" y="246"/>
                    </a:lnTo>
                    <a:lnTo>
                      <a:pt x="90" y="240"/>
                    </a:lnTo>
                    <a:lnTo>
                      <a:pt x="96" y="240"/>
                    </a:lnTo>
                    <a:lnTo>
                      <a:pt x="102" y="240"/>
                    </a:lnTo>
                    <a:lnTo>
                      <a:pt x="108" y="246"/>
                    </a:lnTo>
                    <a:lnTo>
                      <a:pt x="108" y="240"/>
                    </a:lnTo>
                    <a:lnTo>
                      <a:pt x="114" y="240"/>
                    </a:lnTo>
                    <a:lnTo>
                      <a:pt x="120" y="240"/>
                    </a:lnTo>
                    <a:lnTo>
                      <a:pt x="126" y="240"/>
                    </a:lnTo>
                    <a:lnTo>
                      <a:pt x="132" y="240"/>
                    </a:lnTo>
                    <a:lnTo>
                      <a:pt x="132" y="246"/>
                    </a:lnTo>
                    <a:lnTo>
                      <a:pt x="138" y="252"/>
                    </a:lnTo>
                    <a:lnTo>
                      <a:pt x="138" y="246"/>
                    </a:lnTo>
                    <a:lnTo>
                      <a:pt x="144" y="252"/>
                    </a:lnTo>
                    <a:lnTo>
                      <a:pt x="144" y="246"/>
                    </a:lnTo>
                    <a:lnTo>
                      <a:pt x="150" y="246"/>
                    </a:lnTo>
                    <a:lnTo>
                      <a:pt x="150" y="240"/>
                    </a:lnTo>
                    <a:lnTo>
                      <a:pt x="156" y="240"/>
                    </a:lnTo>
                    <a:lnTo>
                      <a:pt x="162" y="240"/>
                    </a:lnTo>
                    <a:lnTo>
                      <a:pt x="156" y="240"/>
                    </a:lnTo>
                    <a:lnTo>
                      <a:pt x="156" y="234"/>
                    </a:lnTo>
                    <a:lnTo>
                      <a:pt x="150" y="234"/>
                    </a:lnTo>
                    <a:lnTo>
                      <a:pt x="150" y="228"/>
                    </a:lnTo>
                    <a:lnTo>
                      <a:pt x="144" y="228"/>
                    </a:lnTo>
                    <a:lnTo>
                      <a:pt x="144" y="222"/>
                    </a:lnTo>
                    <a:lnTo>
                      <a:pt x="138" y="222"/>
                    </a:lnTo>
                    <a:lnTo>
                      <a:pt x="132" y="222"/>
                    </a:lnTo>
                    <a:lnTo>
                      <a:pt x="132" y="216"/>
                    </a:lnTo>
                    <a:lnTo>
                      <a:pt x="126" y="210"/>
                    </a:lnTo>
                    <a:lnTo>
                      <a:pt x="120" y="210"/>
                    </a:lnTo>
                    <a:lnTo>
                      <a:pt x="114" y="210"/>
                    </a:lnTo>
                    <a:lnTo>
                      <a:pt x="108" y="210"/>
                    </a:lnTo>
                    <a:lnTo>
                      <a:pt x="102" y="204"/>
                    </a:lnTo>
                    <a:lnTo>
                      <a:pt x="96" y="198"/>
                    </a:lnTo>
                    <a:lnTo>
                      <a:pt x="96" y="192"/>
                    </a:lnTo>
                    <a:lnTo>
                      <a:pt x="90" y="192"/>
                    </a:lnTo>
                    <a:lnTo>
                      <a:pt x="84" y="192"/>
                    </a:lnTo>
                    <a:lnTo>
                      <a:pt x="84" y="186"/>
                    </a:lnTo>
                    <a:lnTo>
                      <a:pt x="84" y="180"/>
                    </a:lnTo>
                    <a:lnTo>
                      <a:pt x="78" y="180"/>
                    </a:lnTo>
                    <a:lnTo>
                      <a:pt x="84" y="180"/>
                    </a:lnTo>
                    <a:lnTo>
                      <a:pt x="84" y="174"/>
                    </a:lnTo>
                    <a:lnTo>
                      <a:pt x="78" y="174"/>
                    </a:lnTo>
                    <a:lnTo>
                      <a:pt x="84" y="174"/>
                    </a:lnTo>
                    <a:lnTo>
                      <a:pt x="90" y="174"/>
                    </a:lnTo>
                    <a:lnTo>
                      <a:pt x="96" y="174"/>
                    </a:lnTo>
                    <a:lnTo>
                      <a:pt x="96" y="168"/>
                    </a:lnTo>
                    <a:lnTo>
                      <a:pt x="90" y="168"/>
                    </a:lnTo>
                    <a:lnTo>
                      <a:pt x="90" y="162"/>
                    </a:lnTo>
                    <a:lnTo>
                      <a:pt x="96" y="162"/>
                    </a:lnTo>
                    <a:lnTo>
                      <a:pt x="90" y="162"/>
                    </a:lnTo>
                    <a:lnTo>
                      <a:pt x="90" y="156"/>
                    </a:lnTo>
                    <a:lnTo>
                      <a:pt x="96" y="156"/>
                    </a:lnTo>
                    <a:lnTo>
                      <a:pt x="96" y="150"/>
                    </a:lnTo>
                    <a:lnTo>
                      <a:pt x="90" y="150"/>
                    </a:lnTo>
                    <a:lnTo>
                      <a:pt x="84" y="150"/>
                    </a:lnTo>
                    <a:lnTo>
                      <a:pt x="84" y="144"/>
                    </a:lnTo>
                    <a:lnTo>
                      <a:pt x="78" y="144"/>
                    </a:lnTo>
                    <a:lnTo>
                      <a:pt x="84" y="144"/>
                    </a:lnTo>
                    <a:lnTo>
                      <a:pt x="78" y="144"/>
                    </a:lnTo>
                    <a:lnTo>
                      <a:pt x="72" y="144"/>
                    </a:lnTo>
                    <a:lnTo>
                      <a:pt x="66" y="144"/>
                    </a:lnTo>
                    <a:lnTo>
                      <a:pt x="66" y="138"/>
                    </a:lnTo>
                    <a:lnTo>
                      <a:pt x="72" y="138"/>
                    </a:lnTo>
                    <a:lnTo>
                      <a:pt x="72" y="132"/>
                    </a:lnTo>
                    <a:lnTo>
                      <a:pt x="78" y="132"/>
                    </a:lnTo>
                    <a:lnTo>
                      <a:pt x="84" y="132"/>
                    </a:lnTo>
                    <a:lnTo>
                      <a:pt x="84" y="126"/>
                    </a:lnTo>
                    <a:lnTo>
                      <a:pt x="90" y="126"/>
                    </a:lnTo>
                    <a:lnTo>
                      <a:pt x="90" y="120"/>
                    </a:lnTo>
                    <a:lnTo>
                      <a:pt x="96" y="120"/>
                    </a:lnTo>
                    <a:lnTo>
                      <a:pt x="102" y="120"/>
                    </a:lnTo>
                    <a:lnTo>
                      <a:pt x="108" y="126"/>
                    </a:lnTo>
                    <a:lnTo>
                      <a:pt x="114" y="126"/>
                    </a:lnTo>
                    <a:lnTo>
                      <a:pt x="114" y="120"/>
                    </a:lnTo>
                    <a:lnTo>
                      <a:pt x="120" y="120"/>
                    </a:lnTo>
                    <a:lnTo>
                      <a:pt x="126" y="120"/>
                    </a:lnTo>
                    <a:lnTo>
                      <a:pt x="126" y="126"/>
                    </a:lnTo>
                    <a:lnTo>
                      <a:pt x="126" y="120"/>
                    </a:lnTo>
                    <a:lnTo>
                      <a:pt x="126" y="114"/>
                    </a:lnTo>
                    <a:lnTo>
                      <a:pt x="120" y="114"/>
                    </a:lnTo>
                    <a:lnTo>
                      <a:pt x="120" y="108"/>
                    </a:lnTo>
                    <a:lnTo>
                      <a:pt x="114" y="108"/>
                    </a:lnTo>
                    <a:lnTo>
                      <a:pt x="114" y="102"/>
                    </a:lnTo>
                    <a:lnTo>
                      <a:pt x="108" y="102"/>
                    </a:lnTo>
                    <a:lnTo>
                      <a:pt x="108" y="108"/>
                    </a:lnTo>
                    <a:lnTo>
                      <a:pt x="108" y="102"/>
                    </a:lnTo>
                    <a:lnTo>
                      <a:pt x="102" y="102"/>
                    </a:lnTo>
                    <a:lnTo>
                      <a:pt x="102" y="96"/>
                    </a:lnTo>
                    <a:lnTo>
                      <a:pt x="102" y="102"/>
                    </a:lnTo>
                    <a:lnTo>
                      <a:pt x="102" y="96"/>
                    </a:lnTo>
                    <a:lnTo>
                      <a:pt x="96" y="96"/>
                    </a:lnTo>
                    <a:lnTo>
                      <a:pt x="96" y="90"/>
                    </a:lnTo>
                    <a:lnTo>
                      <a:pt x="96" y="84"/>
                    </a:lnTo>
                    <a:lnTo>
                      <a:pt x="90" y="84"/>
                    </a:lnTo>
                    <a:lnTo>
                      <a:pt x="84" y="84"/>
                    </a:lnTo>
                    <a:lnTo>
                      <a:pt x="84" y="78"/>
                    </a:lnTo>
                    <a:lnTo>
                      <a:pt x="84" y="72"/>
                    </a:lnTo>
                    <a:lnTo>
                      <a:pt x="78" y="72"/>
                    </a:lnTo>
                    <a:lnTo>
                      <a:pt x="78" y="66"/>
                    </a:lnTo>
                    <a:lnTo>
                      <a:pt x="72" y="66"/>
                    </a:lnTo>
                    <a:lnTo>
                      <a:pt x="72" y="60"/>
                    </a:lnTo>
                    <a:lnTo>
                      <a:pt x="78" y="60"/>
                    </a:lnTo>
                    <a:lnTo>
                      <a:pt x="78" y="54"/>
                    </a:lnTo>
                    <a:lnTo>
                      <a:pt x="78" y="48"/>
                    </a:lnTo>
                    <a:lnTo>
                      <a:pt x="78" y="42"/>
                    </a:lnTo>
                    <a:lnTo>
                      <a:pt x="72" y="42"/>
                    </a:lnTo>
                    <a:lnTo>
                      <a:pt x="78" y="42"/>
                    </a:lnTo>
                    <a:lnTo>
                      <a:pt x="72" y="42"/>
                    </a:lnTo>
                    <a:lnTo>
                      <a:pt x="72" y="36"/>
                    </a:lnTo>
                    <a:lnTo>
                      <a:pt x="66" y="36"/>
                    </a:lnTo>
                    <a:lnTo>
                      <a:pt x="66" y="30"/>
                    </a:lnTo>
                    <a:lnTo>
                      <a:pt x="72" y="30"/>
                    </a:lnTo>
                    <a:lnTo>
                      <a:pt x="66" y="24"/>
                    </a:lnTo>
                    <a:lnTo>
                      <a:pt x="66" y="18"/>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US" sz="800" dirty="0">
                  <a:solidFill>
                    <a:srgbClr val="000000"/>
                  </a:solidFill>
                </a:endParaRPr>
              </a:p>
            </p:txBody>
          </p:sp>
          <p:sp>
            <p:nvSpPr>
              <p:cNvPr id="69" name="Freeform 80"/>
              <p:cNvSpPr>
                <a:spLocks/>
              </p:cNvSpPr>
              <p:nvPr/>
            </p:nvSpPr>
            <p:spPr bwMode="gray">
              <a:xfrm>
                <a:off x="5119999" y="2610906"/>
                <a:ext cx="138963" cy="183462"/>
              </a:xfrm>
              <a:custGeom>
                <a:avLst/>
                <a:gdLst>
                  <a:gd name="T0" fmla="*/ 0 w 108"/>
                  <a:gd name="T1" fmla="*/ 120 h 144"/>
                  <a:gd name="T2" fmla="*/ 6 w 108"/>
                  <a:gd name="T3" fmla="*/ 114 h 144"/>
                  <a:gd name="T4" fmla="*/ 0 w 108"/>
                  <a:gd name="T5" fmla="*/ 108 h 144"/>
                  <a:gd name="T6" fmla="*/ 6 w 108"/>
                  <a:gd name="T7" fmla="*/ 102 h 144"/>
                  <a:gd name="T8" fmla="*/ 6 w 108"/>
                  <a:gd name="T9" fmla="*/ 90 h 144"/>
                  <a:gd name="T10" fmla="*/ 6 w 108"/>
                  <a:gd name="T11" fmla="*/ 84 h 144"/>
                  <a:gd name="T12" fmla="*/ 6 w 108"/>
                  <a:gd name="T13" fmla="*/ 72 h 144"/>
                  <a:gd name="T14" fmla="*/ 12 w 108"/>
                  <a:gd name="T15" fmla="*/ 66 h 144"/>
                  <a:gd name="T16" fmla="*/ 18 w 108"/>
                  <a:gd name="T17" fmla="*/ 54 h 144"/>
                  <a:gd name="T18" fmla="*/ 24 w 108"/>
                  <a:gd name="T19" fmla="*/ 48 h 144"/>
                  <a:gd name="T20" fmla="*/ 18 w 108"/>
                  <a:gd name="T21" fmla="*/ 42 h 144"/>
                  <a:gd name="T22" fmla="*/ 18 w 108"/>
                  <a:gd name="T23" fmla="*/ 42 h 144"/>
                  <a:gd name="T24" fmla="*/ 12 w 108"/>
                  <a:gd name="T25" fmla="*/ 36 h 144"/>
                  <a:gd name="T26" fmla="*/ 12 w 108"/>
                  <a:gd name="T27" fmla="*/ 24 h 144"/>
                  <a:gd name="T28" fmla="*/ 18 w 108"/>
                  <a:gd name="T29" fmla="*/ 30 h 144"/>
                  <a:gd name="T30" fmla="*/ 24 w 108"/>
                  <a:gd name="T31" fmla="*/ 24 h 144"/>
                  <a:gd name="T32" fmla="*/ 24 w 108"/>
                  <a:gd name="T33" fmla="*/ 24 h 144"/>
                  <a:gd name="T34" fmla="*/ 30 w 108"/>
                  <a:gd name="T35" fmla="*/ 24 h 144"/>
                  <a:gd name="T36" fmla="*/ 42 w 108"/>
                  <a:gd name="T37" fmla="*/ 24 h 144"/>
                  <a:gd name="T38" fmla="*/ 48 w 108"/>
                  <a:gd name="T39" fmla="*/ 18 h 144"/>
                  <a:gd name="T40" fmla="*/ 54 w 108"/>
                  <a:gd name="T41" fmla="*/ 12 h 144"/>
                  <a:gd name="T42" fmla="*/ 60 w 108"/>
                  <a:gd name="T43" fmla="*/ 18 h 144"/>
                  <a:gd name="T44" fmla="*/ 66 w 108"/>
                  <a:gd name="T45" fmla="*/ 12 h 144"/>
                  <a:gd name="T46" fmla="*/ 72 w 108"/>
                  <a:gd name="T47" fmla="*/ 6 h 144"/>
                  <a:gd name="T48" fmla="*/ 72 w 108"/>
                  <a:gd name="T49" fmla="*/ 6 h 144"/>
                  <a:gd name="T50" fmla="*/ 78 w 108"/>
                  <a:gd name="T51" fmla="*/ 12 h 144"/>
                  <a:gd name="T52" fmla="*/ 78 w 108"/>
                  <a:gd name="T53" fmla="*/ 12 h 144"/>
                  <a:gd name="T54" fmla="*/ 90 w 108"/>
                  <a:gd name="T55" fmla="*/ 12 h 144"/>
                  <a:gd name="T56" fmla="*/ 96 w 108"/>
                  <a:gd name="T57" fmla="*/ 18 h 144"/>
                  <a:gd name="T58" fmla="*/ 96 w 108"/>
                  <a:gd name="T59" fmla="*/ 30 h 144"/>
                  <a:gd name="T60" fmla="*/ 102 w 108"/>
                  <a:gd name="T61" fmla="*/ 36 h 144"/>
                  <a:gd name="T62" fmla="*/ 102 w 108"/>
                  <a:gd name="T63" fmla="*/ 48 h 144"/>
                  <a:gd name="T64" fmla="*/ 102 w 108"/>
                  <a:gd name="T65" fmla="*/ 60 h 144"/>
                  <a:gd name="T66" fmla="*/ 102 w 108"/>
                  <a:gd name="T67" fmla="*/ 60 h 144"/>
                  <a:gd name="T68" fmla="*/ 102 w 108"/>
                  <a:gd name="T69" fmla="*/ 60 h 144"/>
                  <a:gd name="T70" fmla="*/ 96 w 108"/>
                  <a:gd name="T71" fmla="*/ 66 h 144"/>
                  <a:gd name="T72" fmla="*/ 90 w 108"/>
                  <a:gd name="T73" fmla="*/ 72 h 144"/>
                  <a:gd name="T74" fmla="*/ 90 w 108"/>
                  <a:gd name="T75" fmla="*/ 84 h 144"/>
                  <a:gd name="T76" fmla="*/ 90 w 108"/>
                  <a:gd name="T77" fmla="*/ 96 h 144"/>
                  <a:gd name="T78" fmla="*/ 96 w 108"/>
                  <a:gd name="T79" fmla="*/ 102 h 144"/>
                  <a:gd name="T80" fmla="*/ 102 w 108"/>
                  <a:gd name="T81" fmla="*/ 108 h 144"/>
                  <a:gd name="T82" fmla="*/ 102 w 108"/>
                  <a:gd name="T83" fmla="*/ 114 h 144"/>
                  <a:gd name="T84" fmla="*/ 96 w 108"/>
                  <a:gd name="T85" fmla="*/ 120 h 144"/>
                  <a:gd name="T86" fmla="*/ 90 w 108"/>
                  <a:gd name="T87" fmla="*/ 126 h 144"/>
                  <a:gd name="T88" fmla="*/ 84 w 108"/>
                  <a:gd name="T89" fmla="*/ 132 h 144"/>
                  <a:gd name="T90" fmla="*/ 84 w 108"/>
                  <a:gd name="T91" fmla="*/ 132 h 144"/>
                  <a:gd name="T92" fmla="*/ 72 w 108"/>
                  <a:gd name="T93" fmla="*/ 132 h 144"/>
                  <a:gd name="T94" fmla="*/ 66 w 108"/>
                  <a:gd name="T95" fmla="*/ 126 h 144"/>
                  <a:gd name="T96" fmla="*/ 66 w 108"/>
                  <a:gd name="T97" fmla="*/ 126 h 144"/>
                  <a:gd name="T98" fmla="*/ 60 w 108"/>
                  <a:gd name="T99" fmla="*/ 132 h 144"/>
                  <a:gd name="T100" fmla="*/ 54 w 108"/>
                  <a:gd name="T101" fmla="*/ 138 h 144"/>
                  <a:gd name="T102" fmla="*/ 48 w 108"/>
                  <a:gd name="T103" fmla="*/ 144 h 144"/>
                  <a:gd name="T104" fmla="*/ 42 w 108"/>
                  <a:gd name="T105" fmla="*/ 138 h 144"/>
                  <a:gd name="T106" fmla="*/ 42 w 108"/>
                  <a:gd name="T107" fmla="*/ 138 h 144"/>
                  <a:gd name="T108" fmla="*/ 30 w 108"/>
                  <a:gd name="T109" fmla="*/ 138 h 144"/>
                  <a:gd name="T110" fmla="*/ 18 w 108"/>
                  <a:gd name="T111" fmla="*/ 138 h 144"/>
                  <a:gd name="T112" fmla="*/ 6 w 108"/>
                  <a:gd name="T113" fmla="*/ 138 h 144"/>
                  <a:gd name="T114" fmla="*/ 6 w 108"/>
                  <a:gd name="T115" fmla="*/ 126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 h="144">
                    <a:moveTo>
                      <a:pt x="0" y="126"/>
                    </a:moveTo>
                    <a:lnTo>
                      <a:pt x="0" y="120"/>
                    </a:lnTo>
                    <a:lnTo>
                      <a:pt x="0" y="114"/>
                    </a:lnTo>
                    <a:lnTo>
                      <a:pt x="6" y="114"/>
                    </a:lnTo>
                    <a:lnTo>
                      <a:pt x="6" y="108"/>
                    </a:lnTo>
                    <a:lnTo>
                      <a:pt x="0" y="108"/>
                    </a:lnTo>
                    <a:lnTo>
                      <a:pt x="0" y="102"/>
                    </a:lnTo>
                    <a:lnTo>
                      <a:pt x="6" y="102"/>
                    </a:lnTo>
                    <a:lnTo>
                      <a:pt x="6" y="96"/>
                    </a:lnTo>
                    <a:lnTo>
                      <a:pt x="6" y="90"/>
                    </a:lnTo>
                    <a:lnTo>
                      <a:pt x="0" y="90"/>
                    </a:lnTo>
                    <a:lnTo>
                      <a:pt x="6" y="84"/>
                    </a:lnTo>
                    <a:lnTo>
                      <a:pt x="6" y="78"/>
                    </a:lnTo>
                    <a:lnTo>
                      <a:pt x="6" y="72"/>
                    </a:lnTo>
                    <a:lnTo>
                      <a:pt x="12" y="72"/>
                    </a:lnTo>
                    <a:lnTo>
                      <a:pt x="12" y="66"/>
                    </a:lnTo>
                    <a:lnTo>
                      <a:pt x="18" y="60"/>
                    </a:lnTo>
                    <a:lnTo>
                      <a:pt x="18" y="54"/>
                    </a:lnTo>
                    <a:lnTo>
                      <a:pt x="18" y="48"/>
                    </a:lnTo>
                    <a:lnTo>
                      <a:pt x="24" y="48"/>
                    </a:lnTo>
                    <a:lnTo>
                      <a:pt x="18" y="48"/>
                    </a:lnTo>
                    <a:lnTo>
                      <a:pt x="18" y="42"/>
                    </a:lnTo>
                    <a:lnTo>
                      <a:pt x="24" y="42"/>
                    </a:lnTo>
                    <a:lnTo>
                      <a:pt x="18" y="42"/>
                    </a:lnTo>
                    <a:lnTo>
                      <a:pt x="18" y="36"/>
                    </a:lnTo>
                    <a:lnTo>
                      <a:pt x="12" y="36"/>
                    </a:lnTo>
                    <a:lnTo>
                      <a:pt x="12" y="30"/>
                    </a:lnTo>
                    <a:lnTo>
                      <a:pt x="12" y="24"/>
                    </a:lnTo>
                    <a:lnTo>
                      <a:pt x="18" y="24"/>
                    </a:lnTo>
                    <a:lnTo>
                      <a:pt x="18" y="30"/>
                    </a:lnTo>
                    <a:lnTo>
                      <a:pt x="18" y="24"/>
                    </a:lnTo>
                    <a:lnTo>
                      <a:pt x="24" y="24"/>
                    </a:lnTo>
                    <a:lnTo>
                      <a:pt x="24" y="30"/>
                    </a:lnTo>
                    <a:lnTo>
                      <a:pt x="24" y="24"/>
                    </a:lnTo>
                    <a:lnTo>
                      <a:pt x="30" y="30"/>
                    </a:lnTo>
                    <a:lnTo>
                      <a:pt x="30" y="24"/>
                    </a:lnTo>
                    <a:lnTo>
                      <a:pt x="36" y="24"/>
                    </a:lnTo>
                    <a:lnTo>
                      <a:pt x="42" y="24"/>
                    </a:lnTo>
                    <a:lnTo>
                      <a:pt x="48" y="24"/>
                    </a:lnTo>
                    <a:lnTo>
                      <a:pt x="48" y="18"/>
                    </a:lnTo>
                    <a:lnTo>
                      <a:pt x="54" y="18"/>
                    </a:lnTo>
                    <a:lnTo>
                      <a:pt x="54" y="12"/>
                    </a:lnTo>
                    <a:lnTo>
                      <a:pt x="60" y="12"/>
                    </a:lnTo>
                    <a:lnTo>
                      <a:pt x="60" y="18"/>
                    </a:lnTo>
                    <a:lnTo>
                      <a:pt x="66" y="18"/>
                    </a:lnTo>
                    <a:lnTo>
                      <a:pt x="66" y="12"/>
                    </a:lnTo>
                    <a:lnTo>
                      <a:pt x="66" y="6"/>
                    </a:lnTo>
                    <a:lnTo>
                      <a:pt x="72" y="6"/>
                    </a:lnTo>
                    <a:lnTo>
                      <a:pt x="72" y="0"/>
                    </a:lnTo>
                    <a:lnTo>
                      <a:pt x="72" y="6"/>
                    </a:lnTo>
                    <a:lnTo>
                      <a:pt x="78" y="6"/>
                    </a:lnTo>
                    <a:lnTo>
                      <a:pt x="78" y="12"/>
                    </a:lnTo>
                    <a:lnTo>
                      <a:pt x="78" y="6"/>
                    </a:lnTo>
                    <a:lnTo>
                      <a:pt x="78" y="12"/>
                    </a:lnTo>
                    <a:lnTo>
                      <a:pt x="84" y="12"/>
                    </a:lnTo>
                    <a:lnTo>
                      <a:pt x="90" y="12"/>
                    </a:lnTo>
                    <a:lnTo>
                      <a:pt x="96" y="12"/>
                    </a:lnTo>
                    <a:lnTo>
                      <a:pt x="96" y="18"/>
                    </a:lnTo>
                    <a:lnTo>
                      <a:pt x="96" y="24"/>
                    </a:lnTo>
                    <a:lnTo>
                      <a:pt x="96" y="30"/>
                    </a:lnTo>
                    <a:lnTo>
                      <a:pt x="102" y="30"/>
                    </a:lnTo>
                    <a:lnTo>
                      <a:pt x="102" y="36"/>
                    </a:lnTo>
                    <a:lnTo>
                      <a:pt x="102" y="42"/>
                    </a:lnTo>
                    <a:lnTo>
                      <a:pt x="102" y="48"/>
                    </a:lnTo>
                    <a:lnTo>
                      <a:pt x="102" y="54"/>
                    </a:lnTo>
                    <a:lnTo>
                      <a:pt x="102" y="60"/>
                    </a:lnTo>
                    <a:lnTo>
                      <a:pt x="96" y="60"/>
                    </a:lnTo>
                    <a:lnTo>
                      <a:pt x="102" y="60"/>
                    </a:lnTo>
                    <a:lnTo>
                      <a:pt x="96" y="60"/>
                    </a:lnTo>
                    <a:lnTo>
                      <a:pt x="102" y="60"/>
                    </a:lnTo>
                    <a:lnTo>
                      <a:pt x="102" y="66"/>
                    </a:lnTo>
                    <a:lnTo>
                      <a:pt x="96" y="66"/>
                    </a:lnTo>
                    <a:lnTo>
                      <a:pt x="96" y="72"/>
                    </a:lnTo>
                    <a:lnTo>
                      <a:pt x="90" y="72"/>
                    </a:lnTo>
                    <a:lnTo>
                      <a:pt x="90" y="78"/>
                    </a:lnTo>
                    <a:lnTo>
                      <a:pt x="90" y="84"/>
                    </a:lnTo>
                    <a:lnTo>
                      <a:pt x="90" y="90"/>
                    </a:lnTo>
                    <a:lnTo>
                      <a:pt x="90" y="96"/>
                    </a:lnTo>
                    <a:lnTo>
                      <a:pt x="96" y="96"/>
                    </a:lnTo>
                    <a:lnTo>
                      <a:pt x="96" y="102"/>
                    </a:lnTo>
                    <a:lnTo>
                      <a:pt x="102" y="102"/>
                    </a:lnTo>
                    <a:lnTo>
                      <a:pt x="102" y="108"/>
                    </a:lnTo>
                    <a:lnTo>
                      <a:pt x="108" y="108"/>
                    </a:lnTo>
                    <a:lnTo>
                      <a:pt x="102" y="114"/>
                    </a:lnTo>
                    <a:lnTo>
                      <a:pt x="102" y="120"/>
                    </a:lnTo>
                    <a:lnTo>
                      <a:pt x="96" y="120"/>
                    </a:lnTo>
                    <a:lnTo>
                      <a:pt x="90" y="120"/>
                    </a:lnTo>
                    <a:lnTo>
                      <a:pt x="90" y="126"/>
                    </a:lnTo>
                    <a:lnTo>
                      <a:pt x="90" y="132"/>
                    </a:lnTo>
                    <a:lnTo>
                      <a:pt x="84" y="132"/>
                    </a:lnTo>
                    <a:lnTo>
                      <a:pt x="84" y="138"/>
                    </a:lnTo>
                    <a:lnTo>
                      <a:pt x="84" y="132"/>
                    </a:lnTo>
                    <a:lnTo>
                      <a:pt x="78" y="132"/>
                    </a:lnTo>
                    <a:lnTo>
                      <a:pt x="72" y="132"/>
                    </a:lnTo>
                    <a:lnTo>
                      <a:pt x="72" y="126"/>
                    </a:lnTo>
                    <a:lnTo>
                      <a:pt x="66" y="126"/>
                    </a:lnTo>
                    <a:lnTo>
                      <a:pt x="66" y="132"/>
                    </a:lnTo>
                    <a:lnTo>
                      <a:pt x="66" y="126"/>
                    </a:lnTo>
                    <a:lnTo>
                      <a:pt x="66" y="132"/>
                    </a:lnTo>
                    <a:lnTo>
                      <a:pt x="60" y="132"/>
                    </a:lnTo>
                    <a:lnTo>
                      <a:pt x="60" y="138"/>
                    </a:lnTo>
                    <a:lnTo>
                      <a:pt x="54" y="138"/>
                    </a:lnTo>
                    <a:lnTo>
                      <a:pt x="54" y="144"/>
                    </a:lnTo>
                    <a:lnTo>
                      <a:pt x="48" y="144"/>
                    </a:lnTo>
                    <a:lnTo>
                      <a:pt x="42" y="144"/>
                    </a:lnTo>
                    <a:lnTo>
                      <a:pt x="42" y="138"/>
                    </a:lnTo>
                    <a:lnTo>
                      <a:pt x="42" y="144"/>
                    </a:lnTo>
                    <a:lnTo>
                      <a:pt x="42" y="138"/>
                    </a:lnTo>
                    <a:lnTo>
                      <a:pt x="36" y="138"/>
                    </a:lnTo>
                    <a:lnTo>
                      <a:pt x="30" y="138"/>
                    </a:lnTo>
                    <a:lnTo>
                      <a:pt x="24" y="138"/>
                    </a:lnTo>
                    <a:lnTo>
                      <a:pt x="18" y="138"/>
                    </a:lnTo>
                    <a:lnTo>
                      <a:pt x="12" y="138"/>
                    </a:lnTo>
                    <a:lnTo>
                      <a:pt x="6" y="138"/>
                    </a:lnTo>
                    <a:lnTo>
                      <a:pt x="6" y="132"/>
                    </a:lnTo>
                    <a:lnTo>
                      <a:pt x="6" y="126"/>
                    </a:lnTo>
                    <a:lnTo>
                      <a:pt x="0" y="126"/>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US" sz="800" dirty="0">
                  <a:solidFill>
                    <a:srgbClr val="000000"/>
                  </a:solidFill>
                </a:endParaRPr>
              </a:p>
            </p:txBody>
          </p:sp>
          <p:sp>
            <p:nvSpPr>
              <p:cNvPr id="70" name="Freeform 81"/>
              <p:cNvSpPr>
                <a:spLocks/>
              </p:cNvSpPr>
              <p:nvPr/>
            </p:nvSpPr>
            <p:spPr bwMode="gray">
              <a:xfrm>
                <a:off x="3444722" y="2213408"/>
                <a:ext cx="1165746" cy="1123697"/>
              </a:xfrm>
              <a:custGeom>
                <a:avLst/>
                <a:gdLst>
                  <a:gd name="T0" fmla="*/ 414 w 906"/>
                  <a:gd name="T1" fmla="*/ 246 h 882"/>
                  <a:gd name="T2" fmla="*/ 474 w 906"/>
                  <a:gd name="T3" fmla="*/ 282 h 882"/>
                  <a:gd name="T4" fmla="*/ 546 w 906"/>
                  <a:gd name="T5" fmla="*/ 330 h 882"/>
                  <a:gd name="T6" fmla="*/ 630 w 906"/>
                  <a:gd name="T7" fmla="*/ 372 h 882"/>
                  <a:gd name="T8" fmla="*/ 726 w 906"/>
                  <a:gd name="T9" fmla="*/ 414 h 882"/>
                  <a:gd name="T10" fmla="*/ 810 w 906"/>
                  <a:gd name="T11" fmla="*/ 426 h 882"/>
                  <a:gd name="T12" fmla="*/ 846 w 906"/>
                  <a:gd name="T13" fmla="*/ 498 h 882"/>
                  <a:gd name="T14" fmla="*/ 828 w 906"/>
                  <a:gd name="T15" fmla="*/ 522 h 882"/>
                  <a:gd name="T16" fmla="*/ 840 w 906"/>
                  <a:gd name="T17" fmla="*/ 570 h 882"/>
                  <a:gd name="T18" fmla="*/ 888 w 906"/>
                  <a:gd name="T19" fmla="*/ 624 h 882"/>
                  <a:gd name="T20" fmla="*/ 834 w 906"/>
                  <a:gd name="T21" fmla="*/ 636 h 882"/>
                  <a:gd name="T22" fmla="*/ 768 w 906"/>
                  <a:gd name="T23" fmla="*/ 690 h 882"/>
                  <a:gd name="T24" fmla="*/ 744 w 906"/>
                  <a:gd name="T25" fmla="*/ 750 h 882"/>
                  <a:gd name="T26" fmla="*/ 750 w 906"/>
                  <a:gd name="T27" fmla="*/ 834 h 882"/>
                  <a:gd name="T28" fmla="*/ 696 w 906"/>
                  <a:gd name="T29" fmla="*/ 882 h 882"/>
                  <a:gd name="T30" fmla="*/ 678 w 906"/>
                  <a:gd name="T31" fmla="*/ 828 h 882"/>
                  <a:gd name="T32" fmla="*/ 678 w 906"/>
                  <a:gd name="T33" fmla="*/ 792 h 882"/>
                  <a:gd name="T34" fmla="*/ 630 w 906"/>
                  <a:gd name="T35" fmla="*/ 786 h 882"/>
                  <a:gd name="T36" fmla="*/ 612 w 906"/>
                  <a:gd name="T37" fmla="*/ 756 h 882"/>
                  <a:gd name="T38" fmla="*/ 570 w 906"/>
                  <a:gd name="T39" fmla="*/ 738 h 882"/>
                  <a:gd name="T40" fmla="*/ 522 w 906"/>
                  <a:gd name="T41" fmla="*/ 714 h 882"/>
                  <a:gd name="T42" fmla="*/ 492 w 906"/>
                  <a:gd name="T43" fmla="*/ 744 h 882"/>
                  <a:gd name="T44" fmla="*/ 444 w 906"/>
                  <a:gd name="T45" fmla="*/ 732 h 882"/>
                  <a:gd name="T46" fmla="*/ 426 w 906"/>
                  <a:gd name="T47" fmla="*/ 726 h 882"/>
                  <a:gd name="T48" fmla="*/ 396 w 906"/>
                  <a:gd name="T49" fmla="*/ 732 h 882"/>
                  <a:gd name="T50" fmla="*/ 396 w 906"/>
                  <a:gd name="T51" fmla="*/ 708 h 882"/>
                  <a:gd name="T52" fmla="*/ 336 w 906"/>
                  <a:gd name="T53" fmla="*/ 696 h 882"/>
                  <a:gd name="T54" fmla="*/ 282 w 906"/>
                  <a:gd name="T55" fmla="*/ 720 h 882"/>
                  <a:gd name="T56" fmla="*/ 258 w 906"/>
                  <a:gd name="T57" fmla="*/ 708 h 882"/>
                  <a:gd name="T58" fmla="*/ 228 w 906"/>
                  <a:gd name="T59" fmla="*/ 696 h 882"/>
                  <a:gd name="T60" fmla="*/ 210 w 906"/>
                  <a:gd name="T61" fmla="*/ 696 h 882"/>
                  <a:gd name="T62" fmla="*/ 216 w 906"/>
                  <a:gd name="T63" fmla="*/ 678 h 882"/>
                  <a:gd name="T64" fmla="*/ 198 w 906"/>
                  <a:gd name="T65" fmla="*/ 678 h 882"/>
                  <a:gd name="T66" fmla="*/ 162 w 906"/>
                  <a:gd name="T67" fmla="*/ 690 h 882"/>
                  <a:gd name="T68" fmla="*/ 198 w 906"/>
                  <a:gd name="T69" fmla="*/ 750 h 882"/>
                  <a:gd name="T70" fmla="*/ 222 w 906"/>
                  <a:gd name="T71" fmla="*/ 810 h 882"/>
                  <a:gd name="T72" fmla="*/ 174 w 906"/>
                  <a:gd name="T73" fmla="*/ 822 h 882"/>
                  <a:gd name="T74" fmla="*/ 138 w 906"/>
                  <a:gd name="T75" fmla="*/ 798 h 882"/>
                  <a:gd name="T76" fmla="*/ 150 w 906"/>
                  <a:gd name="T77" fmla="*/ 720 h 882"/>
                  <a:gd name="T78" fmla="*/ 156 w 906"/>
                  <a:gd name="T79" fmla="*/ 666 h 882"/>
                  <a:gd name="T80" fmla="*/ 198 w 906"/>
                  <a:gd name="T81" fmla="*/ 636 h 882"/>
                  <a:gd name="T82" fmla="*/ 222 w 906"/>
                  <a:gd name="T83" fmla="*/ 576 h 882"/>
                  <a:gd name="T84" fmla="*/ 234 w 906"/>
                  <a:gd name="T85" fmla="*/ 534 h 882"/>
                  <a:gd name="T86" fmla="*/ 174 w 906"/>
                  <a:gd name="T87" fmla="*/ 498 h 882"/>
                  <a:gd name="T88" fmla="*/ 114 w 906"/>
                  <a:gd name="T89" fmla="*/ 480 h 882"/>
                  <a:gd name="T90" fmla="*/ 72 w 906"/>
                  <a:gd name="T91" fmla="*/ 474 h 882"/>
                  <a:gd name="T92" fmla="*/ 36 w 906"/>
                  <a:gd name="T93" fmla="*/ 486 h 882"/>
                  <a:gd name="T94" fmla="*/ 54 w 906"/>
                  <a:gd name="T95" fmla="*/ 456 h 882"/>
                  <a:gd name="T96" fmla="*/ 24 w 906"/>
                  <a:gd name="T97" fmla="*/ 390 h 882"/>
                  <a:gd name="T98" fmla="*/ 48 w 906"/>
                  <a:gd name="T99" fmla="*/ 336 h 882"/>
                  <a:gd name="T100" fmla="*/ 42 w 906"/>
                  <a:gd name="T101" fmla="*/ 282 h 882"/>
                  <a:gd name="T102" fmla="*/ 18 w 906"/>
                  <a:gd name="T103" fmla="*/ 234 h 882"/>
                  <a:gd name="T104" fmla="*/ 0 w 906"/>
                  <a:gd name="T105" fmla="*/ 162 h 882"/>
                  <a:gd name="T106" fmla="*/ 6 w 906"/>
                  <a:gd name="T107" fmla="*/ 90 h 882"/>
                  <a:gd name="T108" fmla="*/ 54 w 906"/>
                  <a:gd name="T109" fmla="*/ 12 h 882"/>
                  <a:gd name="T110" fmla="*/ 84 w 906"/>
                  <a:gd name="T111" fmla="*/ 48 h 882"/>
                  <a:gd name="T112" fmla="*/ 90 w 906"/>
                  <a:gd name="T113" fmla="*/ 102 h 882"/>
                  <a:gd name="T114" fmla="*/ 162 w 906"/>
                  <a:gd name="T115" fmla="*/ 96 h 882"/>
                  <a:gd name="T116" fmla="*/ 198 w 906"/>
                  <a:gd name="T117" fmla="*/ 150 h 882"/>
                  <a:gd name="T118" fmla="*/ 222 w 906"/>
                  <a:gd name="T119" fmla="*/ 186 h 882"/>
                  <a:gd name="T120" fmla="*/ 282 w 906"/>
                  <a:gd name="T121" fmla="*/ 210 h 882"/>
                  <a:gd name="T122" fmla="*/ 342 w 906"/>
                  <a:gd name="T123" fmla="*/ 222 h 8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6" h="882">
                    <a:moveTo>
                      <a:pt x="360" y="222"/>
                    </a:moveTo>
                    <a:lnTo>
                      <a:pt x="360" y="228"/>
                    </a:lnTo>
                    <a:lnTo>
                      <a:pt x="366" y="228"/>
                    </a:lnTo>
                    <a:lnTo>
                      <a:pt x="366" y="234"/>
                    </a:lnTo>
                    <a:lnTo>
                      <a:pt x="372" y="234"/>
                    </a:lnTo>
                    <a:lnTo>
                      <a:pt x="372" y="240"/>
                    </a:lnTo>
                    <a:lnTo>
                      <a:pt x="378" y="240"/>
                    </a:lnTo>
                    <a:lnTo>
                      <a:pt x="378" y="246"/>
                    </a:lnTo>
                    <a:lnTo>
                      <a:pt x="384" y="246"/>
                    </a:lnTo>
                    <a:lnTo>
                      <a:pt x="384" y="240"/>
                    </a:lnTo>
                    <a:lnTo>
                      <a:pt x="390" y="240"/>
                    </a:lnTo>
                    <a:lnTo>
                      <a:pt x="390" y="246"/>
                    </a:lnTo>
                    <a:lnTo>
                      <a:pt x="396" y="246"/>
                    </a:lnTo>
                    <a:lnTo>
                      <a:pt x="396" y="240"/>
                    </a:lnTo>
                    <a:lnTo>
                      <a:pt x="396" y="234"/>
                    </a:lnTo>
                    <a:lnTo>
                      <a:pt x="402" y="234"/>
                    </a:lnTo>
                    <a:lnTo>
                      <a:pt x="408" y="234"/>
                    </a:lnTo>
                    <a:lnTo>
                      <a:pt x="408" y="240"/>
                    </a:lnTo>
                    <a:lnTo>
                      <a:pt x="408" y="234"/>
                    </a:lnTo>
                    <a:lnTo>
                      <a:pt x="408" y="240"/>
                    </a:lnTo>
                    <a:lnTo>
                      <a:pt x="414" y="240"/>
                    </a:lnTo>
                    <a:lnTo>
                      <a:pt x="414" y="246"/>
                    </a:lnTo>
                    <a:lnTo>
                      <a:pt x="420" y="246"/>
                    </a:lnTo>
                    <a:lnTo>
                      <a:pt x="426" y="246"/>
                    </a:lnTo>
                    <a:lnTo>
                      <a:pt x="426" y="252"/>
                    </a:lnTo>
                    <a:lnTo>
                      <a:pt x="432" y="252"/>
                    </a:lnTo>
                    <a:lnTo>
                      <a:pt x="438" y="252"/>
                    </a:lnTo>
                    <a:lnTo>
                      <a:pt x="432" y="252"/>
                    </a:lnTo>
                    <a:lnTo>
                      <a:pt x="438" y="252"/>
                    </a:lnTo>
                    <a:lnTo>
                      <a:pt x="438" y="258"/>
                    </a:lnTo>
                    <a:lnTo>
                      <a:pt x="444" y="258"/>
                    </a:lnTo>
                    <a:lnTo>
                      <a:pt x="444" y="264"/>
                    </a:lnTo>
                    <a:lnTo>
                      <a:pt x="450" y="264"/>
                    </a:lnTo>
                    <a:lnTo>
                      <a:pt x="456" y="264"/>
                    </a:lnTo>
                    <a:lnTo>
                      <a:pt x="450" y="264"/>
                    </a:lnTo>
                    <a:lnTo>
                      <a:pt x="450" y="270"/>
                    </a:lnTo>
                    <a:lnTo>
                      <a:pt x="456" y="270"/>
                    </a:lnTo>
                    <a:lnTo>
                      <a:pt x="462" y="270"/>
                    </a:lnTo>
                    <a:lnTo>
                      <a:pt x="468" y="270"/>
                    </a:lnTo>
                    <a:lnTo>
                      <a:pt x="468" y="276"/>
                    </a:lnTo>
                    <a:lnTo>
                      <a:pt x="468" y="270"/>
                    </a:lnTo>
                    <a:lnTo>
                      <a:pt x="468" y="276"/>
                    </a:lnTo>
                    <a:lnTo>
                      <a:pt x="474" y="276"/>
                    </a:lnTo>
                    <a:lnTo>
                      <a:pt x="474" y="282"/>
                    </a:lnTo>
                    <a:lnTo>
                      <a:pt x="480" y="282"/>
                    </a:lnTo>
                    <a:lnTo>
                      <a:pt x="486" y="282"/>
                    </a:lnTo>
                    <a:lnTo>
                      <a:pt x="492" y="282"/>
                    </a:lnTo>
                    <a:lnTo>
                      <a:pt x="492" y="288"/>
                    </a:lnTo>
                    <a:lnTo>
                      <a:pt x="492" y="294"/>
                    </a:lnTo>
                    <a:lnTo>
                      <a:pt x="498" y="300"/>
                    </a:lnTo>
                    <a:lnTo>
                      <a:pt x="504" y="306"/>
                    </a:lnTo>
                    <a:lnTo>
                      <a:pt x="498" y="306"/>
                    </a:lnTo>
                    <a:lnTo>
                      <a:pt x="498" y="312"/>
                    </a:lnTo>
                    <a:lnTo>
                      <a:pt x="504" y="312"/>
                    </a:lnTo>
                    <a:lnTo>
                      <a:pt x="510" y="312"/>
                    </a:lnTo>
                    <a:lnTo>
                      <a:pt x="510" y="306"/>
                    </a:lnTo>
                    <a:lnTo>
                      <a:pt x="516" y="306"/>
                    </a:lnTo>
                    <a:lnTo>
                      <a:pt x="516" y="312"/>
                    </a:lnTo>
                    <a:lnTo>
                      <a:pt x="522" y="312"/>
                    </a:lnTo>
                    <a:lnTo>
                      <a:pt x="522" y="318"/>
                    </a:lnTo>
                    <a:lnTo>
                      <a:pt x="522" y="324"/>
                    </a:lnTo>
                    <a:lnTo>
                      <a:pt x="528" y="324"/>
                    </a:lnTo>
                    <a:lnTo>
                      <a:pt x="534" y="324"/>
                    </a:lnTo>
                    <a:lnTo>
                      <a:pt x="534" y="330"/>
                    </a:lnTo>
                    <a:lnTo>
                      <a:pt x="540" y="330"/>
                    </a:lnTo>
                    <a:lnTo>
                      <a:pt x="546" y="330"/>
                    </a:lnTo>
                    <a:lnTo>
                      <a:pt x="546" y="336"/>
                    </a:lnTo>
                    <a:lnTo>
                      <a:pt x="552" y="336"/>
                    </a:lnTo>
                    <a:lnTo>
                      <a:pt x="558" y="342"/>
                    </a:lnTo>
                    <a:lnTo>
                      <a:pt x="564" y="342"/>
                    </a:lnTo>
                    <a:lnTo>
                      <a:pt x="564" y="348"/>
                    </a:lnTo>
                    <a:lnTo>
                      <a:pt x="570" y="348"/>
                    </a:lnTo>
                    <a:lnTo>
                      <a:pt x="570" y="354"/>
                    </a:lnTo>
                    <a:lnTo>
                      <a:pt x="576" y="348"/>
                    </a:lnTo>
                    <a:lnTo>
                      <a:pt x="576" y="342"/>
                    </a:lnTo>
                    <a:lnTo>
                      <a:pt x="582" y="342"/>
                    </a:lnTo>
                    <a:lnTo>
                      <a:pt x="588" y="342"/>
                    </a:lnTo>
                    <a:lnTo>
                      <a:pt x="594" y="342"/>
                    </a:lnTo>
                    <a:lnTo>
                      <a:pt x="594" y="348"/>
                    </a:lnTo>
                    <a:lnTo>
                      <a:pt x="600" y="348"/>
                    </a:lnTo>
                    <a:lnTo>
                      <a:pt x="606" y="348"/>
                    </a:lnTo>
                    <a:lnTo>
                      <a:pt x="606" y="354"/>
                    </a:lnTo>
                    <a:lnTo>
                      <a:pt x="612" y="354"/>
                    </a:lnTo>
                    <a:lnTo>
                      <a:pt x="612" y="360"/>
                    </a:lnTo>
                    <a:lnTo>
                      <a:pt x="618" y="360"/>
                    </a:lnTo>
                    <a:lnTo>
                      <a:pt x="624" y="366"/>
                    </a:lnTo>
                    <a:lnTo>
                      <a:pt x="630" y="366"/>
                    </a:lnTo>
                    <a:lnTo>
                      <a:pt x="630" y="372"/>
                    </a:lnTo>
                    <a:lnTo>
                      <a:pt x="636" y="372"/>
                    </a:lnTo>
                    <a:lnTo>
                      <a:pt x="636" y="378"/>
                    </a:lnTo>
                    <a:lnTo>
                      <a:pt x="642" y="372"/>
                    </a:lnTo>
                    <a:lnTo>
                      <a:pt x="648" y="372"/>
                    </a:lnTo>
                    <a:lnTo>
                      <a:pt x="654" y="372"/>
                    </a:lnTo>
                    <a:lnTo>
                      <a:pt x="660" y="372"/>
                    </a:lnTo>
                    <a:lnTo>
                      <a:pt x="660" y="378"/>
                    </a:lnTo>
                    <a:lnTo>
                      <a:pt x="660" y="384"/>
                    </a:lnTo>
                    <a:lnTo>
                      <a:pt x="654" y="384"/>
                    </a:lnTo>
                    <a:lnTo>
                      <a:pt x="660" y="390"/>
                    </a:lnTo>
                    <a:lnTo>
                      <a:pt x="660" y="396"/>
                    </a:lnTo>
                    <a:lnTo>
                      <a:pt x="666" y="396"/>
                    </a:lnTo>
                    <a:lnTo>
                      <a:pt x="678" y="396"/>
                    </a:lnTo>
                    <a:lnTo>
                      <a:pt x="684" y="396"/>
                    </a:lnTo>
                    <a:lnTo>
                      <a:pt x="684" y="402"/>
                    </a:lnTo>
                    <a:lnTo>
                      <a:pt x="690" y="402"/>
                    </a:lnTo>
                    <a:lnTo>
                      <a:pt x="696" y="402"/>
                    </a:lnTo>
                    <a:lnTo>
                      <a:pt x="708" y="402"/>
                    </a:lnTo>
                    <a:lnTo>
                      <a:pt x="708" y="408"/>
                    </a:lnTo>
                    <a:lnTo>
                      <a:pt x="714" y="408"/>
                    </a:lnTo>
                    <a:lnTo>
                      <a:pt x="720" y="408"/>
                    </a:lnTo>
                    <a:lnTo>
                      <a:pt x="726" y="414"/>
                    </a:lnTo>
                    <a:lnTo>
                      <a:pt x="726" y="420"/>
                    </a:lnTo>
                    <a:lnTo>
                      <a:pt x="732" y="420"/>
                    </a:lnTo>
                    <a:lnTo>
                      <a:pt x="738" y="420"/>
                    </a:lnTo>
                    <a:lnTo>
                      <a:pt x="744" y="420"/>
                    </a:lnTo>
                    <a:lnTo>
                      <a:pt x="750" y="420"/>
                    </a:lnTo>
                    <a:lnTo>
                      <a:pt x="750" y="414"/>
                    </a:lnTo>
                    <a:lnTo>
                      <a:pt x="750" y="408"/>
                    </a:lnTo>
                    <a:lnTo>
                      <a:pt x="750" y="402"/>
                    </a:lnTo>
                    <a:lnTo>
                      <a:pt x="756" y="402"/>
                    </a:lnTo>
                    <a:lnTo>
                      <a:pt x="762" y="402"/>
                    </a:lnTo>
                    <a:lnTo>
                      <a:pt x="768" y="402"/>
                    </a:lnTo>
                    <a:lnTo>
                      <a:pt x="774" y="402"/>
                    </a:lnTo>
                    <a:lnTo>
                      <a:pt x="780" y="402"/>
                    </a:lnTo>
                    <a:lnTo>
                      <a:pt x="786" y="408"/>
                    </a:lnTo>
                    <a:lnTo>
                      <a:pt x="792" y="414"/>
                    </a:lnTo>
                    <a:lnTo>
                      <a:pt x="798" y="414"/>
                    </a:lnTo>
                    <a:lnTo>
                      <a:pt x="804" y="420"/>
                    </a:lnTo>
                    <a:lnTo>
                      <a:pt x="804" y="414"/>
                    </a:lnTo>
                    <a:lnTo>
                      <a:pt x="810" y="414"/>
                    </a:lnTo>
                    <a:lnTo>
                      <a:pt x="810" y="420"/>
                    </a:lnTo>
                    <a:lnTo>
                      <a:pt x="816" y="426"/>
                    </a:lnTo>
                    <a:lnTo>
                      <a:pt x="810" y="426"/>
                    </a:lnTo>
                    <a:lnTo>
                      <a:pt x="810" y="432"/>
                    </a:lnTo>
                    <a:lnTo>
                      <a:pt x="816" y="432"/>
                    </a:lnTo>
                    <a:lnTo>
                      <a:pt x="816" y="438"/>
                    </a:lnTo>
                    <a:lnTo>
                      <a:pt x="822" y="438"/>
                    </a:lnTo>
                    <a:lnTo>
                      <a:pt x="816" y="438"/>
                    </a:lnTo>
                    <a:lnTo>
                      <a:pt x="822" y="438"/>
                    </a:lnTo>
                    <a:lnTo>
                      <a:pt x="822" y="444"/>
                    </a:lnTo>
                    <a:lnTo>
                      <a:pt x="822" y="450"/>
                    </a:lnTo>
                    <a:lnTo>
                      <a:pt x="822" y="456"/>
                    </a:lnTo>
                    <a:lnTo>
                      <a:pt x="816" y="456"/>
                    </a:lnTo>
                    <a:lnTo>
                      <a:pt x="816" y="462"/>
                    </a:lnTo>
                    <a:lnTo>
                      <a:pt x="822" y="462"/>
                    </a:lnTo>
                    <a:lnTo>
                      <a:pt x="822" y="468"/>
                    </a:lnTo>
                    <a:lnTo>
                      <a:pt x="828" y="468"/>
                    </a:lnTo>
                    <a:lnTo>
                      <a:pt x="828" y="474"/>
                    </a:lnTo>
                    <a:lnTo>
                      <a:pt x="828" y="480"/>
                    </a:lnTo>
                    <a:lnTo>
                      <a:pt x="834" y="480"/>
                    </a:lnTo>
                    <a:lnTo>
                      <a:pt x="840" y="480"/>
                    </a:lnTo>
                    <a:lnTo>
                      <a:pt x="840" y="486"/>
                    </a:lnTo>
                    <a:lnTo>
                      <a:pt x="840" y="492"/>
                    </a:lnTo>
                    <a:lnTo>
                      <a:pt x="846" y="492"/>
                    </a:lnTo>
                    <a:lnTo>
                      <a:pt x="846" y="498"/>
                    </a:lnTo>
                    <a:lnTo>
                      <a:pt x="846" y="492"/>
                    </a:lnTo>
                    <a:lnTo>
                      <a:pt x="846" y="498"/>
                    </a:lnTo>
                    <a:lnTo>
                      <a:pt x="852" y="498"/>
                    </a:lnTo>
                    <a:lnTo>
                      <a:pt x="852" y="504"/>
                    </a:lnTo>
                    <a:lnTo>
                      <a:pt x="852" y="498"/>
                    </a:lnTo>
                    <a:lnTo>
                      <a:pt x="858" y="498"/>
                    </a:lnTo>
                    <a:lnTo>
                      <a:pt x="858" y="504"/>
                    </a:lnTo>
                    <a:lnTo>
                      <a:pt x="864" y="504"/>
                    </a:lnTo>
                    <a:lnTo>
                      <a:pt x="864" y="510"/>
                    </a:lnTo>
                    <a:lnTo>
                      <a:pt x="870" y="510"/>
                    </a:lnTo>
                    <a:lnTo>
                      <a:pt x="870" y="516"/>
                    </a:lnTo>
                    <a:lnTo>
                      <a:pt x="870" y="522"/>
                    </a:lnTo>
                    <a:lnTo>
                      <a:pt x="870" y="516"/>
                    </a:lnTo>
                    <a:lnTo>
                      <a:pt x="864" y="516"/>
                    </a:lnTo>
                    <a:lnTo>
                      <a:pt x="858" y="516"/>
                    </a:lnTo>
                    <a:lnTo>
                      <a:pt x="858" y="522"/>
                    </a:lnTo>
                    <a:lnTo>
                      <a:pt x="852" y="522"/>
                    </a:lnTo>
                    <a:lnTo>
                      <a:pt x="846" y="516"/>
                    </a:lnTo>
                    <a:lnTo>
                      <a:pt x="840" y="516"/>
                    </a:lnTo>
                    <a:lnTo>
                      <a:pt x="834" y="516"/>
                    </a:lnTo>
                    <a:lnTo>
                      <a:pt x="834" y="522"/>
                    </a:lnTo>
                    <a:lnTo>
                      <a:pt x="828" y="522"/>
                    </a:lnTo>
                    <a:lnTo>
                      <a:pt x="828" y="528"/>
                    </a:lnTo>
                    <a:lnTo>
                      <a:pt x="822" y="528"/>
                    </a:lnTo>
                    <a:lnTo>
                      <a:pt x="816" y="528"/>
                    </a:lnTo>
                    <a:lnTo>
                      <a:pt x="816" y="534"/>
                    </a:lnTo>
                    <a:lnTo>
                      <a:pt x="810" y="534"/>
                    </a:lnTo>
                    <a:lnTo>
                      <a:pt x="810" y="540"/>
                    </a:lnTo>
                    <a:lnTo>
                      <a:pt x="816" y="540"/>
                    </a:lnTo>
                    <a:lnTo>
                      <a:pt x="822" y="540"/>
                    </a:lnTo>
                    <a:lnTo>
                      <a:pt x="828" y="540"/>
                    </a:lnTo>
                    <a:lnTo>
                      <a:pt x="822" y="540"/>
                    </a:lnTo>
                    <a:lnTo>
                      <a:pt x="828" y="540"/>
                    </a:lnTo>
                    <a:lnTo>
                      <a:pt x="828" y="546"/>
                    </a:lnTo>
                    <a:lnTo>
                      <a:pt x="834" y="546"/>
                    </a:lnTo>
                    <a:lnTo>
                      <a:pt x="840" y="546"/>
                    </a:lnTo>
                    <a:lnTo>
                      <a:pt x="840" y="552"/>
                    </a:lnTo>
                    <a:lnTo>
                      <a:pt x="834" y="552"/>
                    </a:lnTo>
                    <a:lnTo>
                      <a:pt x="834" y="558"/>
                    </a:lnTo>
                    <a:lnTo>
                      <a:pt x="840" y="558"/>
                    </a:lnTo>
                    <a:lnTo>
                      <a:pt x="834" y="558"/>
                    </a:lnTo>
                    <a:lnTo>
                      <a:pt x="834" y="564"/>
                    </a:lnTo>
                    <a:lnTo>
                      <a:pt x="840" y="564"/>
                    </a:lnTo>
                    <a:lnTo>
                      <a:pt x="840" y="570"/>
                    </a:lnTo>
                    <a:lnTo>
                      <a:pt x="834" y="570"/>
                    </a:lnTo>
                    <a:lnTo>
                      <a:pt x="828" y="570"/>
                    </a:lnTo>
                    <a:lnTo>
                      <a:pt x="822" y="570"/>
                    </a:lnTo>
                    <a:lnTo>
                      <a:pt x="828" y="570"/>
                    </a:lnTo>
                    <a:lnTo>
                      <a:pt x="828" y="576"/>
                    </a:lnTo>
                    <a:lnTo>
                      <a:pt x="822" y="576"/>
                    </a:lnTo>
                    <a:lnTo>
                      <a:pt x="828" y="576"/>
                    </a:lnTo>
                    <a:lnTo>
                      <a:pt x="828" y="582"/>
                    </a:lnTo>
                    <a:lnTo>
                      <a:pt x="828" y="588"/>
                    </a:lnTo>
                    <a:lnTo>
                      <a:pt x="834" y="588"/>
                    </a:lnTo>
                    <a:lnTo>
                      <a:pt x="840" y="588"/>
                    </a:lnTo>
                    <a:lnTo>
                      <a:pt x="840" y="594"/>
                    </a:lnTo>
                    <a:lnTo>
                      <a:pt x="846" y="600"/>
                    </a:lnTo>
                    <a:lnTo>
                      <a:pt x="852" y="606"/>
                    </a:lnTo>
                    <a:lnTo>
                      <a:pt x="858" y="606"/>
                    </a:lnTo>
                    <a:lnTo>
                      <a:pt x="864" y="606"/>
                    </a:lnTo>
                    <a:lnTo>
                      <a:pt x="870" y="606"/>
                    </a:lnTo>
                    <a:lnTo>
                      <a:pt x="876" y="612"/>
                    </a:lnTo>
                    <a:lnTo>
                      <a:pt x="876" y="618"/>
                    </a:lnTo>
                    <a:lnTo>
                      <a:pt x="882" y="618"/>
                    </a:lnTo>
                    <a:lnTo>
                      <a:pt x="888" y="618"/>
                    </a:lnTo>
                    <a:lnTo>
                      <a:pt x="888" y="624"/>
                    </a:lnTo>
                    <a:lnTo>
                      <a:pt x="894" y="624"/>
                    </a:lnTo>
                    <a:lnTo>
                      <a:pt x="894" y="630"/>
                    </a:lnTo>
                    <a:lnTo>
                      <a:pt x="900" y="630"/>
                    </a:lnTo>
                    <a:lnTo>
                      <a:pt x="900" y="636"/>
                    </a:lnTo>
                    <a:lnTo>
                      <a:pt x="906" y="636"/>
                    </a:lnTo>
                    <a:lnTo>
                      <a:pt x="900" y="636"/>
                    </a:lnTo>
                    <a:lnTo>
                      <a:pt x="894" y="636"/>
                    </a:lnTo>
                    <a:lnTo>
                      <a:pt x="894" y="642"/>
                    </a:lnTo>
                    <a:lnTo>
                      <a:pt x="888" y="642"/>
                    </a:lnTo>
                    <a:lnTo>
                      <a:pt x="888" y="648"/>
                    </a:lnTo>
                    <a:lnTo>
                      <a:pt x="882" y="642"/>
                    </a:lnTo>
                    <a:lnTo>
                      <a:pt x="882" y="648"/>
                    </a:lnTo>
                    <a:lnTo>
                      <a:pt x="876" y="642"/>
                    </a:lnTo>
                    <a:lnTo>
                      <a:pt x="876" y="636"/>
                    </a:lnTo>
                    <a:lnTo>
                      <a:pt x="870" y="636"/>
                    </a:lnTo>
                    <a:lnTo>
                      <a:pt x="864" y="636"/>
                    </a:lnTo>
                    <a:lnTo>
                      <a:pt x="858" y="636"/>
                    </a:lnTo>
                    <a:lnTo>
                      <a:pt x="852" y="636"/>
                    </a:lnTo>
                    <a:lnTo>
                      <a:pt x="852" y="642"/>
                    </a:lnTo>
                    <a:lnTo>
                      <a:pt x="846" y="636"/>
                    </a:lnTo>
                    <a:lnTo>
                      <a:pt x="840" y="636"/>
                    </a:lnTo>
                    <a:lnTo>
                      <a:pt x="834" y="636"/>
                    </a:lnTo>
                    <a:lnTo>
                      <a:pt x="834" y="642"/>
                    </a:lnTo>
                    <a:lnTo>
                      <a:pt x="834" y="648"/>
                    </a:lnTo>
                    <a:lnTo>
                      <a:pt x="828" y="648"/>
                    </a:lnTo>
                    <a:lnTo>
                      <a:pt x="822" y="648"/>
                    </a:lnTo>
                    <a:lnTo>
                      <a:pt x="822" y="654"/>
                    </a:lnTo>
                    <a:lnTo>
                      <a:pt x="816" y="654"/>
                    </a:lnTo>
                    <a:lnTo>
                      <a:pt x="816" y="660"/>
                    </a:lnTo>
                    <a:lnTo>
                      <a:pt x="810" y="660"/>
                    </a:lnTo>
                    <a:lnTo>
                      <a:pt x="810" y="666"/>
                    </a:lnTo>
                    <a:lnTo>
                      <a:pt x="804" y="666"/>
                    </a:lnTo>
                    <a:lnTo>
                      <a:pt x="804" y="672"/>
                    </a:lnTo>
                    <a:lnTo>
                      <a:pt x="798" y="672"/>
                    </a:lnTo>
                    <a:lnTo>
                      <a:pt x="804" y="672"/>
                    </a:lnTo>
                    <a:lnTo>
                      <a:pt x="798" y="672"/>
                    </a:lnTo>
                    <a:lnTo>
                      <a:pt x="798" y="678"/>
                    </a:lnTo>
                    <a:lnTo>
                      <a:pt x="792" y="678"/>
                    </a:lnTo>
                    <a:lnTo>
                      <a:pt x="786" y="678"/>
                    </a:lnTo>
                    <a:lnTo>
                      <a:pt x="786" y="684"/>
                    </a:lnTo>
                    <a:lnTo>
                      <a:pt x="780" y="684"/>
                    </a:lnTo>
                    <a:lnTo>
                      <a:pt x="780" y="690"/>
                    </a:lnTo>
                    <a:lnTo>
                      <a:pt x="774" y="690"/>
                    </a:lnTo>
                    <a:lnTo>
                      <a:pt x="768" y="690"/>
                    </a:lnTo>
                    <a:lnTo>
                      <a:pt x="774" y="690"/>
                    </a:lnTo>
                    <a:lnTo>
                      <a:pt x="768" y="690"/>
                    </a:lnTo>
                    <a:lnTo>
                      <a:pt x="768" y="696"/>
                    </a:lnTo>
                    <a:lnTo>
                      <a:pt x="762" y="696"/>
                    </a:lnTo>
                    <a:lnTo>
                      <a:pt x="756" y="696"/>
                    </a:lnTo>
                    <a:lnTo>
                      <a:pt x="756" y="702"/>
                    </a:lnTo>
                    <a:lnTo>
                      <a:pt x="756" y="696"/>
                    </a:lnTo>
                    <a:lnTo>
                      <a:pt x="756" y="702"/>
                    </a:lnTo>
                    <a:lnTo>
                      <a:pt x="750" y="702"/>
                    </a:lnTo>
                    <a:lnTo>
                      <a:pt x="750" y="696"/>
                    </a:lnTo>
                    <a:lnTo>
                      <a:pt x="750" y="702"/>
                    </a:lnTo>
                    <a:lnTo>
                      <a:pt x="750" y="708"/>
                    </a:lnTo>
                    <a:lnTo>
                      <a:pt x="744" y="708"/>
                    </a:lnTo>
                    <a:lnTo>
                      <a:pt x="744" y="714"/>
                    </a:lnTo>
                    <a:lnTo>
                      <a:pt x="744" y="720"/>
                    </a:lnTo>
                    <a:lnTo>
                      <a:pt x="744" y="714"/>
                    </a:lnTo>
                    <a:lnTo>
                      <a:pt x="744" y="720"/>
                    </a:lnTo>
                    <a:lnTo>
                      <a:pt x="744" y="726"/>
                    </a:lnTo>
                    <a:lnTo>
                      <a:pt x="744" y="732"/>
                    </a:lnTo>
                    <a:lnTo>
                      <a:pt x="744" y="738"/>
                    </a:lnTo>
                    <a:lnTo>
                      <a:pt x="744" y="744"/>
                    </a:lnTo>
                    <a:lnTo>
                      <a:pt x="744" y="750"/>
                    </a:lnTo>
                    <a:lnTo>
                      <a:pt x="750" y="750"/>
                    </a:lnTo>
                    <a:lnTo>
                      <a:pt x="750" y="756"/>
                    </a:lnTo>
                    <a:lnTo>
                      <a:pt x="750" y="762"/>
                    </a:lnTo>
                    <a:lnTo>
                      <a:pt x="756" y="762"/>
                    </a:lnTo>
                    <a:lnTo>
                      <a:pt x="756" y="768"/>
                    </a:lnTo>
                    <a:lnTo>
                      <a:pt x="762" y="768"/>
                    </a:lnTo>
                    <a:lnTo>
                      <a:pt x="762" y="774"/>
                    </a:lnTo>
                    <a:lnTo>
                      <a:pt x="762" y="780"/>
                    </a:lnTo>
                    <a:lnTo>
                      <a:pt x="768" y="780"/>
                    </a:lnTo>
                    <a:lnTo>
                      <a:pt x="768" y="786"/>
                    </a:lnTo>
                    <a:lnTo>
                      <a:pt x="768" y="792"/>
                    </a:lnTo>
                    <a:lnTo>
                      <a:pt x="762" y="792"/>
                    </a:lnTo>
                    <a:lnTo>
                      <a:pt x="756" y="798"/>
                    </a:lnTo>
                    <a:lnTo>
                      <a:pt x="750" y="798"/>
                    </a:lnTo>
                    <a:lnTo>
                      <a:pt x="750" y="804"/>
                    </a:lnTo>
                    <a:lnTo>
                      <a:pt x="750" y="810"/>
                    </a:lnTo>
                    <a:lnTo>
                      <a:pt x="756" y="810"/>
                    </a:lnTo>
                    <a:lnTo>
                      <a:pt x="756" y="816"/>
                    </a:lnTo>
                    <a:lnTo>
                      <a:pt x="750" y="816"/>
                    </a:lnTo>
                    <a:lnTo>
                      <a:pt x="750" y="822"/>
                    </a:lnTo>
                    <a:lnTo>
                      <a:pt x="750" y="828"/>
                    </a:lnTo>
                    <a:lnTo>
                      <a:pt x="750" y="834"/>
                    </a:lnTo>
                    <a:lnTo>
                      <a:pt x="750" y="840"/>
                    </a:lnTo>
                    <a:lnTo>
                      <a:pt x="744" y="840"/>
                    </a:lnTo>
                    <a:lnTo>
                      <a:pt x="744" y="846"/>
                    </a:lnTo>
                    <a:lnTo>
                      <a:pt x="744" y="852"/>
                    </a:lnTo>
                    <a:lnTo>
                      <a:pt x="738" y="852"/>
                    </a:lnTo>
                    <a:lnTo>
                      <a:pt x="738" y="858"/>
                    </a:lnTo>
                    <a:lnTo>
                      <a:pt x="732" y="864"/>
                    </a:lnTo>
                    <a:lnTo>
                      <a:pt x="732" y="858"/>
                    </a:lnTo>
                    <a:lnTo>
                      <a:pt x="732" y="864"/>
                    </a:lnTo>
                    <a:lnTo>
                      <a:pt x="726" y="864"/>
                    </a:lnTo>
                    <a:lnTo>
                      <a:pt x="726" y="870"/>
                    </a:lnTo>
                    <a:lnTo>
                      <a:pt x="732" y="870"/>
                    </a:lnTo>
                    <a:lnTo>
                      <a:pt x="726" y="870"/>
                    </a:lnTo>
                    <a:lnTo>
                      <a:pt x="726" y="876"/>
                    </a:lnTo>
                    <a:lnTo>
                      <a:pt x="720" y="876"/>
                    </a:lnTo>
                    <a:lnTo>
                      <a:pt x="714" y="876"/>
                    </a:lnTo>
                    <a:lnTo>
                      <a:pt x="714" y="882"/>
                    </a:lnTo>
                    <a:lnTo>
                      <a:pt x="708" y="882"/>
                    </a:lnTo>
                    <a:lnTo>
                      <a:pt x="708" y="876"/>
                    </a:lnTo>
                    <a:lnTo>
                      <a:pt x="702" y="876"/>
                    </a:lnTo>
                    <a:lnTo>
                      <a:pt x="702" y="882"/>
                    </a:lnTo>
                    <a:lnTo>
                      <a:pt x="696" y="882"/>
                    </a:lnTo>
                    <a:lnTo>
                      <a:pt x="696" y="876"/>
                    </a:lnTo>
                    <a:lnTo>
                      <a:pt x="690" y="876"/>
                    </a:lnTo>
                    <a:lnTo>
                      <a:pt x="684" y="876"/>
                    </a:lnTo>
                    <a:lnTo>
                      <a:pt x="684" y="870"/>
                    </a:lnTo>
                    <a:lnTo>
                      <a:pt x="678" y="870"/>
                    </a:lnTo>
                    <a:lnTo>
                      <a:pt x="678" y="864"/>
                    </a:lnTo>
                    <a:lnTo>
                      <a:pt x="672" y="864"/>
                    </a:lnTo>
                    <a:lnTo>
                      <a:pt x="672" y="858"/>
                    </a:lnTo>
                    <a:lnTo>
                      <a:pt x="678" y="858"/>
                    </a:lnTo>
                    <a:lnTo>
                      <a:pt x="678" y="852"/>
                    </a:lnTo>
                    <a:lnTo>
                      <a:pt x="672" y="852"/>
                    </a:lnTo>
                    <a:lnTo>
                      <a:pt x="666" y="852"/>
                    </a:lnTo>
                    <a:lnTo>
                      <a:pt x="666" y="846"/>
                    </a:lnTo>
                    <a:lnTo>
                      <a:pt x="660" y="846"/>
                    </a:lnTo>
                    <a:lnTo>
                      <a:pt x="666" y="846"/>
                    </a:lnTo>
                    <a:lnTo>
                      <a:pt x="666" y="840"/>
                    </a:lnTo>
                    <a:lnTo>
                      <a:pt x="666" y="846"/>
                    </a:lnTo>
                    <a:lnTo>
                      <a:pt x="672" y="846"/>
                    </a:lnTo>
                    <a:lnTo>
                      <a:pt x="672" y="840"/>
                    </a:lnTo>
                    <a:lnTo>
                      <a:pt x="672" y="834"/>
                    </a:lnTo>
                    <a:lnTo>
                      <a:pt x="672" y="828"/>
                    </a:lnTo>
                    <a:lnTo>
                      <a:pt x="678" y="828"/>
                    </a:lnTo>
                    <a:lnTo>
                      <a:pt x="678" y="822"/>
                    </a:lnTo>
                    <a:lnTo>
                      <a:pt x="672" y="822"/>
                    </a:lnTo>
                    <a:lnTo>
                      <a:pt x="678" y="822"/>
                    </a:lnTo>
                    <a:lnTo>
                      <a:pt x="672" y="822"/>
                    </a:lnTo>
                    <a:lnTo>
                      <a:pt x="678" y="822"/>
                    </a:lnTo>
                    <a:lnTo>
                      <a:pt x="672" y="822"/>
                    </a:lnTo>
                    <a:lnTo>
                      <a:pt x="678" y="822"/>
                    </a:lnTo>
                    <a:lnTo>
                      <a:pt x="678" y="816"/>
                    </a:lnTo>
                    <a:lnTo>
                      <a:pt x="672" y="816"/>
                    </a:lnTo>
                    <a:lnTo>
                      <a:pt x="678" y="816"/>
                    </a:lnTo>
                    <a:lnTo>
                      <a:pt x="672" y="816"/>
                    </a:lnTo>
                    <a:lnTo>
                      <a:pt x="678" y="816"/>
                    </a:lnTo>
                    <a:lnTo>
                      <a:pt x="672" y="816"/>
                    </a:lnTo>
                    <a:lnTo>
                      <a:pt x="666" y="816"/>
                    </a:lnTo>
                    <a:lnTo>
                      <a:pt x="666" y="810"/>
                    </a:lnTo>
                    <a:lnTo>
                      <a:pt x="672" y="810"/>
                    </a:lnTo>
                    <a:lnTo>
                      <a:pt x="666" y="810"/>
                    </a:lnTo>
                    <a:lnTo>
                      <a:pt x="672" y="810"/>
                    </a:lnTo>
                    <a:lnTo>
                      <a:pt x="672" y="804"/>
                    </a:lnTo>
                    <a:lnTo>
                      <a:pt x="672" y="798"/>
                    </a:lnTo>
                    <a:lnTo>
                      <a:pt x="672" y="792"/>
                    </a:lnTo>
                    <a:lnTo>
                      <a:pt x="678" y="792"/>
                    </a:lnTo>
                    <a:lnTo>
                      <a:pt x="678" y="786"/>
                    </a:lnTo>
                    <a:lnTo>
                      <a:pt x="678" y="780"/>
                    </a:lnTo>
                    <a:lnTo>
                      <a:pt x="672" y="780"/>
                    </a:lnTo>
                    <a:lnTo>
                      <a:pt x="666" y="780"/>
                    </a:lnTo>
                    <a:lnTo>
                      <a:pt x="672" y="780"/>
                    </a:lnTo>
                    <a:lnTo>
                      <a:pt x="666" y="780"/>
                    </a:lnTo>
                    <a:lnTo>
                      <a:pt x="666" y="774"/>
                    </a:lnTo>
                    <a:lnTo>
                      <a:pt x="660" y="774"/>
                    </a:lnTo>
                    <a:lnTo>
                      <a:pt x="654" y="774"/>
                    </a:lnTo>
                    <a:lnTo>
                      <a:pt x="648" y="780"/>
                    </a:lnTo>
                    <a:lnTo>
                      <a:pt x="648" y="774"/>
                    </a:lnTo>
                    <a:lnTo>
                      <a:pt x="642" y="774"/>
                    </a:lnTo>
                    <a:lnTo>
                      <a:pt x="636" y="774"/>
                    </a:lnTo>
                    <a:lnTo>
                      <a:pt x="636" y="768"/>
                    </a:lnTo>
                    <a:lnTo>
                      <a:pt x="636" y="774"/>
                    </a:lnTo>
                    <a:lnTo>
                      <a:pt x="630" y="774"/>
                    </a:lnTo>
                    <a:lnTo>
                      <a:pt x="630" y="780"/>
                    </a:lnTo>
                    <a:lnTo>
                      <a:pt x="636" y="780"/>
                    </a:lnTo>
                    <a:lnTo>
                      <a:pt x="630" y="780"/>
                    </a:lnTo>
                    <a:lnTo>
                      <a:pt x="636" y="780"/>
                    </a:lnTo>
                    <a:lnTo>
                      <a:pt x="636" y="786"/>
                    </a:lnTo>
                    <a:lnTo>
                      <a:pt x="630" y="786"/>
                    </a:lnTo>
                    <a:lnTo>
                      <a:pt x="624" y="786"/>
                    </a:lnTo>
                    <a:lnTo>
                      <a:pt x="624" y="780"/>
                    </a:lnTo>
                    <a:lnTo>
                      <a:pt x="624" y="786"/>
                    </a:lnTo>
                    <a:lnTo>
                      <a:pt x="618" y="786"/>
                    </a:lnTo>
                    <a:lnTo>
                      <a:pt x="618" y="780"/>
                    </a:lnTo>
                    <a:lnTo>
                      <a:pt x="618" y="774"/>
                    </a:lnTo>
                    <a:lnTo>
                      <a:pt x="612" y="774"/>
                    </a:lnTo>
                    <a:lnTo>
                      <a:pt x="612" y="768"/>
                    </a:lnTo>
                    <a:lnTo>
                      <a:pt x="612" y="762"/>
                    </a:lnTo>
                    <a:lnTo>
                      <a:pt x="612" y="768"/>
                    </a:lnTo>
                    <a:lnTo>
                      <a:pt x="612" y="762"/>
                    </a:lnTo>
                    <a:lnTo>
                      <a:pt x="612" y="768"/>
                    </a:lnTo>
                    <a:lnTo>
                      <a:pt x="612" y="762"/>
                    </a:lnTo>
                    <a:lnTo>
                      <a:pt x="606" y="762"/>
                    </a:lnTo>
                    <a:lnTo>
                      <a:pt x="606" y="768"/>
                    </a:lnTo>
                    <a:lnTo>
                      <a:pt x="612" y="768"/>
                    </a:lnTo>
                    <a:lnTo>
                      <a:pt x="606" y="768"/>
                    </a:lnTo>
                    <a:lnTo>
                      <a:pt x="606" y="762"/>
                    </a:lnTo>
                    <a:lnTo>
                      <a:pt x="612" y="762"/>
                    </a:lnTo>
                    <a:lnTo>
                      <a:pt x="606" y="762"/>
                    </a:lnTo>
                    <a:lnTo>
                      <a:pt x="612" y="762"/>
                    </a:lnTo>
                    <a:lnTo>
                      <a:pt x="612" y="756"/>
                    </a:lnTo>
                    <a:lnTo>
                      <a:pt x="606" y="756"/>
                    </a:lnTo>
                    <a:lnTo>
                      <a:pt x="606" y="762"/>
                    </a:lnTo>
                    <a:lnTo>
                      <a:pt x="606" y="756"/>
                    </a:lnTo>
                    <a:lnTo>
                      <a:pt x="606" y="762"/>
                    </a:lnTo>
                    <a:lnTo>
                      <a:pt x="600" y="762"/>
                    </a:lnTo>
                    <a:lnTo>
                      <a:pt x="600" y="756"/>
                    </a:lnTo>
                    <a:lnTo>
                      <a:pt x="600" y="762"/>
                    </a:lnTo>
                    <a:lnTo>
                      <a:pt x="600" y="756"/>
                    </a:lnTo>
                    <a:lnTo>
                      <a:pt x="594" y="756"/>
                    </a:lnTo>
                    <a:lnTo>
                      <a:pt x="588" y="756"/>
                    </a:lnTo>
                    <a:lnTo>
                      <a:pt x="588" y="750"/>
                    </a:lnTo>
                    <a:lnTo>
                      <a:pt x="582" y="750"/>
                    </a:lnTo>
                    <a:lnTo>
                      <a:pt x="582" y="756"/>
                    </a:lnTo>
                    <a:lnTo>
                      <a:pt x="582" y="750"/>
                    </a:lnTo>
                    <a:lnTo>
                      <a:pt x="582" y="756"/>
                    </a:lnTo>
                    <a:lnTo>
                      <a:pt x="576" y="756"/>
                    </a:lnTo>
                    <a:lnTo>
                      <a:pt x="576" y="750"/>
                    </a:lnTo>
                    <a:lnTo>
                      <a:pt x="570" y="750"/>
                    </a:lnTo>
                    <a:lnTo>
                      <a:pt x="570" y="744"/>
                    </a:lnTo>
                    <a:lnTo>
                      <a:pt x="576" y="744"/>
                    </a:lnTo>
                    <a:lnTo>
                      <a:pt x="576" y="738"/>
                    </a:lnTo>
                    <a:lnTo>
                      <a:pt x="570" y="738"/>
                    </a:lnTo>
                    <a:lnTo>
                      <a:pt x="570" y="732"/>
                    </a:lnTo>
                    <a:lnTo>
                      <a:pt x="564" y="732"/>
                    </a:lnTo>
                    <a:lnTo>
                      <a:pt x="558" y="732"/>
                    </a:lnTo>
                    <a:lnTo>
                      <a:pt x="558" y="726"/>
                    </a:lnTo>
                    <a:lnTo>
                      <a:pt x="552" y="726"/>
                    </a:lnTo>
                    <a:lnTo>
                      <a:pt x="546" y="726"/>
                    </a:lnTo>
                    <a:lnTo>
                      <a:pt x="546" y="720"/>
                    </a:lnTo>
                    <a:lnTo>
                      <a:pt x="540" y="720"/>
                    </a:lnTo>
                    <a:lnTo>
                      <a:pt x="540" y="726"/>
                    </a:lnTo>
                    <a:lnTo>
                      <a:pt x="534" y="726"/>
                    </a:lnTo>
                    <a:lnTo>
                      <a:pt x="534" y="720"/>
                    </a:lnTo>
                    <a:lnTo>
                      <a:pt x="540" y="720"/>
                    </a:lnTo>
                    <a:lnTo>
                      <a:pt x="540" y="714"/>
                    </a:lnTo>
                    <a:lnTo>
                      <a:pt x="540" y="720"/>
                    </a:lnTo>
                    <a:lnTo>
                      <a:pt x="534" y="720"/>
                    </a:lnTo>
                    <a:lnTo>
                      <a:pt x="534" y="714"/>
                    </a:lnTo>
                    <a:lnTo>
                      <a:pt x="540" y="714"/>
                    </a:lnTo>
                    <a:lnTo>
                      <a:pt x="540" y="708"/>
                    </a:lnTo>
                    <a:lnTo>
                      <a:pt x="534" y="708"/>
                    </a:lnTo>
                    <a:lnTo>
                      <a:pt x="528" y="708"/>
                    </a:lnTo>
                    <a:lnTo>
                      <a:pt x="528" y="714"/>
                    </a:lnTo>
                    <a:lnTo>
                      <a:pt x="522" y="714"/>
                    </a:lnTo>
                    <a:lnTo>
                      <a:pt x="522" y="720"/>
                    </a:lnTo>
                    <a:lnTo>
                      <a:pt x="528" y="720"/>
                    </a:lnTo>
                    <a:lnTo>
                      <a:pt x="522" y="720"/>
                    </a:lnTo>
                    <a:lnTo>
                      <a:pt x="516" y="720"/>
                    </a:lnTo>
                    <a:lnTo>
                      <a:pt x="516" y="714"/>
                    </a:lnTo>
                    <a:lnTo>
                      <a:pt x="510" y="714"/>
                    </a:lnTo>
                    <a:lnTo>
                      <a:pt x="510" y="708"/>
                    </a:lnTo>
                    <a:lnTo>
                      <a:pt x="504" y="708"/>
                    </a:lnTo>
                    <a:lnTo>
                      <a:pt x="504" y="714"/>
                    </a:lnTo>
                    <a:lnTo>
                      <a:pt x="504" y="708"/>
                    </a:lnTo>
                    <a:lnTo>
                      <a:pt x="498" y="708"/>
                    </a:lnTo>
                    <a:lnTo>
                      <a:pt x="498" y="714"/>
                    </a:lnTo>
                    <a:lnTo>
                      <a:pt x="492" y="714"/>
                    </a:lnTo>
                    <a:lnTo>
                      <a:pt x="492" y="720"/>
                    </a:lnTo>
                    <a:lnTo>
                      <a:pt x="498" y="720"/>
                    </a:lnTo>
                    <a:lnTo>
                      <a:pt x="498" y="726"/>
                    </a:lnTo>
                    <a:lnTo>
                      <a:pt x="492" y="726"/>
                    </a:lnTo>
                    <a:lnTo>
                      <a:pt x="492" y="732"/>
                    </a:lnTo>
                    <a:lnTo>
                      <a:pt x="492" y="738"/>
                    </a:lnTo>
                    <a:lnTo>
                      <a:pt x="486" y="738"/>
                    </a:lnTo>
                    <a:lnTo>
                      <a:pt x="492" y="738"/>
                    </a:lnTo>
                    <a:lnTo>
                      <a:pt x="492" y="744"/>
                    </a:lnTo>
                    <a:lnTo>
                      <a:pt x="486" y="744"/>
                    </a:lnTo>
                    <a:lnTo>
                      <a:pt x="486" y="738"/>
                    </a:lnTo>
                    <a:lnTo>
                      <a:pt x="486" y="744"/>
                    </a:lnTo>
                    <a:lnTo>
                      <a:pt x="480" y="744"/>
                    </a:lnTo>
                    <a:lnTo>
                      <a:pt x="474" y="744"/>
                    </a:lnTo>
                    <a:lnTo>
                      <a:pt x="474" y="738"/>
                    </a:lnTo>
                    <a:lnTo>
                      <a:pt x="468" y="738"/>
                    </a:lnTo>
                    <a:lnTo>
                      <a:pt x="468" y="744"/>
                    </a:lnTo>
                    <a:lnTo>
                      <a:pt x="468" y="738"/>
                    </a:lnTo>
                    <a:lnTo>
                      <a:pt x="468" y="744"/>
                    </a:lnTo>
                    <a:lnTo>
                      <a:pt x="468" y="738"/>
                    </a:lnTo>
                    <a:lnTo>
                      <a:pt x="462" y="738"/>
                    </a:lnTo>
                    <a:lnTo>
                      <a:pt x="462" y="744"/>
                    </a:lnTo>
                    <a:lnTo>
                      <a:pt x="462" y="738"/>
                    </a:lnTo>
                    <a:lnTo>
                      <a:pt x="456" y="738"/>
                    </a:lnTo>
                    <a:lnTo>
                      <a:pt x="450" y="738"/>
                    </a:lnTo>
                    <a:lnTo>
                      <a:pt x="444" y="738"/>
                    </a:lnTo>
                    <a:lnTo>
                      <a:pt x="444" y="744"/>
                    </a:lnTo>
                    <a:lnTo>
                      <a:pt x="444" y="738"/>
                    </a:lnTo>
                    <a:lnTo>
                      <a:pt x="438" y="738"/>
                    </a:lnTo>
                    <a:lnTo>
                      <a:pt x="444" y="738"/>
                    </a:lnTo>
                    <a:lnTo>
                      <a:pt x="444" y="732"/>
                    </a:lnTo>
                    <a:lnTo>
                      <a:pt x="444" y="726"/>
                    </a:lnTo>
                    <a:lnTo>
                      <a:pt x="450" y="726"/>
                    </a:lnTo>
                    <a:lnTo>
                      <a:pt x="450" y="720"/>
                    </a:lnTo>
                    <a:lnTo>
                      <a:pt x="450" y="714"/>
                    </a:lnTo>
                    <a:lnTo>
                      <a:pt x="456" y="714"/>
                    </a:lnTo>
                    <a:lnTo>
                      <a:pt x="456" y="708"/>
                    </a:lnTo>
                    <a:lnTo>
                      <a:pt x="450" y="708"/>
                    </a:lnTo>
                    <a:lnTo>
                      <a:pt x="444" y="708"/>
                    </a:lnTo>
                    <a:lnTo>
                      <a:pt x="444" y="714"/>
                    </a:lnTo>
                    <a:lnTo>
                      <a:pt x="444" y="720"/>
                    </a:lnTo>
                    <a:lnTo>
                      <a:pt x="444" y="714"/>
                    </a:lnTo>
                    <a:lnTo>
                      <a:pt x="438" y="714"/>
                    </a:lnTo>
                    <a:lnTo>
                      <a:pt x="432" y="714"/>
                    </a:lnTo>
                    <a:lnTo>
                      <a:pt x="426" y="714"/>
                    </a:lnTo>
                    <a:lnTo>
                      <a:pt x="432" y="714"/>
                    </a:lnTo>
                    <a:lnTo>
                      <a:pt x="432" y="720"/>
                    </a:lnTo>
                    <a:lnTo>
                      <a:pt x="438" y="720"/>
                    </a:lnTo>
                    <a:lnTo>
                      <a:pt x="438" y="726"/>
                    </a:lnTo>
                    <a:lnTo>
                      <a:pt x="432" y="726"/>
                    </a:lnTo>
                    <a:lnTo>
                      <a:pt x="426" y="726"/>
                    </a:lnTo>
                    <a:lnTo>
                      <a:pt x="426" y="720"/>
                    </a:lnTo>
                    <a:lnTo>
                      <a:pt x="426" y="726"/>
                    </a:lnTo>
                    <a:lnTo>
                      <a:pt x="426" y="720"/>
                    </a:lnTo>
                    <a:lnTo>
                      <a:pt x="420" y="720"/>
                    </a:lnTo>
                    <a:lnTo>
                      <a:pt x="420" y="714"/>
                    </a:lnTo>
                    <a:lnTo>
                      <a:pt x="414" y="714"/>
                    </a:lnTo>
                    <a:lnTo>
                      <a:pt x="414" y="720"/>
                    </a:lnTo>
                    <a:lnTo>
                      <a:pt x="420" y="720"/>
                    </a:lnTo>
                    <a:lnTo>
                      <a:pt x="414" y="720"/>
                    </a:lnTo>
                    <a:lnTo>
                      <a:pt x="414" y="726"/>
                    </a:lnTo>
                    <a:lnTo>
                      <a:pt x="408" y="726"/>
                    </a:lnTo>
                    <a:lnTo>
                      <a:pt x="408" y="720"/>
                    </a:lnTo>
                    <a:lnTo>
                      <a:pt x="402" y="720"/>
                    </a:lnTo>
                    <a:lnTo>
                      <a:pt x="402" y="726"/>
                    </a:lnTo>
                    <a:lnTo>
                      <a:pt x="408" y="726"/>
                    </a:lnTo>
                    <a:lnTo>
                      <a:pt x="402" y="726"/>
                    </a:lnTo>
                    <a:lnTo>
                      <a:pt x="408" y="726"/>
                    </a:lnTo>
                    <a:lnTo>
                      <a:pt x="408" y="732"/>
                    </a:lnTo>
                    <a:lnTo>
                      <a:pt x="402" y="732"/>
                    </a:lnTo>
                    <a:lnTo>
                      <a:pt x="402" y="738"/>
                    </a:lnTo>
                    <a:lnTo>
                      <a:pt x="402" y="732"/>
                    </a:lnTo>
                    <a:lnTo>
                      <a:pt x="396" y="732"/>
                    </a:lnTo>
                    <a:lnTo>
                      <a:pt x="402" y="732"/>
                    </a:lnTo>
                    <a:lnTo>
                      <a:pt x="396" y="732"/>
                    </a:lnTo>
                    <a:lnTo>
                      <a:pt x="402" y="732"/>
                    </a:lnTo>
                    <a:lnTo>
                      <a:pt x="396" y="732"/>
                    </a:lnTo>
                    <a:lnTo>
                      <a:pt x="396" y="726"/>
                    </a:lnTo>
                    <a:lnTo>
                      <a:pt x="402" y="726"/>
                    </a:lnTo>
                    <a:lnTo>
                      <a:pt x="396" y="726"/>
                    </a:lnTo>
                    <a:lnTo>
                      <a:pt x="396" y="720"/>
                    </a:lnTo>
                    <a:lnTo>
                      <a:pt x="396" y="726"/>
                    </a:lnTo>
                    <a:lnTo>
                      <a:pt x="396" y="720"/>
                    </a:lnTo>
                    <a:lnTo>
                      <a:pt x="396" y="726"/>
                    </a:lnTo>
                    <a:lnTo>
                      <a:pt x="390" y="726"/>
                    </a:lnTo>
                    <a:lnTo>
                      <a:pt x="390" y="732"/>
                    </a:lnTo>
                    <a:lnTo>
                      <a:pt x="390" y="726"/>
                    </a:lnTo>
                    <a:lnTo>
                      <a:pt x="390" y="732"/>
                    </a:lnTo>
                    <a:lnTo>
                      <a:pt x="384" y="732"/>
                    </a:lnTo>
                    <a:lnTo>
                      <a:pt x="378" y="732"/>
                    </a:lnTo>
                    <a:lnTo>
                      <a:pt x="378" y="726"/>
                    </a:lnTo>
                    <a:lnTo>
                      <a:pt x="378" y="720"/>
                    </a:lnTo>
                    <a:lnTo>
                      <a:pt x="384" y="720"/>
                    </a:lnTo>
                    <a:lnTo>
                      <a:pt x="384" y="714"/>
                    </a:lnTo>
                    <a:lnTo>
                      <a:pt x="390" y="714"/>
                    </a:lnTo>
                    <a:lnTo>
                      <a:pt x="390" y="708"/>
                    </a:lnTo>
                    <a:lnTo>
                      <a:pt x="396" y="708"/>
                    </a:lnTo>
                    <a:lnTo>
                      <a:pt x="396" y="702"/>
                    </a:lnTo>
                    <a:lnTo>
                      <a:pt x="390" y="702"/>
                    </a:lnTo>
                    <a:lnTo>
                      <a:pt x="390" y="696"/>
                    </a:lnTo>
                    <a:lnTo>
                      <a:pt x="384" y="696"/>
                    </a:lnTo>
                    <a:lnTo>
                      <a:pt x="384" y="690"/>
                    </a:lnTo>
                    <a:lnTo>
                      <a:pt x="384" y="684"/>
                    </a:lnTo>
                    <a:lnTo>
                      <a:pt x="384" y="678"/>
                    </a:lnTo>
                    <a:lnTo>
                      <a:pt x="378" y="678"/>
                    </a:lnTo>
                    <a:lnTo>
                      <a:pt x="372" y="678"/>
                    </a:lnTo>
                    <a:lnTo>
                      <a:pt x="366" y="678"/>
                    </a:lnTo>
                    <a:lnTo>
                      <a:pt x="366" y="684"/>
                    </a:lnTo>
                    <a:lnTo>
                      <a:pt x="360" y="684"/>
                    </a:lnTo>
                    <a:lnTo>
                      <a:pt x="354" y="684"/>
                    </a:lnTo>
                    <a:lnTo>
                      <a:pt x="348" y="684"/>
                    </a:lnTo>
                    <a:lnTo>
                      <a:pt x="348" y="690"/>
                    </a:lnTo>
                    <a:lnTo>
                      <a:pt x="348" y="696"/>
                    </a:lnTo>
                    <a:lnTo>
                      <a:pt x="342" y="696"/>
                    </a:lnTo>
                    <a:lnTo>
                      <a:pt x="348" y="696"/>
                    </a:lnTo>
                    <a:lnTo>
                      <a:pt x="342" y="696"/>
                    </a:lnTo>
                    <a:lnTo>
                      <a:pt x="336" y="696"/>
                    </a:lnTo>
                    <a:lnTo>
                      <a:pt x="336" y="702"/>
                    </a:lnTo>
                    <a:lnTo>
                      <a:pt x="336" y="696"/>
                    </a:lnTo>
                    <a:lnTo>
                      <a:pt x="336" y="702"/>
                    </a:lnTo>
                    <a:lnTo>
                      <a:pt x="336" y="696"/>
                    </a:lnTo>
                    <a:lnTo>
                      <a:pt x="336" y="702"/>
                    </a:lnTo>
                    <a:lnTo>
                      <a:pt x="330" y="702"/>
                    </a:lnTo>
                    <a:lnTo>
                      <a:pt x="330" y="696"/>
                    </a:lnTo>
                    <a:lnTo>
                      <a:pt x="330" y="702"/>
                    </a:lnTo>
                    <a:lnTo>
                      <a:pt x="330" y="708"/>
                    </a:lnTo>
                    <a:lnTo>
                      <a:pt x="330" y="714"/>
                    </a:lnTo>
                    <a:lnTo>
                      <a:pt x="324" y="714"/>
                    </a:lnTo>
                    <a:lnTo>
                      <a:pt x="330" y="720"/>
                    </a:lnTo>
                    <a:lnTo>
                      <a:pt x="324" y="720"/>
                    </a:lnTo>
                    <a:lnTo>
                      <a:pt x="324" y="714"/>
                    </a:lnTo>
                    <a:lnTo>
                      <a:pt x="318" y="714"/>
                    </a:lnTo>
                    <a:lnTo>
                      <a:pt x="312" y="714"/>
                    </a:lnTo>
                    <a:lnTo>
                      <a:pt x="306" y="714"/>
                    </a:lnTo>
                    <a:lnTo>
                      <a:pt x="300" y="714"/>
                    </a:lnTo>
                    <a:lnTo>
                      <a:pt x="294" y="714"/>
                    </a:lnTo>
                    <a:lnTo>
                      <a:pt x="294" y="708"/>
                    </a:lnTo>
                    <a:lnTo>
                      <a:pt x="294" y="714"/>
                    </a:lnTo>
                    <a:lnTo>
                      <a:pt x="288" y="714"/>
                    </a:lnTo>
                    <a:lnTo>
                      <a:pt x="288" y="720"/>
                    </a:lnTo>
                    <a:lnTo>
                      <a:pt x="282" y="720"/>
                    </a:lnTo>
                    <a:lnTo>
                      <a:pt x="282" y="714"/>
                    </a:lnTo>
                    <a:lnTo>
                      <a:pt x="276" y="720"/>
                    </a:lnTo>
                    <a:lnTo>
                      <a:pt x="276" y="714"/>
                    </a:lnTo>
                    <a:lnTo>
                      <a:pt x="276" y="720"/>
                    </a:lnTo>
                    <a:lnTo>
                      <a:pt x="270" y="714"/>
                    </a:lnTo>
                    <a:lnTo>
                      <a:pt x="270" y="708"/>
                    </a:lnTo>
                    <a:lnTo>
                      <a:pt x="276" y="708"/>
                    </a:lnTo>
                    <a:lnTo>
                      <a:pt x="276" y="702"/>
                    </a:lnTo>
                    <a:lnTo>
                      <a:pt x="282" y="702"/>
                    </a:lnTo>
                    <a:lnTo>
                      <a:pt x="282" y="696"/>
                    </a:lnTo>
                    <a:lnTo>
                      <a:pt x="276" y="696"/>
                    </a:lnTo>
                    <a:lnTo>
                      <a:pt x="270" y="696"/>
                    </a:lnTo>
                    <a:lnTo>
                      <a:pt x="264" y="696"/>
                    </a:lnTo>
                    <a:lnTo>
                      <a:pt x="264" y="690"/>
                    </a:lnTo>
                    <a:lnTo>
                      <a:pt x="258" y="690"/>
                    </a:lnTo>
                    <a:lnTo>
                      <a:pt x="258" y="696"/>
                    </a:lnTo>
                    <a:lnTo>
                      <a:pt x="264" y="696"/>
                    </a:lnTo>
                    <a:lnTo>
                      <a:pt x="264" y="702"/>
                    </a:lnTo>
                    <a:lnTo>
                      <a:pt x="264" y="708"/>
                    </a:lnTo>
                    <a:lnTo>
                      <a:pt x="264" y="702"/>
                    </a:lnTo>
                    <a:lnTo>
                      <a:pt x="258" y="702"/>
                    </a:lnTo>
                    <a:lnTo>
                      <a:pt x="258" y="708"/>
                    </a:lnTo>
                    <a:lnTo>
                      <a:pt x="264" y="708"/>
                    </a:lnTo>
                    <a:lnTo>
                      <a:pt x="264" y="714"/>
                    </a:lnTo>
                    <a:lnTo>
                      <a:pt x="258" y="714"/>
                    </a:lnTo>
                    <a:lnTo>
                      <a:pt x="258" y="708"/>
                    </a:lnTo>
                    <a:lnTo>
                      <a:pt x="252" y="708"/>
                    </a:lnTo>
                    <a:lnTo>
                      <a:pt x="252" y="714"/>
                    </a:lnTo>
                    <a:lnTo>
                      <a:pt x="252" y="720"/>
                    </a:lnTo>
                    <a:lnTo>
                      <a:pt x="252" y="714"/>
                    </a:lnTo>
                    <a:lnTo>
                      <a:pt x="246" y="714"/>
                    </a:lnTo>
                    <a:lnTo>
                      <a:pt x="246" y="720"/>
                    </a:lnTo>
                    <a:lnTo>
                      <a:pt x="240" y="714"/>
                    </a:lnTo>
                    <a:lnTo>
                      <a:pt x="240" y="720"/>
                    </a:lnTo>
                    <a:lnTo>
                      <a:pt x="240" y="714"/>
                    </a:lnTo>
                    <a:lnTo>
                      <a:pt x="240" y="708"/>
                    </a:lnTo>
                    <a:lnTo>
                      <a:pt x="234" y="708"/>
                    </a:lnTo>
                    <a:lnTo>
                      <a:pt x="234" y="714"/>
                    </a:lnTo>
                    <a:lnTo>
                      <a:pt x="228" y="714"/>
                    </a:lnTo>
                    <a:lnTo>
                      <a:pt x="228" y="708"/>
                    </a:lnTo>
                    <a:lnTo>
                      <a:pt x="234" y="708"/>
                    </a:lnTo>
                    <a:lnTo>
                      <a:pt x="234" y="702"/>
                    </a:lnTo>
                    <a:lnTo>
                      <a:pt x="228" y="702"/>
                    </a:lnTo>
                    <a:lnTo>
                      <a:pt x="228" y="696"/>
                    </a:lnTo>
                    <a:lnTo>
                      <a:pt x="222" y="696"/>
                    </a:lnTo>
                    <a:lnTo>
                      <a:pt x="222" y="702"/>
                    </a:lnTo>
                    <a:lnTo>
                      <a:pt x="228" y="702"/>
                    </a:lnTo>
                    <a:lnTo>
                      <a:pt x="228" y="708"/>
                    </a:lnTo>
                    <a:lnTo>
                      <a:pt x="222" y="708"/>
                    </a:lnTo>
                    <a:lnTo>
                      <a:pt x="222" y="702"/>
                    </a:lnTo>
                    <a:lnTo>
                      <a:pt x="216" y="702"/>
                    </a:lnTo>
                    <a:lnTo>
                      <a:pt x="216" y="708"/>
                    </a:lnTo>
                    <a:lnTo>
                      <a:pt x="210" y="708"/>
                    </a:lnTo>
                    <a:lnTo>
                      <a:pt x="210" y="702"/>
                    </a:lnTo>
                    <a:lnTo>
                      <a:pt x="210" y="696"/>
                    </a:lnTo>
                    <a:lnTo>
                      <a:pt x="210" y="702"/>
                    </a:lnTo>
                    <a:lnTo>
                      <a:pt x="216" y="702"/>
                    </a:lnTo>
                    <a:lnTo>
                      <a:pt x="216" y="696"/>
                    </a:lnTo>
                    <a:lnTo>
                      <a:pt x="222" y="696"/>
                    </a:lnTo>
                    <a:lnTo>
                      <a:pt x="222" y="690"/>
                    </a:lnTo>
                    <a:lnTo>
                      <a:pt x="216" y="690"/>
                    </a:lnTo>
                    <a:lnTo>
                      <a:pt x="216" y="684"/>
                    </a:lnTo>
                    <a:lnTo>
                      <a:pt x="216" y="690"/>
                    </a:lnTo>
                    <a:lnTo>
                      <a:pt x="210" y="684"/>
                    </a:lnTo>
                    <a:lnTo>
                      <a:pt x="210" y="690"/>
                    </a:lnTo>
                    <a:lnTo>
                      <a:pt x="210" y="696"/>
                    </a:lnTo>
                    <a:lnTo>
                      <a:pt x="210" y="702"/>
                    </a:lnTo>
                    <a:lnTo>
                      <a:pt x="204" y="702"/>
                    </a:lnTo>
                    <a:lnTo>
                      <a:pt x="204" y="696"/>
                    </a:lnTo>
                    <a:lnTo>
                      <a:pt x="204" y="690"/>
                    </a:lnTo>
                    <a:lnTo>
                      <a:pt x="204" y="696"/>
                    </a:lnTo>
                    <a:lnTo>
                      <a:pt x="198" y="696"/>
                    </a:lnTo>
                    <a:lnTo>
                      <a:pt x="198" y="690"/>
                    </a:lnTo>
                    <a:lnTo>
                      <a:pt x="204" y="690"/>
                    </a:lnTo>
                    <a:lnTo>
                      <a:pt x="204" y="684"/>
                    </a:lnTo>
                    <a:lnTo>
                      <a:pt x="210" y="684"/>
                    </a:lnTo>
                    <a:lnTo>
                      <a:pt x="210" y="678"/>
                    </a:lnTo>
                    <a:lnTo>
                      <a:pt x="216" y="678"/>
                    </a:lnTo>
                    <a:lnTo>
                      <a:pt x="222" y="678"/>
                    </a:lnTo>
                    <a:lnTo>
                      <a:pt x="216" y="678"/>
                    </a:lnTo>
                    <a:lnTo>
                      <a:pt x="216" y="684"/>
                    </a:lnTo>
                    <a:lnTo>
                      <a:pt x="210" y="684"/>
                    </a:lnTo>
                    <a:lnTo>
                      <a:pt x="216" y="684"/>
                    </a:lnTo>
                    <a:lnTo>
                      <a:pt x="222" y="684"/>
                    </a:lnTo>
                    <a:lnTo>
                      <a:pt x="222" y="678"/>
                    </a:lnTo>
                    <a:lnTo>
                      <a:pt x="222" y="672"/>
                    </a:lnTo>
                    <a:lnTo>
                      <a:pt x="216" y="672"/>
                    </a:lnTo>
                    <a:lnTo>
                      <a:pt x="216" y="678"/>
                    </a:lnTo>
                    <a:lnTo>
                      <a:pt x="216" y="672"/>
                    </a:lnTo>
                    <a:lnTo>
                      <a:pt x="216" y="666"/>
                    </a:lnTo>
                    <a:lnTo>
                      <a:pt x="216" y="660"/>
                    </a:lnTo>
                    <a:lnTo>
                      <a:pt x="222" y="660"/>
                    </a:lnTo>
                    <a:lnTo>
                      <a:pt x="216" y="660"/>
                    </a:lnTo>
                    <a:lnTo>
                      <a:pt x="210" y="660"/>
                    </a:lnTo>
                    <a:lnTo>
                      <a:pt x="210" y="666"/>
                    </a:lnTo>
                    <a:lnTo>
                      <a:pt x="204" y="666"/>
                    </a:lnTo>
                    <a:lnTo>
                      <a:pt x="210" y="666"/>
                    </a:lnTo>
                    <a:lnTo>
                      <a:pt x="210" y="672"/>
                    </a:lnTo>
                    <a:lnTo>
                      <a:pt x="204" y="678"/>
                    </a:lnTo>
                    <a:lnTo>
                      <a:pt x="204" y="672"/>
                    </a:lnTo>
                    <a:lnTo>
                      <a:pt x="204" y="678"/>
                    </a:lnTo>
                    <a:lnTo>
                      <a:pt x="204" y="672"/>
                    </a:lnTo>
                    <a:lnTo>
                      <a:pt x="204" y="666"/>
                    </a:lnTo>
                    <a:lnTo>
                      <a:pt x="198" y="666"/>
                    </a:lnTo>
                    <a:lnTo>
                      <a:pt x="198" y="672"/>
                    </a:lnTo>
                    <a:lnTo>
                      <a:pt x="198" y="666"/>
                    </a:lnTo>
                    <a:lnTo>
                      <a:pt x="192" y="666"/>
                    </a:lnTo>
                    <a:lnTo>
                      <a:pt x="192" y="672"/>
                    </a:lnTo>
                    <a:lnTo>
                      <a:pt x="198" y="672"/>
                    </a:lnTo>
                    <a:lnTo>
                      <a:pt x="198" y="678"/>
                    </a:lnTo>
                    <a:lnTo>
                      <a:pt x="198" y="672"/>
                    </a:lnTo>
                    <a:lnTo>
                      <a:pt x="204" y="672"/>
                    </a:lnTo>
                    <a:lnTo>
                      <a:pt x="204" y="678"/>
                    </a:lnTo>
                    <a:lnTo>
                      <a:pt x="198" y="678"/>
                    </a:lnTo>
                    <a:lnTo>
                      <a:pt x="192" y="678"/>
                    </a:lnTo>
                    <a:lnTo>
                      <a:pt x="198" y="678"/>
                    </a:lnTo>
                    <a:lnTo>
                      <a:pt x="198" y="684"/>
                    </a:lnTo>
                    <a:lnTo>
                      <a:pt x="192" y="684"/>
                    </a:lnTo>
                    <a:lnTo>
                      <a:pt x="186" y="684"/>
                    </a:lnTo>
                    <a:lnTo>
                      <a:pt x="186" y="678"/>
                    </a:lnTo>
                    <a:lnTo>
                      <a:pt x="192" y="678"/>
                    </a:lnTo>
                    <a:lnTo>
                      <a:pt x="192" y="672"/>
                    </a:lnTo>
                    <a:lnTo>
                      <a:pt x="186" y="672"/>
                    </a:lnTo>
                    <a:lnTo>
                      <a:pt x="180" y="672"/>
                    </a:lnTo>
                    <a:lnTo>
                      <a:pt x="180" y="678"/>
                    </a:lnTo>
                    <a:lnTo>
                      <a:pt x="174" y="678"/>
                    </a:lnTo>
                    <a:lnTo>
                      <a:pt x="174" y="684"/>
                    </a:lnTo>
                    <a:lnTo>
                      <a:pt x="168" y="684"/>
                    </a:lnTo>
                    <a:lnTo>
                      <a:pt x="168" y="690"/>
                    </a:lnTo>
                    <a:lnTo>
                      <a:pt x="174" y="690"/>
                    </a:lnTo>
                    <a:lnTo>
                      <a:pt x="168" y="690"/>
                    </a:lnTo>
                    <a:lnTo>
                      <a:pt x="162" y="690"/>
                    </a:lnTo>
                    <a:lnTo>
                      <a:pt x="162" y="696"/>
                    </a:lnTo>
                    <a:lnTo>
                      <a:pt x="162" y="690"/>
                    </a:lnTo>
                    <a:lnTo>
                      <a:pt x="156" y="690"/>
                    </a:lnTo>
                    <a:lnTo>
                      <a:pt x="156" y="696"/>
                    </a:lnTo>
                    <a:lnTo>
                      <a:pt x="162" y="696"/>
                    </a:lnTo>
                    <a:lnTo>
                      <a:pt x="168" y="696"/>
                    </a:lnTo>
                    <a:lnTo>
                      <a:pt x="174" y="696"/>
                    </a:lnTo>
                    <a:lnTo>
                      <a:pt x="174" y="702"/>
                    </a:lnTo>
                    <a:lnTo>
                      <a:pt x="174" y="708"/>
                    </a:lnTo>
                    <a:lnTo>
                      <a:pt x="180" y="708"/>
                    </a:lnTo>
                    <a:lnTo>
                      <a:pt x="180" y="714"/>
                    </a:lnTo>
                    <a:lnTo>
                      <a:pt x="180" y="720"/>
                    </a:lnTo>
                    <a:lnTo>
                      <a:pt x="180" y="726"/>
                    </a:lnTo>
                    <a:lnTo>
                      <a:pt x="186" y="726"/>
                    </a:lnTo>
                    <a:lnTo>
                      <a:pt x="180" y="726"/>
                    </a:lnTo>
                    <a:lnTo>
                      <a:pt x="180" y="732"/>
                    </a:lnTo>
                    <a:lnTo>
                      <a:pt x="180" y="738"/>
                    </a:lnTo>
                    <a:lnTo>
                      <a:pt x="186" y="738"/>
                    </a:lnTo>
                    <a:lnTo>
                      <a:pt x="186" y="744"/>
                    </a:lnTo>
                    <a:lnTo>
                      <a:pt x="192" y="744"/>
                    </a:lnTo>
                    <a:lnTo>
                      <a:pt x="192" y="750"/>
                    </a:lnTo>
                    <a:lnTo>
                      <a:pt x="198" y="750"/>
                    </a:lnTo>
                    <a:lnTo>
                      <a:pt x="198" y="756"/>
                    </a:lnTo>
                    <a:lnTo>
                      <a:pt x="198" y="762"/>
                    </a:lnTo>
                    <a:lnTo>
                      <a:pt x="198" y="768"/>
                    </a:lnTo>
                    <a:lnTo>
                      <a:pt x="198" y="774"/>
                    </a:lnTo>
                    <a:lnTo>
                      <a:pt x="192" y="774"/>
                    </a:lnTo>
                    <a:lnTo>
                      <a:pt x="192" y="780"/>
                    </a:lnTo>
                    <a:lnTo>
                      <a:pt x="198" y="780"/>
                    </a:lnTo>
                    <a:lnTo>
                      <a:pt x="198" y="786"/>
                    </a:lnTo>
                    <a:lnTo>
                      <a:pt x="204" y="786"/>
                    </a:lnTo>
                    <a:lnTo>
                      <a:pt x="204" y="780"/>
                    </a:lnTo>
                    <a:lnTo>
                      <a:pt x="210" y="780"/>
                    </a:lnTo>
                    <a:lnTo>
                      <a:pt x="216" y="780"/>
                    </a:lnTo>
                    <a:lnTo>
                      <a:pt x="216" y="786"/>
                    </a:lnTo>
                    <a:lnTo>
                      <a:pt x="216" y="792"/>
                    </a:lnTo>
                    <a:lnTo>
                      <a:pt x="222" y="792"/>
                    </a:lnTo>
                    <a:lnTo>
                      <a:pt x="216" y="792"/>
                    </a:lnTo>
                    <a:lnTo>
                      <a:pt x="222" y="792"/>
                    </a:lnTo>
                    <a:lnTo>
                      <a:pt x="222" y="798"/>
                    </a:lnTo>
                    <a:lnTo>
                      <a:pt x="216" y="798"/>
                    </a:lnTo>
                    <a:lnTo>
                      <a:pt x="216" y="804"/>
                    </a:lnTo>
                    <a:lnTo>
                      <a:pt x="222" y="804"/>
                    </a:lnTo>
                    <a:lnTo>
                      <a:pt x="222" y="810"/>
                    </a:lnTo>
                    <a:lnTo>
                      <a:pt x="222" y="816"/>
                    </a:lnTo>
                    <a:lnTo>
                      <a:pt x="222" y="822"/>
                    </a:lnTo>
                    <a:lnTo>
                      <a:pt x="216" y="822"/>
                    </a:lnTo>
                    <a:lnTo>
                      <a:pt x="216" y="828"/>
                    </a:lnTo>
                    <a:lnTo>
                      <a:pt x="210" y="828"/>
                    </a:lnTo>
                    <a:lnTo>
                      <a:pt x="210" y="834"/>
                    </a:lnTo>
                    <a:lnTo>
                      <a:pt x="204" y="834"/>
                    </a:lnTo>
                    <a:lnTo>
                      <a:pt x="204" y="840"/>
                    </a:lnTo>
                    <a:lnTo>
                      <a:pt x="204" y="834"/>
                    </a:lnTo>
                    <a:lnTo>
                      <a:pt x="204" y="840"/>
                    </a:lnTo>
                    <a:lnTo>
                      <a:pt x="198" y="840"/>
                    </a:lnTo>
                    <a:lnTo>
                      <a:pt x="198" y="834"/>
                    </a:lnTo>
                    <a:lnTo>
                      <a:pt x="198" y="828"/>
                    </a:lnTo>
                    <a:lnTo>
                      <a:pt x="198" y="834"/>
                    </a:lnTo>
                    <a:lnTo>
                      <a:pt x="192" y="834"/>
                    </a:lnTo>
                    <a:lnTo>
                      <a:pt x="192" y="828"/>
                    </a:lnTo>
                    <a:lnTo>
                      <a:pt x="192" y="834"/>
                    </a:lnTo>
                    <a:lnTo>
                      <a:pt x="186" y="834"/>
                    </a:lnTo>
                    <a:lnTo>
                      <a:pt x="186" y="828"/>
                    </a:lnTo>
                    <a:lnTo>
                      <a:pt x="180" y="828"/>
                    </a:lnTo>
                    <a:lnTo>
                      <a:pt x="180" y="822"/>
                    </a:lnTo>
                    <a:lnTo>
                      <a:pt x="174" y="822"/>
                    </a:lnTo>
                    <a:lnTo>
                      <a:pt x="174" y="816"/>
                    </a:lnTo>
                    <a:lnTo>
                      <a:pt x="168" y="816"/>
                    </a:lnTo>
                    <a:lnTo>
                      <a:pt x="168" y="810"/>
                    </a:lnTo>
                    <a:lnTo>
                      <a:pt x="162" y="810"/>
                    </a:lnTo>
                    <a:lnTo>
                      <a:pt x="162" y="816"/>
                    </a:lnTo>
                    <a:lnTo>
                      <a:pt x="162" y="822"/>
                    </a:lnTo>
                    <a:lnTo>
                      <a:pt x="156" y="822"/>
                    </a:lnTo>
                    <a:lnTo>
                      <a:pt x="156" y="828"/>
                    </a:lnTo>
                    <a:lnTo>
                      <a:pt x="150" y="828"/>
                    </a:lnTo>
                    <a:lnTo>
                      <a:pt x="150" y="822"/>
                    </a:lnTo>
                    <a:lnTo>
                      <a:pt x="144" y="822"/>
                    </a:lnTo>
                    <a:lnTo>
                      <a:pt x="150" y="822"/>
                    </a:lnTo>
                    <a:lnTo>
                      <a:pt x="144" y="822"/>
                    </a:lnTo>
                    <a:lnTo>
                      <a:pt x="144" y="816"/>
                    </a:lnTo>
                    <a:lnTo>
                      <a:pt x="150" y="816"/>
                    </a:lnTo>
                    <a:lnTo>
                      <a:pt x="150" y="810"/>
                    </a:lnTo>
                    <a:lnTo>
                      <a:pt x="144" y="810"/>
                    </a:lnTo>
                    <a:lnTo>
                      <a:pt x="144" y="804"/>
                    </a:lnTo>
                    <a:lnTo>
                      <a:pt x="138" y="804"/>
                    </a:lnTo>
                    <a:lnTo>
                      <a:pt x="138" y="798"/>
                    </a:lnTo>
                    <a:lnTo>
                      <a:pt x="132" y="798"/>
                    </a:lnTo>
                    <a:lnTo>
                      <a:pt x="138" y="798"/>
                    </a:lnTo>
                    <a:lnTo>
                      <a:pt x="132" y="798"/>
                    </a:lnTo>
                    <a:lnTo>
                      <a:pt x="132" y="792"/>
                    </a:lnTo>
                    <a:lnTo>
                      <a:pt x="138" y="792"/>
                    </a:lnTo>
                    <a:lnTo>
                      <a:pt x="138" y="786"/>
                    </a:lnTo>
                    <a:lnTo>
                      <a:pt x="138" y="780"/>
                    </a:lnTo>
                    <a:lnTo>
                      <a:pt x="138" y="774"/>
                    </a:lnTo>
                    <a:lnTo>
                      <a:pt x="138" y="768"/>
                    </a:lnTo>
                    <a:lnTo>
                      <a:pt x="132" y="768"/>
                    </a:lnTo>
                    <a:lnTo>
                      <a:pt x="132" y="762"/>
                    </a:lnTo>
                    <a:lnTo>
                      <a:pt x="132" y="756"/>
                    </a:lnTo>
                    <a:lnTo>
                      <a:pt x="132" y="750"/>
                    </a:lnTo>
                    <a:lnTo>
                      <a:pt x="126" y="750"/>
                    </a:lnTo>
                    <a:lnTo>
                      <a:pt x="126" y="744"/>
                    </a:lnTo>
                    <a:lnTo>
                      <a:pt x="132" y="744"/>
                    </a:lnTo>
                    <a:lnTo>
                      <a:pt x="138" y="744"/>
                    </a:lnTo>
                    <a:lnTo>
                      <a:pt x="138" y="738"/>
                    </a:lnTo>
                    <a:lnTo>
                      <a:pt x="144" y="738"/>
                    </a:lnTo>
                    <a:lnTo>
                      <a:pt x="144" y="732"/>
                    </a:lnTo>
                    <a:lnTo>
                      <a:pt x="150" y="732"/>
                    </a:lnTo>
                    <a:lnTo>
                      <a:pt x="144" y="726"/>
                    </a:lnTo>
                    <a:lnTo>
                      <a:pt x="144" y="720"/>
                    </a:lnTo>
                    <a:lnTo>
                      <a:pt x="150" y="720"/>
                    </a:lnTo>
                    <a:lnTo>
                      <a:pt x="150" y="714"/>
                    </a:lnTo>
                    <a:lnTo>
                      <a:pt x="156" y="714"/>
                    </a:lnTo>
                    <a:lnTo>
                      <a:pt x="162" y="714"/>
                    </a:lnTo>
                    <a:lnTo>
                      <a:pt x="156" y="714"/>
                    </a:lnTo>
                    <a:lnTo>
                      <a:pt x="162" y="714"/>
                    </a:lnTo>
                    <a:lnTo>
                      <a:pt x="162" y="708"/>
                    </a:lnTo>
                    <a:lnTo>
                      <a:pt x="156" y="708"/>
                    </a:lnTo>
                    <a:lnTo>
                      <a:pt x="150" y="708"/>
                    </a:lnTo>
                    <a:lnTo>
                      <a:pt x="150" y="702"/>
                    </a:lnTo>
                    <a:lnTo>
                      <a:pt x="156" y="702"/>
                    </a:lnTo>
                    <a:lnTo>
                      <a:pt x="150" y="702"/>
                    </a:lnTo>
                    <a:lnTo>
                      <a:pt x="150" y="696"/>
                    </a:lnTo>
                    <a:lnTo>
                      <a:pt x="144" y="696"/>
                    </a:lnTo>
                    <a:lnTo>
                      <a:pt x="144" y="690"/>
                    </a:lnTo>
                    <a:lnTo>
                      <a:pt x="144" y="684"/>
                    </a:lnTo>
                    <a:lnTo>
                      <a:pt x="144" y="678"/>
                    </a:lnTo>
                    <a:lnTo>
                      <a:pt x="144" y="672"/>
                    </a:lnTo>
                    <a:lnTo>
                      <a:pt x="150" y="672"/>
                    </a:lnTo>
                    <a:lnTo>
                      <a:pt x="156" y="672"/>
                    </a:lnTo>
                    <a:lnTo>
                      <a:pt x="156" y="666"/>
                    </a:lnTo>
                    <a:lnTo>
                      <a:pt x="156" y="672"/>
                    </a:lnTo>
                    <a:lnTo>
                      <a:pt x="156" y="666"/>
                    </a:lnTo>
                    <a:lnTo>
                      <a:pt x="156" y="660"/>
                    </a:lnTo>
                    <a:lnTo>
                      <a:pt x="162" y="660"/>
                    </a:lnTo>
                    <a:lnTo>
                      <a:pt x="162" y="654"/>
                    </a:lnTo>
                    <a:lnTo>
                      <a:pt x="168" y="654"/>
                    </a:lnTo>
                    <a:lnTo>
                      <a:pt x="168" y="660"/>
                    </a:lnTo>
                    <a:lnTo>
                      <a:pt x="174" y="660"/>
                    </a:lnTo>
                    <a:lnTo>
                      <a:pt x="174" y="654"/>
                    </a:lnTo>
                    <a:lnTo>
                      <a:pt x="180" y="654"/>
                    </a:lnTo>
                    <a:lnTo>
                      <a:pt x="180" y="660"/>
                    </a:lnTo>
                    <a:lnTo>
                      <a:pt x="186" y="660"/>
                    </a:lnTo>
                    <a:lnTo>
                      <a:pt x="186" y="654"/>
                    </a:lnTo>
                    <a:lnTo>
                      <a:pt x="192" y="654"/>
                    </a:lnTo>
                    <a:lnTo>
                      <a:pt x="198" y="654"/>
                    </a:lnTo>
                    <a:lnTo>
                      <a:pt x="198" y="648"/>
                    </a:lnTo>
                    <a:lnTo>
                      <a:pt x="198" y="654"/>
                    </a:lnTo>
                    <a:lnTo>
                      <a:pt x="198" y="648"/>
                    </a:lnTo>
                    <a:lnTo>
                      <a:pt x="198" y="654"/>
                    </a:lnTo>
                    <a:lnTo>
                      <a:pt x="198" y="648"/>
                    </a:lnTo>
                    <a:lnTo>
                      <a:pt x="204" y="648"/>
                    </a:lnTo>
                    <a:lnTo>
                      <a:pt x="204" y="642"/>
                    </a:lnTo>
                    <a:lnTo>
                      <a:pt x="198" y="642"/>
                    </a:lnTo>
                    <a:lnTo>
                      <a:pt x="198" y="636"/>
                    </a:lnTo>
                    <a:lnTo>
                      <a:pt x="204" y="636"/>
                    </a:lnTo>
                    <a:lnTo>
                      <a:pt x="198" y="636"/>
                    </a:lnTo>
                    <a:lnTo>
                      <a:pt x="198" y="630"/>
                    </a:lnTo>
                    <a:lnTo>
                      <a:pt x="204" y="630"/>
                    </a:lnTo>
                    <a:lnTo>
                      <a:pt x="204" y="624"/>
                    </a:lnTo>
                    <a:lnTo>
                      <a:pt x="210" y="624"/>
                    </a:lnTo>
                    <a:lnTo>
                      <a:pt x="210" y="618"/>
                    </a:lnTo>
                    <a:lnTo>
                      <a:pt x="210" y="612"/>
                    </a:lnTo>
                    <a:lnTo>
                      <a:pt x="216" y="612"/>
                    </a:lnTo>
                    <a:lnTo>
                      <a:pt x="216" y="606"/>
                    </a:lnTo>
                    <a:lnTo>
                      <a:pt x="216" y="600"/>
                    </a:lnTo>
                    <a:lnTo>
                      <a:pt x="222" y="600"/>
                    </a:lnTo>
                    <a:lnTo>
                      <a:pt x="216" y="600"/>
                    </a:lnTo>
                    <a:lnTo>
                      <a:pt x="222" y="600"/>
                    </a:lnTo>
                    <a:lnTo>
                      <a:pt x="222" y="594"/>
                    </a:lnTo>
                    <a:lnTo>
                      <a:pt x="222" y="588"/>
                    </a:lnTo>
                    <a:lnTo>
                      <a:pt x="228" y="588"/>
                    </a:lnTo>
                    <a:lnTo>
                      <a:pt x="222" y="588"/>
                    </a:lnTo>
                    <a:lnTo>
                      <a:pt x="222" y="582"/>
                    </a:lnTo>
                    <a:lnTo>
                      <a:pt x="228" y="582"/>
                    </a:lnTo>
                    <a:lnTo>
                      <a:pt x="228" y="576"/>
                    </a:lnTo>
                    <a:lnTo>
                      <a:pt x="222" y="576"/>
                    </a:lnTo>
                    <a:lnTo>
                      <a:pt x="228" y="576"/>
                    </a:lnTo>
                    <a:lnTo>
                      <a:pt x="228" y="570"/>
                    </a:lnTo>
                    <a:lnTo>
                      <a:pt x="228" y="564"/>
                    </a:lnTo>
                    <a:lnTo>
                      <a:pt x="228" y="570"/>
                    </a:lnTo>
                    <a:lnTo>
                      <a:pt x="234" y="570"/>
                    </a:lnTo>
                    <a:lnTo>
                      <a:pt x="234" y="564"/>
                    </a:lnTo>
                    <a:lnTo>
                      <a:pt x="234" y="558"/>
                    </a:lnTo>
                    <a:lnTo>
                      <a:pt x="240" y="558"/>
                    </a:lnTo>
                    <a:lnTo>
                      <a:pt x="240" y="552"/>
                    </a:lnTo>
                    <a:lnTo>
                      <a:pt x="246" y="552"/>
                    </a:lnTo>
                    <a:lnTo>
                      <a:pt x="240" y="552"/>
                    </a:lnTo>
                    <a:lnTo>
                      <a:pt x="246" y="552"/>
                    </a:lnTo>
                    <a:lnTo>
                      <a:pt x="246" y="546"/>
                    </a:lnTo>
                    <a:lnTo>
                      <a:pt x="246" y="540"/>
                    </a:lnTo>
                    <a:lnTo>
                      <a:pt x="246" y="546"/>
                    </a:lnTo>
                    <a:lnTo>
                      <a:pt x="246" y="540"/>
                    </a:lnTo>
                    <a:lnTo>
                      <a:pt x="246" y="534"/>
                    </a:lnTo>
                    <a:lnTo>
                      <a:pt x="240" y="540"/>
                    </a:lnTo>
                    <a:lnTo>
                      <a:pt x="240" y="534"/>
                    </a:lnTo>
                    <a:lnTo>
                      <a:pt x="240" y="540"/>
                    </a:lnTo>
                    <a:lnTo>
                      <a:pt x="240" y="534"/>
                    </a:lnTo>
                    <a:lnTo>
                      <a:pt x="234" y="534"/>
                    </a:lnTo>
                    <a:lnTo>
                      <a:pt x="228" y="534"/>
                    </a:lnTo>
                    <a:lnTo>
                      <a:pt x="228" y="528"/>
                    </a:lnTo>
                    <a:lnTo>
                      <a:pt x="228" y="522"/>
                    </a:lnTo>
                    <a:lnTo>
                      <a:pt x="228" y="516"/>
                    </a:lnTo>
                    <a:lnTo>
                      <a:pt x="222" y="516"/>
                    </a:lnTo>
                    <a:lnTo>
                      <a:pt x="228" y="510"/>
                    </a:lnTo>
                    <a:lnTo>
                      <a:pt x="222" y="510"/>
                    </a:lnTo>
                    <a:lnTo>
                      <a:pt x="216" y="510"/>
                    </a:lnTo>
                    <a:lnTo>
                      <a:pt x="222" y="510"/>
                    </a:lnTo>
                    <a:lnTo>
                      <a:pt x="216" y="504"/>
                    </a:lnTo>
                    <a:lnTo>
                      <a:pt x="210" y="504"/>
                    </a:lnTo>
                    <a:lnTo>
                      <a:pt x="204" y="504"/>
                    </a:lnTo>
                    <a:lnTo>
                      <a:pt x="204" y="498"/>
                    </a:lnTo>
                    <a:lnTo>
                      <a:pt x="198" y="498"/>
                    </a:lnTo>
                    <a:lnTo>
                      <a:pt x="198" y="492"/>
                    </a:lnTo>
                    <a:lnTo>
                      <a:pt x="192" y="492"/>
                    </a:lnTo>
                    <a:lnTo>
                      <a:pt x="192" y="498"/>
                    </a:lnTo>
                    <a:lnTo>
                      <a:pt x="192" y="492"/>
                    </a:lnTo>
                    <a:lnTo>
                      <a:pt x="186" y="492"/>
                    </a:lnTo>
                    <a:lnTo>
                      <a:pt x="186" y="498"/>
                    </a:lnTo>
                    <a:lnTo>
                      <a:pt x="180" y="498"/>
                    </a:lnTo>
                    <a:lnTo>
                      <a:pt x="174" y="498"/>
                    </a:lnTo>
                    <a:lnTo>
                      <a:pt x="168" y="498"/>
                    </a:lnTo>
                    <a:lnTo>
                      <a:pt x="162" y="498"/>
                    </a:lnTo>
                    <a:lnTo>
                      <a:pt x="162" y="492"/>
                    </a:lnTo>
                    <a:lnTo>
                      <a:pt x="156" y="492"/>
                    </a:lnTo>
                    <a:lnTo>
                      <a:pt x="150" y="492"/>
                    </a:lnTo>
                    <a:lnTo>
                      <a:pt x="150" y="486"/>
                    </a:lnTo>
                    <a:lnTo>
                      <a:pt x="144" y="486"/>
                    </a:lnTo>
                    <a:lnTo>
                      <a:pt x="138" y="486"/>
                    </a:lnTo>
                    <a:lnTo>
                      <a:pt x="138" y="492"/>
                    </a:lnTo>
                    <a:lnTo>
                      <a:pt x="132" y="492"/>
                    </a:lnTo>
                    <a:lnTo>
                      <a:pt x="132" y="486"/>
                    </a:lnTo>
                    <a:lnTo>
                      <a:pt x="132" y="492"/>
                    </a:lnTo>
                    <a:lnTo>
                      <a:pt x="126" y="492"/>
                    </a:lnTo>
                    <a:lnTo>
                      <a:pt x="132" y="486"/>
                    </a:lnTo>
                    <a:lnTo>
                      <a:pt x="132" y="480"/>
                    </a:lnTo>
                    <a:lnTo>
                      <a:pt x="132" y="474"/>
                    </a:lnTo>
                    <a:lnTo>
                      <a:pt x="126" y="474"/>
                    </a:lnTo>
                    <a:lnTo>
                      <a:pt x="120" y="474"/>
                    </a:lnTo>
                    <a:lnTo>
                      <a:pt x="120" y="480"/>
                    </a:lnTo>
                    <a:lnTo>
                      <a:pt x="114" y="480"/>
                    </a:lnTo>
                    <a:lnTo>
                      <a:pt x="120" y="480"/>
                    </a:lnTo>
                    <a:lnTo>
                      <a:pt x="114" y="480"/>
                    </a:lnTo>
                    <a:lnTo>
                      <a:pt x="114" y="486"/>
                    </a:lnTo>
                    <a:lnTo>
                      <a:pt x="114" y="480"/>
                    </a:lnTo>
                    <a:lnTo>
                      <a:pt x="114" y="486"/>
                    </a:lnTo>
                    <a:lnTo>
                      <a:pt x="108" y="486"/>
                    </a:lnTo>
                    <a:lnTo>
                      <a:pt x="108" y="480"/>
                    </a:lnTo>
                    <a:lnTo>
                      <a:pt x="108" y="486"/>
                    </a:lnTo>
                    <a:lnTo>
                      <a:pt x="108" y="480"/>
                    </a:lnTo>
                    <a:lnTo>
                      <a:pt x="108" y="486"/>
                    </a:lnTo>
                    <a:lnTo>
                      <a:pt x="102" y="486"/>
                    </a:lnTo>
                    <a:lnTo>
                      <a:pt x="102" y="480"/>
                    </a:lnTo>
                    <a:lnTo>
                      <a:pt x="96" y="480"/>
                    </a:lnTo>
                    <a:lnTo>
                      <a:pt x="102" y="480"/>
                    </a:lnTo>
                    <a:lnTo>
                      <a:pt x="96" y="480"/>
                    </a:lnTo>
                    <a:lnTo>
                      <a:pt x="96" y="474"/>
                    </a:lnTo>
                    <a:lnTo>
                      <a:pt x="96" y="480"/>
                    </a:lnTo>
                    <a:lnTo>
                      <a:pt x="90" y="480"/>
                    </a:lnTo>
                    <a:lnTo>
                      <a:pt x="84" y="480"/>
                    </a:lnTo>
                    <a:lnTo>
                      <a:pt x="84" y="474"/>
                    </a:lnTo>
                    <a:lnTo>
                      <a:pt x="84" y="480"/>
                    </a:lnTo>
                    <a:lnTo>
                      <a:pt x="84" y="474"/>
                    </a:lnTo>
                    <a:lnTo>
                      <a:pt x="78" y="474"/>
                    </a:lnTo>
                    <a:lnTo>
                      <a:pt x="72" y="474"/>
                    </a:lnTo>
                    <a:lnTo>
                      <a:pt x="72" y="480"/>
                    </a:lnTo>
                    <a:lnTo>
                      <a:pt x="72" y="486"/>
                    </a:lnTo>
                    <a:lnTo>
                      <a:pt x="72" y="480"/>
                    </a:lnTo>
                    <a:lnTo>
                      <a:pt x="72" y="486"/>
                    </a:lnTo>
                    <a:lnTo>
                      <a:pt x="66" y="486"/>
                    </a:lnTo>
                    <a:lnTo>
                      <a:pt x="60" y="486"/>
                    </a:lnTo>
                    <a:lnTo>
                      <a:pt x="60" y="492"/>
                    </a:lnTo>
                    <a:lnTo>
                      <a:pt x="60" y="486"/>
                    </a:lnTo>
                    <a:lnTo>
                      <a:pt x="60" y="492"/>
                    </a:lnTo>
                    <a:lnTo>
                      <a:pt x="54" y="492"/>
                    </a:lnTo>
                    <a:lnTo>
                      <a:pt x="48" y="492"/>
                    </a:lnTo>
                    <a:lnTo>
                      <a:pt x="48" y="486"/>
                    </a:lnTo>
                    <a:lnTo>
                      <a:pt x="48" y="492"/>
                    </a:lnTo>
                    <a:lnTo>
                      <a:pt x="42" y="492"/>
                    </a:lnTo>
                    <a:lnTo>
                      <a:pt x="42" y="498"/>
                    </a:lnTo>
                    <a:lnTo>
                      <a:pt x="48" y="498"/>
                    </a:lnTo>
                    <a:lnTo>
                      <a:pt x="42" y="498"/>
                    </a:lnTo>
                    <a:lnTo>
                      <a:pt x="36" y="498"/>
                    </a:lnTo>
                    <a:lnTo>
                      <a:pt x="36" y="492"/>
                    </a:lnTo>
                    <a:lnTo>
                      <a:pt x="42" y="492"/>
                    </a:lnTo>
                    <a:lnTo>
                      <a:pt x="36" y="492"/>
                    </a:lnTo>
                    <a:lnTo>
                      <a:pt x="36" y="486"/>
                    </a:lnTo>
                    <a:lnTo>
                      <a:pt x="42" y="486"/>
                    </a:lnTo>
                    <a:lnTo>
                      <a:pt x="42" y="480"/>
                    </a:lnTo>
                    <a:lnTo>
                      <a:pt x="42" y="486"/>
                    </a:lnTo>
                    <a:lnTo>
                      <a:pt x="42" y="480"/>
                    </a:lnTo>
                    <a:lnTo>
                      <a:pt x="48" y="480"/>
                    </a:lnTo>
                    <a:lnTo>
                      <a:pt x="54" y="480"/>
                    </a:lnTo>
                    <a:lnTo>
                      <a:pt x="54" y="474"/>
                    </a:lnTo>
                    <a:lnTo>
                      <a:pt x="60" y="474"/>
                    </a:lnTo>
                    <a:lnTo>
                      <a:pt x="66" y="474"/>
                    </a:lnTo>
                    <a:lnTo>
                      <a:pt x="66" y="468"/>
                    </a:lnTo>
                    <a:lnTo>
                      <a:pt x="66" y="474"/>
                    </a:lnTo>
                    <a:lnTo>
                      <a:pt x="66" y="468"/>
                    </a:lnTo>
                    <a:lnTo>
                      <a:pt x="72" y="468"/>
                    </a:lnTo>
                    <a:lnTo>
                      <a:pt x="78" y="468"/>
                    </a:lnTo>
                    <a:lnTo>
                      <a:pt x="78" y="462"/>
                    </a:lnTo>
                    <a:lnTo>
                      <a:pt x="72" y="462"/>
                    </a:lnTo>
                    <a:lnTo>
                      <a:pt x="72" y="468"/>
                    </a:lnTo>
                    <a:lnTo>
                      <a:pt x="72" y="462"/>
                    </a:lnTo>
                    <a:lnTo>
                      <a:pt x="66" y="462"/>
                    </a:lnTo>
                    <a:lnTo>
                      <a:pt x="60" y="462"/>
                    </a:lnTo>
                    <a:lnTo>
                      <a:pt x="54" y="462"/>
                    </a:lnTo>
                    <a:lnTo>
                      <a:pt x="54" y="456"/>
                    </a:lnTo>
                    <a:lnTo>
                      <a:pt x="48" y="456"/>
                    </a:lnTo>
                    <a:lnTo>
                      <a:pt x="48" y="450"/>
                    </a:lnTo>
                    <a:lnTo>
                      <a:pt x="54" y="450"/>
                    </a:lnTo>
                    <a:lnTo>
                      <a:pt x="60" y="450"/>
                    </a:lnTo>
                    <a:lnTo>
                      <a:pt x="60" y="444"/>
                    </a:lnTo>
                    <a:lnTo>
                      <a:pt x="66" y="444"/>
                    </a:lnTo>
                    <a:lnTo>
                      <a:pt x="66" y="438"/>
                    </a:lnTo>
                    <a:lnTo>
                      <a:pt x="66" y="432"/>
                    </a:lnTo>
                    <a:lnTo>
                      <a:pt x="60" y="432"/>
                    </a:lnTo>
                    <a:lnTo>
                      <a:pt x="60" y="426"/>
                    </a:lnTo>
                    <a:lnTo>
                      <a:pt x="60" y="420"/>
                    </a:lnTo>
                    <a:lnTo>
                      <a:pt x="54" y="420"/>
                    </a:lnTo>
                    <a:lnTo>
                      <a:pt x="48" y="420"/>
                    </a:lnTo>
                    <a:lnTo>
                      <a:pt x="48" y="414"/>
                    </a:lnTo>
                    <a:lnTo>
                      <a:pt x="42" y="414"/>
                    </a:lnTo>
                    <a:lnTo>
                      <a:pt x="36" y="414"/>
                    </a:lnTo>
                    <a:lnTo>
                      <a:pt x="36" y="408"/>
                    </a:lnTo>
                    <a:lnTo>
                      <a:pt x="36" y="402"/>
                    </a:lnTo>
                    <a:lnTo>
                      <a:pt x="36" y="396"/>
                    </a:lnTo>
                    <a:lnTo>
                      <a:pt x="30" y="396"/>
                    </a:lnTo>
                    <a:lnTo>
                      <a:pt x="30" y="390"/>
                    </a:lnTo>
                    <a:lnTo>
                      <a:pt x="24" y="390"/>
                    </a:lnTo>
                    <a:lnTo>
                      <a:pt x="30" y="390"/>
                    </a:lnTo>
                    <a:lnTo>
                      <a:pt x="30" y="384"/>
                    </a:lnTo>
                    <a:lnTo>
                      <a:pt x="24" y="384"/>
                    </a:lnTo>
                    <a:lnTo>
                      <a:pt x="24" y="390"/>
                    </a:lnTo>
                    <a:lnTo>
                      <a:pt x="24" y="384"/>
                    </a:lnTo>
                    <a:lnTo>
                      <a:pt x="30" y="384"/>
                    </a:lnTo>
                    <a:lnTo>
                      <a:pt x="30" y="378"/>
                    </a:lnTo>
                    <a:lnTo>
                      <a:pt x="30" y="372"/>
                    </a:lnTo>
                    <a:lnTo>
                      <a:pt x="24" y="372"/>
                    </a:lnTo>
                    <a:lnTo>
                      <a:pt x="24" y="366"/>
                    </a:lnTo>
                    <a:lnTo>
                      <a:pt x="24" y="360"/>
                    </a:lnTo>
                    <a:lnTo>
                      <a:pt x="18" y="360"/>
                    </a:lnTo>
                    <a:lnTo>
                      <a:pt x="24" y="360"/>
                    </a:lnTo>
                    <a:lnTo>
                      <a:pt x="24" y="354"/>
                    </a:lnTo>
                    <a:lnTo>
                      <a:pt x="30" y="348"/>
                    </a:lnTo>
                    <a:lnTo>
                      <a:pt x="30" y="354"/>
                    </a:lnTo>
                    <a:lnTo>
                      <a:pt x="30" y="348"/>
                    </a:lnTo>
                    <a:lnTo>
                      <a:pt x="36" y="348"/>
                    </a:lnTo>
                    <a:lnTo>
                      <a:pt x="42" y="348"/>
                    </a:lnTo>
                    <a:lnTo>
                      <a:pt x="42" y="342"/>
                    </a:lnTo>
                    <a:lnTo>
                      <a:pt x="48" y="342"/>
                    </a:lnTo>
                    <a:lnTo>
                      <a:pt x="48" y="336"/>
                    </a:lnTo>
                    <a:lnTo>
                      <a:pt x="48" y="330"/>
                    </a:lnTo>
                    <a:lnTo>
                      <a:pt x="54" y="330"/>
                    </a:lnTo>
                    <a:lnTo>
                      <a:pt x="48" y="330"/>
                    </a:lnTo>
                    <a:lnTo>
                      <a:pt x="48" y="324"/>
                    </a:lnTo>
                    <a:lnTo>
                      <a:pt x="42" y="324"/>
                    </a:lnTo>
                    <a:lnTo>
                      <a:pt x="48" y="324"/>
                    </a:lnTo>
                    <a:lnTo>
                      <a:pt x="42" y="324"/>
                    </a:lnTo>
                    <a:lnTo>
                      <a:pt x="42" y="318"/>
                    </a:lnTo>
                    <a:lnTo>
                      <a:pt x="48" y="318"/>
                    </a:lnTo>
                    <a:lnTo>
                      <a:pt x="48" y="312"/>
                    </a:lnTo>
                    <a:lnTo>
                      <a:pt x="48" y="306"/>
                    </a:lnTo>
                    <a:lnTo>
                      <a:pt x="54" y="306"/>
                    </a:lnTo>
                    <a:lnTo>
                      <a:pt x="48" y="306"/>
                    </a:lnTo>
                    <a:lnTo>
                      <a:pt x="48" y="300"/>
                    </a:lnTo>
                    <a:lnTo>
                      <a:pt x="54" y="300"/>
                    </a:lnTo>
                    <a:lnTo>
                      <a:pt x="48" y="300"/>
                    </a:lnTo>
                    <a:lnTo>
                      <a:pt x="48" y="294"/>
                    </a:lnTo>
                    <a:lnTo>
                      <a:pt x="42" y="294"/>
                    </a:lnTo>
                    <a:lnTo>
                      <a:pt x="48" y="294"/>
                    </a:lnTo>
                    <a:lnTo>
                      <a:pt x="42" y="294"/>
                    </a:lnTo>
                    <a:lnTo>
                      <a:pt x="42" y="288"/>
                    </a:lnTo>
                    <a:lnTo>
                      <a:pt x="42" y="282"/>
                    </a:lnTo>
                    <a:lnTo>
                      <a:pt x="48" y="282"/>
                    </a:lnTo>
                    <a:lnTo>
                      <a:pt x="42" y="282"/>
                    </a:lnTo>
                    <a:lnTo>
                      <a:pt x="42" y="276"/>
                    </a:lnTo>
                    <a:lnTo>
                      <a:pt x="48" y="276"/>
                    </a:lnTo>
                    <a:lnTo>
                      <a:pt x="42" y="276"/>
                    </a:lnTo>
                    <a:lnTo>
                      <a:pt x="42" y="270"/>
                    </a:lnTo>
                    <a:lnTo>
                      <a:pt x="42" y="276"/>
                    </a:lnTo>
                    <a:lnTo>
                      <a:pt x="42" y="270"/>
                    </a:lnTo>
                    <a:lnTo>
                      <a:pt x="36" y="270"/>
                    </a:lnTo>
                    <a:lnTo>
                      <a:pt x="36" y="276"/>
                    </a:lnTo>
                    <a:lnTo>
                      <a:pt x="36" y="270"/>
                    </a:lnTo>
                    <a:lnTo>
                      <a:pt x="30" y="270"/>
                    </a:lnTo>
                    <a:lnTo>
                      <a:pt x="30" y="264"/>
                    </a:lnTo>
                    <a:lnTo>
                      <a:pt x="24" y="258"/>
                    </a:lnTo>
                    <a:lnTo>
                      <a:pt x="24" y="252"/>
                    </a:lnTo>
                    <a:lnTo>
                      <a:pt x="30" y="246"/>
                    </a:lnTo>
                    <a:lnTo>
                      <a:pt x="24" y="246"/>
                    </a:lnTo>
                    <a:lnTo>
                      <a:pt x="24" y="240"/>
                    </a:lnTo>
                    <a:lnTo>
                      <a:pt x="24" y="234"/>
                    </a:lnTo>
                    <a:lnTo>
                      <a:pt x="18" y="234"/>
                    </a:lnTo>
                    <a:lnTo>
                      <a:pt x="24" y="234"/>
                    </a:lnTo>
                    <a:lnTo>
                      <a:pt x="18" y="234"/>
                    </a:lnTo>
                    <a:lnTo>
                      <a:pt x="18" y="228"/>
                    </a:lnTo>
                    <a:lnTo>
                      <a:pt x="12" y="228"/>
                    </a:lnTo>
                    <a:lnTo>
                      <a:pt x="12" y="222"/>
                    </a:lnTo>
                    <a:lnTo>
                      <a:pt x="12" y="216"/>
                    </a:lnTo>
                    <a:lnTo>
                      <a:pt x="6" y="216"/>
                    </a:lnTo>
                    <a:lnTo>
                      <a:pt x="12" y="210"/>
                    </a:lnTo>
                    <a:lnTo>
                      <a:pt x="12" y="204"/>
                    </a:lnTo>
                    <a:lnTo>
                      <a:pt x="12" y="198"/>
                    </a:lnTo>
                    <a:lnTo>
                      <a:pt x="12" y="192"/>
                    </a:lnTo>
                    <a:lnTo>
                      <a:pt x="6" y="192"/>
                    </a:lnTo>
                    <a:lnTo>
                      <a:pt x="6" y="186"/>
                    </a:lnTo>
                    <a:lnTo>
                      <a:pt x="0" y="186"/>
                    </a:lnTo>
                    <a:lnTo>
                      <a:pt x="0" y="180"/>
                    </a:lnTo>
                    <a:lnTo>
                      <a:pt x="6" y="180"/>
                    </a:lnTo>
                    <a:lnTo>
                      <a:pt x="0" y="180"/>
                    </a:lnTo>
                    <a:lnTo>
                      <a:pt x="0" y="174"/>
                    </a:lnTo>
                    <a:lnTo>
                      <a:pt x="6" y="174"/>
                    </a:lnTo>
                    <a:lnTo>
                      <a:pt x="0" y="174"/>
                    </a:lnTo>
                    <a:lnTo>
                      <a:pt x="6" y="174"/>
                    </a:lnTo>
                    <a:lnTo>
                      <a:pt x="6" y="168"/>
                    </a:lnTo>
                    <a:lnTo>
                      <a:pt x="6" y="162"/>
                    </a:lnTo>
                    <a:lnTo>
                      <a:pt x="0" y="162"/>
                    </a:lnTo>
                    <a:lnTo>
                      <a:pt x="6" y="162"/>
                    </a:lnTo>
                    <a:lnTo>
                      <a:pt x="0" y="156"/>
                    </a:lnTo>
                    <a:lnTo>
                      <a:pt x="6" y="156"/>
                    </a:lnTo>
                    <a:lnTo>
                      <a:pt x="6" y="150"/>
                    </a:lnTo>
                    <a:lnTo>
                      <a:pt x="0" y="150"/>
                    </a:lnTo>
                    <a:lnTo>
                      <a:pt x="0" y="144"/>
                    </a:lnTo>
                    <a:lnTo>
                      <a:pt x="6" y="144"/>
                    </a:lnTo>
                    <a:lnTo>
                      <a:pt x="6" y="138"/>
                    </a:lnTo>
                    <a:lnTo>
                      <a:pt x="0" y="138"/>
                    </a:lnTo>
                    <a:lnTo>
                      <a:pt x="6" y="138"/>
                    </a:lnTo>
                    <a:lnTo>
                      <a:pt x="6" y="132"/>
                    </a:lnTo>
                    <a:lnTo>
                      <a:pt x="0" y="132"/>
                    </a:lnTo>
                    <a:lnTo>
                      <a:pt x="0" y="126"/>
                    </a:lnTo>
                    <a:lnTo>
                      <a:pt x="0" y="120"/>
                    </a:lnTo>
                    <a:lnTo>
                      <a:pt x="0" y="114"/>
                    </a:lnTo>
                    <a:lnTo>
                      <a:pt x="0" y="108"/>
                    </a:lnTo>
                    <a:lnTo>
                      <a:pt x="0" y="102"/>
                    </a:lnTo>
                    <a:lnTo>
                      <a:pt x="6" y="102"/>
                    </a:lnTo>
                    <a:lnTo>
                      <a:pt x="6" y="96"/>
                    </a:lnTo>
                    <a:lnTo>
                      <a:pt x="0" y="96"/>
                    </a:lnTo>
                    <a:lnTo>
                      <a:pt x="0" y="90"/>
                    </a:lnTo>
                    <a:lnTo>
                      <a:pt x="6" y="90"/>
                    </a:lnTo>
                    <a:lnTo>
                      <a:pt x="6" y="84"/>
                    </a:lnTo>
                    <a:lnTo>
                      <a:pt x="6" y="78"/>
                    </a:lnTo>
                    <a:lnTo>
                      <a:pt x="12" y="78"/>
                    </a:lnTo>
                    <a:lnTo>
                      <a:pt x="6" y="78"/>
                    </a:lnTo>
                    <a:lnTo>
                      <a:pt x="6" y="72"/>
                    </a:lnTo>
                    <a:lnTo>
                      <a:pt x="12" y="72"/>
                    </a:lnTo>
                    <a:lnTo>
                      <a:pt x="12" y="66"/>
                    </a:lnTo>
                    <a:lnTo>
                      <a:pt x="12" y="60"/>
                    </a:lnTo>
                    <a:lnTo>
                      <a:pt x="18" y="60"/>
                    </a:lnTo>
                    <a:lnTo>
                      <a:pt x="18" y="54"/>
                    </a:lnTo>
                    <a:lnTo>
                      <a:pt x="24" y="54"/>
                    </a:lnTo>
                    <a:lnTo>
                      <a:pt x="24" y="48"/>
                    </a:lnTo>
                    <a:lnTo>
                      <a:pt x="30" y="48"/>
                    </a:lnTo>
                    <a:lnTo>
                      <a:pt x="36" y="48"/>
                    </a:lnTo>
                    <a:lnTo>
                      <a:pt x="36" y="42"/>
                    </a:lnTo>
                    <a:lnTo>
                      <a:pt x="36" y="36"/>
                    </a:lnTo>
                    <a:lnTo>
                      <a:pt x="42" y="36"/>
                    </a:lnTo>
                    <a:lnTo>
                      <a:pt x="42" y="30"/>
                    </a:lnTo>
                    <a:lnTo>
                      <a:pt x="48" y="30"/>
                    </a:lnTo>
                    <a:lnTo>
                      <a:pt x="48" y="24"/>
                    </a:lnTo>
                    <a:lnTo>
                      <a:pt x="54" y="18"/>
                    </a:lnTo>
                    <a:lnTo>
                      <a:pt x="54" y="12"/>
                    </a:lnTo>
                    <a:lnTo>
                      <a:pt x="60" y="12"/>
                    </a:lnTo>
                    <a:lnTo>
                      <a:pt x="60" y="6"/>
                    </a:lnTo>
                    <a:lnTo>
                      <a:pt x="54" y="6"/>
                    </a:lnTo>
                    <a:lnTo>
                      <a:pt x="54" y="0"/>
                    </a:lnTo>
                    <a:lnTo>
                      <a:pt x="60" y="0"/>
                    </a:lnTo>
                    <a:lnTo>
                      <a:pt x="60" y="6"/>
                    </a:lnTo>
                    <a:lnTo>
                      <a:pt x="66" y="0"/>
                    </a:lnTo>
                    <a:lnTo>
                      <a:pt x="66" y="6"/>
                    </a:lnTo>
                    <a:lnTo>
                      <a:pt x="72" y="6"/>
                    </a:lnTo>
                    <a:lnTo>
                      <a:pt x="72" y="12"/>
                    </a:lnTo>
                    <a:lnTo>
                      <a:pt x="78" y="12"/>
                    </a:lnTo>
                    <a:lnTo>
                      <a:pt x="78" y="18"/>
                    </a:lnTo>
                    <a:lnTo>
                      <a:pt x="84" y="18"/>
                    </a:lnTo>
                    <a:lnTo>
                      <a:pt x="90" y="18"/>
                    </a:lnTo>
                    <a:lnTo>
                      <a:pt x="90" y="24"/>
                    </a:lnTo>
                    <a:lnTo>
                      <a:pt x="96" y="24"/>
                    </a:lnTo>
                    <a:lnTo>
                      <a:pt x="96" y="30"/>
                    </a:lnTo>
                    <a:lnTo>
                      <a:pt x="96" y="36"/>
                    </a:lnTo>
                    <a:lnTo>
                      <a:pt x="90" y="36"/>
                    </a:lnTo>
                    <a:lnTo>
                      <a:pt x="90" y="42"/>
                    </a:lnTo>
                    <a:lnTo>
                      <a:pt x="84" y="42"/>
                    </a:lnTo>
                    <a:lnTo>
                      <a:pt x="84" y="48"/>
                    </a:lnTo>
                    <a:lnTo>
                      <a:pt x="84" y="42"/>
                    </a:lnTo>
                    <a:lnTo>
                      <a:pt x="84" y="48"/>
                    </a:lnTo>
                    <a:lnTo>
                      <a:pt x="78" y="48"/>
                    </a:lnTo>
                    <a:lnTo>
                      <a:pt x="78" y="54"/>
                    </a:lnTo>
                    <a:lnTo>
                      <a:pt x="78" y="60"/>
                    </a:lnTo>
                    <a:lnTo>
                      <a:pt x="72" y="60"/>
                    </a:lnTo>
                    <a:lnTo>
                      <a:pt x="78" y="60"/>
                    </a:lnTo>
                    <a:lnTo>
                      <a:pt x="78" y="66"/>
                    </a:lnTo>
                    <a:lnTo>
                      <a:pt x="72" y="66"/>
                    </a:lnTo>
                    <a:lnTo>
                      <a:pt x="72" y="72"/>
                    </a:lnTo>
                    <a:lnTo>
                      <a:pt x="78" y="72"/>
                    </a:lnTo>
                    <a:lnTo>
                      <a:pt x="72" y="72"/>
                    </a:lnTo>
                    <a:lnTo>
                      <a:pt x="72" y="78"/>
                    </a:lnTo>
                    <a:lnTo>
                      <a:pt x="72" y="84"/>
                    </a:lnTo>
                    <a:lnTo>
                      <a:pt x="78" y="84"/>
                    </a:lnTo>
                    <a:lnTo>
                      <a:pt x="78" y="90"/>
                    </a:lnTo>
                    <a:lnTo>
                      <a:pt x="78" y="96"/>
                    </a:lnTo>
                    <a:lnTo>
                      <a:pt x="78" y="102"/>
                    </a:lnTo>
                    <a:lnTo>
                      <a:pt x="78" y="108"/>
                    </a:lnTo>
                    <a:lnTo>
                      <a:pt x="84" y="108"/>
                    </a:lnTo>
                    <a:lnTo>
                      <a:pt x="84" y="102"/>
                    </a:lnTo>
                    <a:lnTo>
                      <a:pt x="90" y="102"/>
                    </a:lnTo>
                    <a:lnTo>
                      <a:pt x="96" y="102"/>
                    </a:lnTo>
                    <a:lnTo>
                      <a:pt x="96" y="96"/>
                    </a:lnTo>
                    <a:lnTo>
                      <a:pt x="102" y="96"/>
                    </a:lnTo>
                    <a:lnTo>
                      <a:pt x="108" y="96"/>
                    </a:lnTo>
                    <a:lnTo>
                      <a:pt x="108" y="102"/>
                    </a:lnTo>
                    <a:lnTo>
                      <a:pt x="114" y="102"/>
                    </a:lnTo>
                    <a:lnTo>
                      <a:pt x="120" y="102"/>
                    </a:lnTo>
                    <a:lnTo>
                      <a:pt x="120" y="108"/>
                    </a:lnTo>
                    <a:lnTo>
                      <a:pt x="120" y="102"/>
                    </a:lnTo>
                    <a:lnTo>
                      <a:pt x="126" y="102"/>
                    </a:lnTo>
                    <a:lnTo>
                      <a:pt x="126" y="96"/>
                    </a:lnTo>
                    <a:lnTo>
                      <a:pt x="132" y="96"/>
                    </a:lnTo>
                    <a:lnTo>
                      <a:pt x="132" y="90"/>
                    </a:lnTo>
                    <a:lnTo>
                      <a:pt x="132" y="84"/>
                    </a:lnTo>
                    <a:lnTo>
                      <a:pt x="138" y="84"/>
                    </a:lnTo>
                    <a:lnTo>
                      <a:pt x="138" y="78"/>
                    </a:lnTo>
                    <a:lnTo>
                      <a:pt x="144" y="78"/>
                    </a:lnTo>
                    <a:lnTo>
                      <a:pt x="144" y="84"/>
                    </a:lnTo>
                    <a:lnTo>
                      <a:pt x="150" y="90"/>
                    </a:lnTo>
                    <a:lnTo>
                      <a:pt x="156" y="90"/>
                    </a:lnTo>
                    <a:lnTo>
                      <a:pt x="156" y="96"/>
                    </a:lnTo>
                    <a:lnTo>
                      <a:pt x="162" y="96"/>
                    </a:lnTo>
                    <a:lnTo>
                      <a:pt x="168" y="96"/>
                    </a:lnTo>
                    <a:lnTo>
                      <a:pt x="168" y="102"/>
                    </a:lnTo>
                    <a:lnTo>
                      <a:pt x="168" y="108"/>
                    </a:lnTo>
                    <a:lnTo>
                      <a:pt x="174" y="108"/>
                    </a:lnTo>
                    <a:lnTo>
                      <a:pt x="174" y="114"/>
                    </a:lnTo>
                    <a:lnTo>
                      <a:pt x="180" y="120"/>
                    </a:lnTo>
                    <a:lnTo>
                      <a:pt x="186" y="120"/>
                    </a:lnTo>
                    <a:lnTo>
                      <a:pt x="186" y="126"/>
                    </a:lnTo>
                    <a:lnTo>
                      <a:pt x="192" y="126"/>
                    </a:lnTo>
                    <a:lnTo>
                      <a:pt x="198" y="126"/>
                    </a:lnTo>
                    <a:lnTo>
                      <a:pt x="198" y="132"/>
                    </a:lnTo>
                    <a:lnTo>
                      <a:pt x="204" y="132"/>
                    </a:lnTo>
                    <a:lnTo>
                      <a:pt x="210" y="132"/>
                    </a:lnTo>
                    <a:lnTo>
                      <a:pt x="210" y="138"/>
                    </a:lnTo>
                    <a:lnTo>
                      <a:pt x="216" y="138"/>
                    </a:lnTo>
                    <a:lnTo>
                      <a:pt x="216" y="144"/>
                    </a:lnTo>
                    <a:lnTo>
                      <a:pt x="210" y="144"/>
                    </a:lnTo>
                    <a:lnTo>
                      <a:pt x="210" y="150"/>
                    </a:lnTo>
                    <a:lnTo>
                      <a:pt x="204" y="150"/>
                    </a:lnTo>
                    <a:lnTo>
                      <a:pt x="204" y="144"/>
                    </a:lnTo>
                    <a:lnTo>
                      <a:pt x="204" y="150"/>
                    </a:lnTo>
                    <a:lnTo>
                      <a:pt x="198" y="150"/>
                    </a:lnTo>
                    <a:lnTo>
                      <a:pt x="192" y="150"/>
                    </a:lnTo>
                    <a:lnTo>
                      <a:pt x="192" y="156"/>
                    </a:lnTo>
                    <a:lnTo>
                      <a:pt x="198" y="156"/>
                    </a:lnTo>
                    <a:lnTo>
                      <a:pt x="198" y="162"/>
                    </a:lnTo>
                    <a:lnTo>
                      <a:pt x="204" y="162"/>
                    </a:lnTo>
                    <a:lnTo>
                      <a:pt x="204" y="168"/>
                    </a:lnTo>
                    <a:lnTo>
                      <a:pt x="210" y="168"/>
                    </a:lnTo>
                    <a:lnTo>
                      <a:pt x="216" y="168"/>
                    </a:lnTo>
                    <a:lnTo>
                      <a:pt x="210" y="168"/>
                    </a:lnTo>
                    <a:lnTo>
                      <a:pt x="216" y="168"/>
                    </a:lnTo>
                    <a:lnTo>
                      <a:pt x="210" y="168"/>
                    </a:lnTo>
                    <a:lnTo>
                      <a:pt x="210" y="174"/>
                    </a:lnTo>
                    <a:lnTo>
                      <a:pt x="216" y="174"/>
                    </a:lnTo>
                    <a:lnTo>
                      <a:pt x="210" y="174"/>
                    </a:lnTo>
                    <a:lnTo>
                      <a:pt x="216" y="174"/>
                    </a:lnTo>
                    <a:lnTo>
                      <a:pt x="210" y="174"/>
                    </a:lnTo>
                    <a:lnTo>
                      <a:pt x="210" y="180"/>
                    </a:lnTo>
                    <a:lnTo>
                      <a:pt x="210" y="174"/>
                    </a:lnTo>
                    <a:lnTo>
                      <a:pt x="210" y="180"/>
                    </a:lnTo>
                    <a:lnTo>
                      <a:pt x="216" y="180"/>
                    </a:lnTo>
                    <a:lnTo>
                      <a:pt x="216" y="186"/>
                    </a:lnTo>
                    <a:lnTo>
                      <a:pt x="222" y="186"/>
                    </a:lnTo>
                    <a:lnTo>
                      <a:pt x="228" y="186"/>
                    </a:lnTo>
                    <a:lnTo>
                      <a:pt x="228" y="180"/>
                    </a:lnTo>
                    <a:lnTo>
                      <a:pt x="228" y="174"/>
                    </a:lnTo>
                    <a:lnTo>
                      <a:pt x="228" y="180"/>
                    </a:lnTo>
                    <a:lnTo>
                      <a:pt x="228" y="174"/>
                    </a:lnTo>
                    <a:lnTo>
                      <a:pt x="234" y="174"/>
                    </a:lnTo>
                    <a:lnTo>
                      <a:pt x="240" y="174"/>
                    </a:lnTo>
                    <a:lnTo>
                      <a:pt x="240" y="180"/>
                    </a:lnTo>
                    <a:lnTo>
                      <a:pt x="246" y="180"/>
                    </a:lnTo>
                    <a:lnTo>
                      <a:pt x="246" y="186"/>
                    </a:lnTo>
                    <a:lnTo>
                      <a:pt x="246" y="192"/>
                    </a:lnTo>
                    <a:lnTo>
                      <a:pt x="252" y="192"/>
                    </a:lnTo>
                    <a:lnTo>
                      <a:pt x="252" y="198"/>
                    </a:lnTo>
                    <a:lnTo>
                      <a:pt x="258" y="198"/>
                    </a:lnTo>
                    <a:lnTo>
                      <a:pt x="264" y="198"/>
                    </a:lnTo>
                    <a:lnTo>
                      <a:pt x="270" y="198"/>
                    </a:lnTo>
                    <a:lnTo>
                      <a:pt x="276" y="198"/>
                    </a:lnTo>
                    <a:lnTo>
                      <a:pt x="276" y="204"/>
                    </a:lnTo>
                    <a:lnTo>
                      <a:pt x="276" y="210"/>
                    </a:lnTo>
                    <a:lnTo>
                      <a:pt x="270" y="210"/>
                    </a:lnTo>
                    <a:lnTo>
                      <a:pt x="276" y="210"/>
                    </a:lnTo>
                    <a:lnTo>
                      <a:pt x="282" y="210"/>
                    </a:lnTo>
                    <a:lnTo>
                      <a:pt x="288" y="210"/>
                    </a:lnTo>
                    <a:lnTo>
                      <a:pt x="288" y="204"/>
                    </a:lnTo>
                    <a:lnTo>
                      <a:pt x="294" y="204"/>
                    </a:lnTo>
                    <a:lnTo>
                      <a:pt x="294" y="210"/>
                    </a:lnTo>
                    <a:lnTo>
                      <a:pt x="300" y="210"/>
                    </a:lnTo>
                    <a:lnTo>
                      <a:pt x="306" y="210"/>
                    </a:lnTo>
                    <a:lnTo>
                      <a:pt x="306" y="216"/>
                    </a:lnTo>
                    <a:lnTo>
                      <a:pt x="312" y="216"/>
                    </a:lnTo>
                    <a:lnTo>
                      <a:pt x="318" y="216"/>
                    </a:lnTo>
                    <a:lnTo>
                      <a:pt x="318" y="210"/>
                    </a:lnTo>
                    <a:lnTo>
                      <a:pt x="324" y="210"/>
                    </a:lnTo>
                    <a:lnTo>
                      <a:pt x="324" y="216"/>
                    </a:lnTo>
                    <a:lnTo>
                      <a:pt x="324" y="222"/>
                    </a:lnTo>
                    <a:lnTo>
                      <a:pt x="330" y="222"/>
                    </a:lnTo>
                    <a:lnTo>
                      <a:pt x="324" y="222"/>
                    </a:lnTo>
                    <a:lnTo>
                      <a:pt x="330" y="222"/>
                    </a:lnTo>
                    <a:lnTo>
                      <a:pt x="330" y="216"/>
                    </a:lnTo>
                    <a:lnTo>
                      <a:pt x="330" y="222"/>
                    </a:lnTo>
                    <a:lnTo>
                      <a:pt x="330" y="216"/>
                    </a:lnTo>
                    <a:lnTo>
                      <a:pt x="330" y="222"/>
                    </a:lnTo>
                    <a:lnTo>
                      <a:pt x="336" y="222"/>
                    </a:lnTo>
                    <a:lnTo>
                      <a:pt x="342" y="222"/>
                    </a:lnTo>
                    <a:lnTo>
                      <a:pt x="336" y="222"/>
                    </a:lnTo>
                    <a:lnTo>
                      <a:pt x="336" y="228"/>
                    </a:lnTo>
                    <a:lnTo>
                      <a:pt x="342" y="228"/>
                    </a:lnTo>
                    <a:lnTo>
                      <a:pt x="342" y="234"/>
                    </a:lnTo>
                    <a:lnTo>
                      <a:pt x="348" y="228"/>
                    </a:lnTo>
                    <a:lnTo>
                      <a:pt x="348" y="234"/>
                    </a:lnTo>
                    <a:lnTo>
                      <a:pt x="354" y="234"/>
                    </a:lnTo>
                    <a:lnTo>
                      <a:pt x="354" y="228"/>
                    </a:lnTo>
                    <a:lnTo>
                      <a:pt x="360" y="222"/>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US" sz="800" dirty="0">
                  <a:solidFill>
                    <a:srgbClr val="000000"/>
                  </a:solidFill>
                </a:endParaRPr>
              </a:p>
            </p:txBody>
          </p:sp>
          <p:sp>
            <p:nvSpPr>
              <p:cNvPr id="71" name="Freeform 82"/>
              <p:cNvSpPr>
                <a:spLocks/>
              </p:cNvSpPr>
              <p:nvPr/>
            </p:nvSpPr>
            <p:spPr bwMode="gray">
              <a:xfrm>
                <a:off x="3514203" y="2060523"/>
                <a:ext cx="532692" cy="451007"/>
              </a:xfrm>
              <a:custGeom>
                <a:avLst/>
                <a:gdLst>
                  <a:gd name="T0" fmla="*/ 18 w 414"/>
                  <a:gd name="T1" fmla="*/ 114 h 354"/>
                  <a:gd name="T2" fmla="*/ 24 w 414"/>
                  <a:gd name="T3" fmla="*/ 96 h 354"/>
                  <a:gd name="T4" fmla="*/ 30 w 414"/>
                  <a:gd name="T5" fmla="*/ 90 h 354"/>
                  <a:gd name="T6" fmla="*/ 18 w 414"/>
                  <a:gd name="T7" fmla="*/ 78 h 354"/>
                  <a:gd name="T8" fmla="*/ 30 w 414"/>
                  <a:gd name="T9" fmla="*/ 54 h 354"/>
                  <a:gd name="T10" fmla="*/ 30 w 414"/>
                  <a:gd name="T11" fmla="*/ 42 h 354"/>
                  <a:gd name="T12" fmla="*/ 42 w 414"/>
                  <a:gd name="T13" fmla="*/ 18 h 354"/>
                  <a:gd name="T14" fmla="*/ 72 w 414"/>
                  <a:gd name="T15" fmla="*/ 12 h 354"/>
                  <a:gd name="T16" fmla="*/ 96 w 414"/>
                  <a:gd name="T17" fmla="*/ 0 h 354"/>
                  <a:gd name="T18" fmla="*/ 114 w 414"/>
                  <a:gd name="T19" fmla="*/ 12 h 354"/>
                  <a:gd name="T20" fmla="*/ 138 w 414"/>
                  <a:gd name="T21" fmla="*/ 12 h 354"/>
                  <a:gd name="T22" fmla="*/ 162 w 414"/>
                  <a:gd name="T23" fmla="*/ 24 h 354"/>
                  <a:gd name="T24" fmla="*/ 198 w 414"/>
                  <a:gd name="T25" fmla="*/ 24 h 354"/>
                  <a:gd name="T26" fmla="*/ 222 w 414"/>
                  <a:gd name="T27" fmla="*/ 36 h 354"/>
                  <a:gd name="T28" fmla="*/ 246 w 414"/>
                  <a:gd name="T29" fmla="*/ 48 h 354"/>
                  <a:gd name="T30" fmla="*/ 276 w 414"/>
                  <a:gd name="T31" fmla="*/ 42 h 354"/>
                  <a:gd name="T32" fmla="*/ 294 w 414"/>
                  <a:gd name="T33" fmla="*/ 66 h 354"/>
                  <a:gd name="T34" fmla="*/ 306 w 414"/>
                  <a:gd name="T35" fmla="*/ 90 h 354"/>
                  <a:gd name="T36" fmla="*/ 330 w 414"/>
                  <a:gd name="T37" fmla="*/ 102 h 354"/>
                  <a:gd name="T38" fmla="*/ 360 w 414"/>
                  <a:gd name="T39" fmla="*/ 114 h 354"/>
                  <a:gd name="T40" fmla="*/ 384 w 414"/>
                  <a:gd name="T41" fmla="*/ 126 h 354"/>
                  <a:gd name="T42" fmla="*/ 408 w 414"/>
                  <a:gd name="T43" fmla="*/ 144 h 354"/>
                  <a:gd name="T44" fmla="*/ 402 w 414"/>
                  <a:gd name="T45" fmla="*/ 150 h 354"/>
                  <a:gd name="T46" fmla="*/ 384 w 414"/>
                  <a:gd name="T47" fmla="*/ 168 h 354"/>
                  <a:gd name="T48" fmla="*/ 372 w 414"/>
                  <a:gd name="T49" fmla="*/ 180 h 354"/>
                  <a:gd name="T50" fmla="*/ 354 w 414"/>
                  <a:gd name="T51" fmla="*/ 198 h 354"/>
                  <a:gd name="T52" fmla="*/ 336 w 414"/>
                  <a:gd name="T53" fmla="*/ 216 h 354"/>
                  <a:gd name="T54" fmla="*/ 336 w 414"/>
                  <a:gd name="T55" fmla="*/ 234 h 354"/>
                  <a:gd name="T56" fmla="*/ 330 w 414"/>
                  <a:gd name="T57" fmla="*/ 252 h 354"/>
                  <a:gd name="T58" fmla="*/ 324 w 414"/>
                  <a:gd name="T59" fmla="*/ 264 h 354"/>
                  <a:gd name="T60" fmla="*/ 324 w 414"/>
                  <a:gd name="T61" fmla="*/ 288 h 354"/>
                  <a:gd name="T62" fmla="*/ 312 w 414"/>
                  <a:gd name="T63" fmla="*/ 300 h 354"/>
                  <a:gd name="T64" fmla="*/ 306 w 414"/>
                  <a:gd name="T65" fmla="*/ 318 h 354"/>
                  <a:gd name="T66" fmla="*/ 300 w 414"/>
                  <a:gd name="T67" fmla="*/ 336 h 354"/>
                  <a:gd name="T68" fmla="*/ 294 w 414"/>
                  <a:gd name="T69" fmla="*/ 348 h 354"/>
                  <a:gd name="T70" fmla="*/ 282 w 414"/>
                  <a:gd name="T71" fmla="*/ 342 h 354"/>
                  <a:gd name="T72" fmla="*/ 270 w 414"/>
                  <a:gd name="T73" fmla="*/ 342 h 354"/>
                  <a:gd name="T74" fmla="*/ 264 w 414"/>
                  <a:gd name="T75" fmla="*/ 336 h 354"/>
                  <a:gd name="T76" fmla="*/ 240 w 414"/>
                  <a:gd name="T77" fmla="*/ 324 h 354"/>
                  <a:gd name="T78" fmla="*/ 222 w 414"/>
                  <a:gd name="T79" fmla="*/ 330 h 354"/>
                  <a:gd name="T80" fmla="*/ 198 w 414"/>
                  <a:gd name="T81" fmla="*/ 318 h 354"/>
                  <a:gd name="T82" fmla="*/ 186 w 414"/>
                  <a:gd name="T83" fmla="*/ 294 h 354"/>
                  <a:gd name="T84" fmla="*/ 174 w 414"/>
                  <a:gd name="T85" fmla="*/ 306 h 354"/>
                  <a:gd name="T86" fmla="*/ 156 w 414"/>
                  <a:gd name="T87" fmla="*/ 300 h 354"/>
                  <a:gd name="T88" fmla="*/ 156 w 414"/>
                  <a:gd name="T89" fmla="*/ 288 h 354"/>
                  <a:gd name="T90" fmla="*/ 150 w 414"/>
                  <a:gd name="T91" fmla="*/ 282 h 354"/>
                  <a:gd name="T92" fmla="*/ 150 w 414"/>
                  <a:gd name="T93" fmla="*/ 270 h 354"/>
                  <a:gd name="T94" fmla="*/ 162 w 414"/>
                  <a:gd name="T95" fmla="*/ 258 h 354"/>
                  <a:gd name="T96" fmla="*/ 138 w 414"/>
                  <a:gd name="T97" fmla="*/ 246 h 354"/>
                  <a:gd name="T98" fmla="*/ 114 w 414"/>
                  <a:gd name="T99" fmla="*/ 228 h 354"/>
                  <a:gd name="T100" fmla="*/ 96 w 414"/>
                  <a:gd name="T101" fmla="*/ 210 h 354"/>
                  <a:gd name="T102" fmla="*/ 78 w 414"/>
                  <a:gd name="T103" fmla="*/ 210 h 354"/>
                  <a:gd name="T104" fmla="*/ 66 w 414"/>
                  <a:gd name="T105" fmla="*/ 222 h 354"/>
                  <a:gd name="T106" fmla="*/ 42 w 414"/>
                  <a:gd name="T107" fmla="*/ 222 h 354"/>
                  <a:gd name="T108" fmla="*/ 24 w 414"/>
                  <a:gd name="T109" fmla="*/ 216 h 354"/>
                  <a:gd name="T110" fmla="*/ 24 w 414"/>
                  <a:gd name="T111" fmla="*/ 192 h 354"/>
                  <a:gd name="T112" fmla="*/ 24 w 414"/>
                  <a:gd name="T113" fmla="*/ 180 h 354"/>
                  <a:gd name="T114" fmla="*/ 30 w 414"/>
                  <a:gd name="T115" fmla="*/ 162 h 354"/>
                  <a:gd name="T116" fmla="*/ 36 w 414"/>
                  <a:gd name="T117" fmla="*/ 144 h 354"/>
                  <a:gd name="T118" fmla="*/ 18 w 414"/>
                  <a:gd name="T119" fmla="*/ 126 h 354"/>
                  <a:gd name="T120" fmla="*/ 0 w 414"/>
                  <a:gd name="T121" fmla="*/ 126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14" h="354">
                    <a:moveTo>
                      <a:pt x="0" y="126"/>
                    </a:moveTo>
                    <a:lnTo>
                      <a:pt x="0" y="120"/>
                    </a:lnTo>
                    <a:lnTo>
                      <a:pt x="6" y="120"/>
                    </a:lnTo>
                    <a:lnTo>
                      <a:pt x="12" y="120"/>
                    </a:lnTo>
                    <a:lnTo>
                      <a:pt x="12" y="114"/>
                    </a:lnTo>
                    <a:lnTo>
                      <a:pt x="18" y="114"/>
                    </a:lnTo>
                    <a:lnTo>
                      <a:pt x="24" y="114"/>
                    </a:lnTo>
                    <a:lnTo>
                      <a:pt x="24" y="108"/>
                    </a:lnTo>
                    <a:lnTo>
                      <a:pt x="30" y="108"/>
                    </a:lnTo>
                    <a:lnTo>
                      <a:pt x="30" y="102"/>
                    </a:lnTo>
                    <a:lnTo>
                      <a:pt x="24" y="102"/>
                    </a:lnTo>
                    <a:lnTo>
                      <a:pt x="24" y="96"/>
                    </a:lnTo>
                    <a:lnTo>
                      <a:pt x="18" y="96"/>
                    </a:lnTo>
                    <a:lnTo>
                      <a:pt x="24" y="96"/>
                    </a:lnTo>
                    <a:lnTo>
                      <a:pt x="30" y="96"/>
                    </a:lnTo>
                    <a:lnTo>
                      <a:pt x="30" y="90"/>
                    </a:lnTo>
                    <a:lnTo>
                      <a:pt x="24" y="90"/>
                    </a:lnTo>
                    <a:lnTo>
                      <a:pt x="30" y="90"/>
                    </a:lnTo>
                    <a:lnTo>
                      <a:pt x="24" y="90"/>
                    </a:lnTo>
                    <a:lnTo>
                      <a:pt x="24" y="84"/>
                    </a:lnTo>
                    <a:lnTo>
                      <a:pt x="24" y="90"/>
                    </a:lnTo>
                    <a:lnTo>
                      <a:pt x="24" y="84"/>
                    </a:lnTo>
                    <a:lnTo>
                      <a:pt x="24" y="78"/>
                    </a:lnTo>
                    <a:lnTo>
                      <a:pt x="18" y="78"/>
                    </a:lnTo>
                    <a:lnTo>
                      <a:pt x="18" y="72"/>
                    </a:lnTo>
                    <a:lnTo>
                      <a:pt x="18" y="66"/>
                    </a:lnTo>
                    <a:lnTo>
                      <a:pt x="24" y="66"/>
                    </a:lnTo>
                    <a:lnTo>
                      <a:pt x="24" y="60"/>
                    </a:lnTo>
                    <a:lnTo>
                      <a:pt x="30" y="60"/>
                    </a:lnTo>
                    <a:lnTo>
                      <a:pt x="30" y="54"/>
                    </a:lnTo>
                    <a:lnTo>
                      <a:pt x="30" y="48"/>
                    </a:lnTo>
                    <a:lnTo>
                      <a:pt x="36" y="48"/>
                    </a:lnTo>
                    <a:lnTo>
                      <a:pt x="36" y="42"/>
                    </a:lnTo>
                    <a:lnTo>
                      <a:pt x="30" y="42"/>
                    </a:lnTo>
                    <a:lnTo>
                      <a:pt x="36" y="42"/>
                    </a:lnTo>
                    <a:lnTo>
                      <a:pt x="30" y="42"/>
                    </a:lnTo>
                    <a:lnTo>
                      <a:pt x="30" y="36"/>
                    </a:lnTo>
                    <a:lnTo>
                      <a:pt x="30" y="30"/>
                    </a:lnTo>
                    <a:lnTo>
                      <a:pt x="36" y="30"/>
                    </a:lnTo>
                    <a:lnTo>
                      <a:pt x="36" y="24"/>
                    </a:lnTo>
                    <a:lnTo>
                      <a:pt x="42" y="24"/>
                    </a:lnTo>
                    <a:lnTo>
                      <a:pt x="42" y="18"/>
                    </a:lnTo>
                    <a:lnTo>
                      <a:pt x="48" y="18"/>
                    </a:lnTo>
                    <a:lnTo>
                      <a:pt x="54" y="18"/>
                    </a:lnTo>
                    <a:lnTo>
                      <a:pt x="54" y="12"/>
                    </a:lnTo>
                    <a:lnTo>
                      <a:pt x="60" y="12"/>
                    </a:lnTo>
                    <a:lnTo>
                      <a:pt x="66" y="12"/>
                    </a:lnTo>
                    <a:lnTo>
                      <a:pt x="72" y="12"/>
                    </a:lnTo>
                    <a:lnTo>
                      <a:pt x="72" y="6"/>
                    </a:lnTo>
                    <a:lnTo>
                      <a:pt x="78" y="6"/>
                    </a:lnTo>
                    <a:lnTo>
                      <a:pt x="84" y="6"/>
                    </a:lnTo>
                    <a:lnTo>
                      <a:pt x="84" y="0"/>
                    </a:lnTo>
                    <a:lnTo>
                      <a:pt x="90" y="0"/>
                    </a:lnTo>
                    <a:lnTo>
                      <a:pt x="96" y="0"/>
                    </a:lnTo>
                    <a:lnTo>
                      <a:pt x="102" y="0"/>
                    </a:lnTo>
                    <a:lnTo>
                      <a:pt x="102" y="6"/>
                    </a:lnTo>
                    <a:lnTo>
                      <a:pt x="108" y="0"/>
                    </a:lnTo>
                    <a:lnTo>
                      <a:pt x="108" y="6"/>
                    </a:lnTo>
                    <a:lnTo>
                      <a:pt x="114" y="6"/>
                    </a:lnTo>
                    <a:lnTo>
                      <a:pt x="114" y="12"/>
                    </a:lnTo>
                    <a:lnTo>
                      <a:pt x="120" y="12"/>
                    </a:lnTo>
                    <a:lnTo>
                      <a:pt x="120" y="6"/>
                    </a:lnTo>
                    <a:lnTo>
                      <a:pt x="126" y="6"/>
                    </a:lnTo>
                    <a:lnTo>
                      <a:pt x="126" y="12"/>
                    </a:lnTo>
                    <a:lnTo>
                      <a:pt x="132" y="12"/>
                    </a:lnTo>
                    <a:lnTo>
                      <a:pt x="138" y="12"/>
                    </a:lnTo>
                    <a:lnTo>
                      <a:pt x="144" y="12"/>
                    </a:lnTo>
                    <a:lnTo>
                      <a:pt x="150" y="12"/>
                    </a:lnTo>
                    <a:lnTo>
                      <a:pt x="150" y="18"/>
                    </a:lnTo>
                    <a:lnTo>
                      <a:pt x="150" y="24"/>
                    </a:lnTo>
                    <a:lnTo>
                      <a:pt x="156" y="24"/>
                    </a:lnTo>
                    <a:lnTo>
                      <a:pt x="162" y="24"/>
                    </a:lnTo>
                    <a:lnTo>
                      <a:pt x="168" y="24"/>
                    </a:lnTo>
                    <a:lnTo>
                      <a:pt x="174" y="24"/>
                    </a:lnTo>
                    <a:lnTo>
                      <a:pt x="180" y="24"/>
                    </a:lnTo>
                    <a:lnTo>
                      <a:pt x="186" y="24"/>
                    </a:lnTo>
                    <a:lnTo>
                      <a:pt x="192" y="24"/>
                    </a:lnTo>
                    <a:lnTo>
                      <a:pt x="198" y="24"/>
                    </a:lnTo>
                    <a:lnTo>
                      <a:pt x="204" y="24"/>
                    </a:lnTo>
                    <a:lnTo>
                      <a:pt x="210" y="24"/>
                    </a:lnTo>
                    <a:lnTo>
                      <a:pt x="216" y="24"/>
                    </a:lnTo>
                    <a:lnTo>
                      <a:pt x="222" y="24"/>
                    </a:lnTo>
                    <a:lnTo>
                      <a:pt x="222" y="30"/>
                    </a:lnTo>
                    <a:lnTo>
                      <a:pt x="222" y="36"/>
                    </a:lnTo>
                    <a:lnTo>
                      <a:pt x="228" y="36"/>
                    </a:lnTo>
                    <a:lnTo>
                      <a:pt x="234" y="36"/>
                    </a:lnTo>
                    <a:lnTo>
                      <a:pt x="234" y="42"/>
                    </a:lnTo>
                    <a:lnTo>
                      <a:pt x="240" y="42"/>
                    </a:lnTo>
                    <a:lnTo>
                      <a:pt x="240" y="48"/>
                    </a:lnTo>
                    <a:lnTo>
                      <a:pt x="246" y="48"/>
                    </a:lnTo>
                    <a:lnTo>
                      <a:pt x="252" y="48"/>
                    </a:lnTo>
                    <a:lnTo>
                      <a:pt x="252" y="42"/>
                    </a:lnTo>
                    <a:lnTo>
                      <a:pt x="258" y="42"/>
                    </a:lnTo>
                    <a:lnTo>
                      <a:pt x="264" y="42"/>
                    </a:lnTo>
                    <a:lnTo>
                      <a:pt x="270" y="42"/>
                    </a:lnTo>
                    <a:lnTo>
                      <a:pt x="276" y="42"/>
                    </a:lnTo>
                    <a:lnTo>
                      <a:pt x="276" y="48"/>
                    </a:lnTo>
                    <a:lnTo>
                      <a:pt x="282" y="48"/>
                    </a:lnTo>
                    <a:lnTo>
                      <a:pt x="282" y="54"/>
                    </a:lnTo>
                    <a:lnTo>
                      <a:pt x="282" y="60"/>
                    </a:lnTo>
                    <a:lnTo>
                      <a:pt x="288" y="60"/>
                    </a:lnTo>
                    <a:lnTo>
                      <a:pt x="294" y="66"/>
                    </a:lnTo>
                    <a:lnTo>
                      <a:pt x="294" y="72"/>
                    </a:lnTo>
                    <a:lnTo>
                      <a:pt x="300" y="72"/>
                    </a:lnTo>
                    <a:lnTo>
                      <a:pt x="300" y="78"/>
                    </a:lnTo>
                    <a:lnTo>
                      <a:pt x="300" y="84"/>
                    </a:lnTo>
                    <a:lnTo>
                      <a:pt x="306" y="84"/>
                    </a:lnTo>
                    <a:lnTo>
                      <a:pt x="306" y="90"/>
                    </a:lnTo>
                    <a:lnTo>
                      <a:pt x="312" y="90"/>
                    </a:lnTo>
                    <a:lnTo>
                      <a:pt x="312" y="96"/>
                    </a:lnTo>
                    <a:lnTo>
                      <a:pt x="318" y="96"/>
                    </a:lnTo>
                    <a:lnTo>
                      <a:pt x="318" y="102"/>
                    </a:lnTo>
                    <a:lnTo>
                      <a:pt x="324" y="102"/>
                    </a:lnTo>
                    <a:lnTo>
                      <a:pt x="330" y="102"/>
                    </a:lnTo>
                    <a:lnTo>
                      <a:pt x="336" y="108"/>
                    </a:lnTo>
                    <a:lnTo>
                      <a:pt x="342" y="108"/>
                    </a:lnTo>
                    <a:lnTo>
                      <a:pt x="348" y="108"/>
                    </a:lnTo>
                    <a:lnTo>
                      <a:pt x="348" y="114"/>
                    </a:lnTo>
                    <a:lnTo>
                      <a:pt x="354" y="114"/>
                    </a:lnTo>
                    <a:lnTo>
                      <a:pt x="360" y="114"/>
                    </a:lnTo>
                    <a:lnTo>
                      <a:pt x="366" y="114"/>
                    </a:lnTo>
                    <a:lnTo>
                      <a:pt x="366" y="120"/>
                    </a:lnTo>
                    <a:lnTo>
                      <a:pt x="372" y="120"/>
                    </a:lnTo>
                    <a:lnTo>
                      <a:pt x="378" y="120"/>
                    </a:lnTo>
                    <a:lnTo>
                      <a:pt x="378" y="126"/>
                    </a:lnTo>
                    <a:lnTo>
                      <a:pt x="384" y="126"/>
                    </a:lnTo>
                    <a:lnTo>
                      <a:pt x="384" y="132"/>
                    </a:lnTo>
                    <a:lnTo>
                      <a:pt x="390" y="138"/>
                    </a:lnTo>
                    <a:lnTo>
                      <a:pt x="396" y="138"/>
                    </a:lnTo>
                    <a:lnTo>
                      <a:pt x="402" y="138"/>
                    </a:lnTo>
                    <a:lnTo>
                      <a:pt x="408" y="138"/>
                    </a:lnTo>
                    <a:lnTo>
                      <a:pt x="408" y="144"/>
                    </a:lnTo>
                    <a:lnTo>
                      <a:pt x="414" y="144"/>
                    </a:lnTo>
                    <a:lnTo>
                      <a:pt x="414" y="150"/>
                    </a:lnTo>
                    <a:lnTo>
                      <a:pt x="408" y="150"/>
                    </a:lnTo>
                    <a:lnTo>
                      <a:pt x="402" y="150"/>
                    </a:lnTo>
                    <a:lnTo>
                      <a:pt x="402" y="156"/>
                    </a:lnTo>
                    <a:lnTo>
                      <a:pt x="402" y="150"/>
                    </a:lnTo>
                    <a:lnTo>
                      <a:pt x="396" y="150"/>
                    </a:lnTo>
                    <a:lnTo>
                      <a:pt x="396" y="156"/>
                    </a:lnTo>
                    <a:lnTo>
                      <a:pt x="396" y="162"/>
                    </a:lnTo>
                    <a:lnTo>
                      <a:pt x="390" y="162"/>
                    </a:lnTo>
                    <a:lnTo>
                      <a:pt x="390" y="168"/>
                    </a:lnTo>
                    <a:lnTo>
                      <a:pt x="384" y="168"/>
                    </a:lnTo>
                    <a:lnTo>
                      <a:pt x="384" y="174"/>
                    </a:lnTo>
                    <a:lnTo>
                      <a:pt x="378" y="174"/>
                    </a:lnTo>
                    <a:lnTo>
                      <a:pt x="384" y="174"/>
                    </a:lnTo>
                    <a:lnTo>
                      <a:pt x="378" y="174"/>
                    </a:lnTo>
                    <a:lnTo>
                      <a:pt x="378" y="180"/>
                    </a:lnTo>
                    <a:lnTo>
                      <a:pt x="372" y="180"/>
                    </a:lnTo>
                    <a:lnTo>
                      <a:pt x="372" y="186"/>
                    </a:lnTo>
                    <a:lnTo>
                      <a:pt x="366" y="186"/>
                    </a:lnTo>
                    <a:lnTo>
                      <a:pt x="360" y="186"/>
                    </a:lnTo>
                    <a:lnTo>
                      <a:pt x="360" y="192"/>
                    </a:lnTo>
                    <a:lnTo>
                      <a:pt x="360" y="198"/>
                    </a:lnTo>
                    <a:lnTo>
                      <a:pt x="354" y="198"/>
                    </a:lnTo>
                    <a:lnTo>
                      <a:pt x="354" y="204"/>
                    </a:lnTo>
                    <a:lnTo>
                      <a:pt x="348" y="204"/>
                    </a:lnTo>
                    <a:lnTo>
                      <a:pt x="342" y="204"/>
                    </a:lnTo>
                    <a:lnTo>
                      <a:pt x="342" y="210"/>
                    </a:lnTo>
                    <a:lnTo>
                      <a:pt x="336" y="210"/>
                    </a:lnTo>
                    <a:lnTo>
                      <a:pt x="336" y="216"/>
                    </a:lnTo>
                    <a:lnTo>
                      <a:pt x="336" y="222"/>
                    </a:lnTo>
                    <a:lnTo>
                      <a:pt x="336" y="228"/>
                    </a:lnTo>
                    <a:lnTo>
                      <a:pt x="336" y="222"/>
                    </a:lnTo>
                    <a:lnTo>
                      <a:pt x="342" y="228"/>
                    </a:lnTo>
                    <a:lnTo>
                      <a:pt x="342" y="234"/>
                    </a:lnTo>
                    <a:lnTo>
                      <a:pt x="336" y="234"/>
                    </a:lnTo>
                    <a:lnTo>
                      <a:pt x="336" y="240"/>
                    </a:lnTo>
                    <a:lnTo>
                      <a:pt x="330" y="240"/>
                    </a:lnTo>
                    <a:lnTo>
                      <a:pt x="336" y="240"/>
                    </a:lnTo>
                    <a:lnTo>
                      <a:pt x="336" y="246"/>
                    </a:lnTo>
                    <a:lnTo>
                      <a:pt x="330" y="246"/>
                    </a:lnTo>
                    <a:lnTo>
                      <a:pt x="330" y="252"/>
                    </a:lnTo>
                    <a:lnTo>
                      <a:pt x="324" y="246"/>
                    </a:lnTo>
                    <a:lnTo>
                      <a:pt x="324" y="252"/>
                    </a:lnTo>
                    <a:lnTo>
                      <a:pt x="318" y="252"/>
                    </a:lnTo>
                    <a:lnTo>
                      <a:pt x="318" y="258"/>
                    </a:lnTo>
                    <a:lnTo>
                      <a:pt x="324" y="258"/>
                    </a:lnTo>
                    <a:lnTo>
                      <a:pt x="324" y="264"/>
                    </a:lnTo>
                    <a:lnTo>
                      <a:pt x="324" y="270"/>
                    </a:lnTo>
                    <a:lnTo>
                      <a:pt x="330" y="270"/>
                    </a:lnTo>
                    <a:lnTo>
                      <a:pt x="330" y="276"/>
                    </a:lnTo>
                    <a:lnTo>
                      <a:pt x="324" y="276"/>
                    </a:lnTo>
                    <a:lnTo>
                      <a:pt x="324" y="282"/>
                    </a:lnTo>
                    <a:lnTo>
                      <a:pt x="324" y="288"/>
                    </a:lnTo>
                    <a:lnTo>
                      <a:pt x="318" y="288"/>
                    </a:lnTo>
                    <a:lnTo>
                      <a:pt x="324" y="288"/>
                    </a:lnTo>
                    <a:lnTo>
                      <a:pt x="324" y="294"/>
                    </a:lnTo>
                    <a:lnTo>
                      <a:pt x="318" y="294"/>
                    </a:lnTo>
                    <a:lnTo>
                      <a:pt x="318" y="300"/>
                    </a:lnTo>
                    <a:lnTo>
                      <a:pt x="312" y="300"/>
                    </a:lnTo>
                    <a:lnTo>
                      <a:pt x="312" y="294"/>
                    </a:lnTo>
                    <a:lnTo>
                      <a:pt x="312" y="300"/>
                    </a:lnTo>
                    <a:lnTo>
                      <a:pt x="306" y="300"/>
                    </a:lnTo>
                    <a:lnTo>
                      <a:pt x="306" y="306"/>
                    </a:lnTo>
                    <a:lnTo>
                      <a:pt x="306" y="312"/>
                    </a:lnTo>
                    <a:lnTo>
                      <a:pt x="306" y="318"/>
                    </a:lnTo>
                    <a:lnTo>
                      <a:pt x="300" y="318"/>
                    </a:lnTo>
                    <a:lnTo>
                      <a:pt x="300" y="324"/>
                    </a:lnTo>
                    <a:lnTo>
                      <a:pt x="300" y="330"/>
                    </a:lnTo>
                    <a:lnTo>
                      <a:pt x="300" y="336"/>
                    </a:lnTo>
                    <a:lnTo>
                      <a:pt x="300" y="342"/>
                    </a:lnTo>
                    <a:lnTo>
                      <a:pt x="300" y="336"/>
                    </a:lnTo>
                    <a:lnTo>
                      <a:pt x="306" y="336"/>
                    </a:lnTo>
                    <a:lnTo>
                      <a:pt x="306" y="342"/>
                    </a:lnTo>
                    <a:lnTo>
                      <a:pt x="300" y="348"/>
                    </a:lnTo>
                    <a:lnTo>
                      <a:pt x="300" y="354"/>
                    </a:lnTo>
                    <a:lnTo>
                      <a:pt x="294" y="354"/>
                    </a:lnTo>
                    <a:lnTo>
                      <a:pt x="294" y="348"/>
                    </a:lnTo>
                    <a:lnTo>
                      <a:pt x="288" y="354"/>
                    </a:lnTo>
                    <a:lnTo>
                      <a:pt x="288" y="348"/>
                    </a:lnTo>
                    <a:lnTo>
                      <a:pt x="282" y="348"/>
                    </a:lnTo>
                    <a:lnTo>
                      <a:pt x="282" y="342"/>
                    </a:lnTo>
                    <a:lnTo>
                      <a:pt x="288" y="342"/>
                    </a:lnTo>
                    <a:lnTo>
                      <a:pt x="282" y="342"/>
                    </a:lnTo>
                    <a:lnTo>
                      <a:pt x="276" y="342"/>
                    </a:lnTo>
                    <a:lnTo>
                      <a:pt x="276" y="336"/>
                    </a:lnTo>
                    <a:lnTo>
                      <a:pt x="276" y="342"/>
                    </a:lnTo>
                    <a:lnTo>
                      <a:pt x="276" y="336"/>
                    </a:lnTo>
                    <a:lnTo>
                      <a:pt x="276" y="342"/>
                    </a:lnTo>
                    <a:lnTo>
                      <a:pt x="270" y="342"/>
                    </a:lnTo>
                    <a:lnTo>
                      <a:pt x="276" y="342"/>
                    </a:lnTo>
                    <a:lnTo>
                      <a:pt x="270" y="342"/>
                    </a:lnTo>
                    <a:lnTo>
                      <a:pt x="270" y="336"/>
                    </a:lnTo>
                    <a:lnTo>
                      <a:pt x="270" y="330"/>
                    </a:lnTo>
                    <a:lnTo>
                      <a:pt x="264" y="330"/>
                    </a:lnTo>
                    <a:lnTo>
                      <a:pt x="264" y="336"/>
                    </a:lnTo>
                    <a:lnTo>
                      <a:pt x="258" y="336"/>
                    </a:lnTo>
                    <a:lnTo>
                      <a:pt x="252" y="336"/>
                    </a:lnTo>
                    <a:lnTo>
                      <a:pt x="252" y="330"/>
                    </a:lnTo>
                    <a:lnTo>
                      <a:pt x="246" y="330"/>
                    </a:lnTo>
                    <a:lnTo>
                      <a:pt x="240" y="330"/>
                    </a:lnTo>
                    <a:lnTo>
                      <a:pt x="240" y="324"/>
                    </a:lnTo>
                    <a:lnTo>
                      <a:pt x="234" y="324"/>
                    </a:lnTo>
                    <a:lnTo>
                      <a:pt x="234" y="330"/>
                    </a:lnTo>
                    <a:lnTo>
                      <a:pt x="228" y="330"/>
                    </a:lnTo>
                    <a:lnTo>
                      <a:pt x="222" y="330"/>
                    </a:lnTo>
                    <a:lnTo>
                      <a:pt x="216" y="330"/>
                    </a:lnTo>
                    <a:lnTo>
                      <a:pt x="222" y="330"/>
                    </a:lnTo>
                    <a:lnTo>
                      <a:pt x="222" y="324"/>
                    </a:lnTo>
                    <a:lnTo>
                      <a:pt x="222" y="318"/>
                    </a:lnTo>
                    <a:lnTo>
                      <a:pt x="216" y="318"/>
                    </a:lnTo>
                    <a:lnTo>
                      <a:pt x="210" y="318"/>
                    </a:lnTo>
                    <a:lnTo>
                      <a:pt x="204" y="318"/>
                    </a:lnTo>
                    <a:lnTo>
                      <a:pt x="198" y="318"/>
                    </a:lnTo>
                    <a:lnTo>
                      <a:pt x="198" y="312"/>
                    </a:lnTo>
                    <a:lnTo>
                      <a:pt x="192" y="312"/>
                    </a:lnTo>
                    <a:lnTo>
                      <a:pt x="192" y="306"/>
                    </a:lnTo>
                    <a:lnTo>
                      <a:pt x="192" y="300"/>
                    </a:lnTo>
                    <a:lnTo>
                      <a:pt x="186" y="300"/>
                    </a:lnTo>
                    <a:lnTo>
                      <a:pt x="186" y="294"/>
                    </a:lnTo>
                    <a:lnTo>
                      <a:pt x="180" y="294"/>
                    </a:lnTo>
                    <a:lnTo>
                      <a:pt x="174" y="294"/>
                    </a:lnTo>
                    <a:lnTo>
                      <a:pt x="174" y="300"/>
                    </a:lnTo>
                    <a:lnTo>
                      <a:pt x="174" y="294"/>
                    </a:lnTo>
                    <a:lnTo>
                      <a:pt x="174" y="300"/>
                    </a:lnTo>
                    <a:lnTo>
                      <a:pt x="174" y="306"/>
                    </a:lnTo>
                    <a:lnTo>
                      <a:pt x="168" y="306"/>
                    </a:lnTo>
                    <a:lnTo>
                      <a:pt x="162" y="306"/>
                    </a:lnTo>
                    <a:lnTo>
                      <a:pt x="162" y="300"/>
                    </a:lnTo>
                    <a:lnTo>
                      <a:pt x="156" y="300"/>
                    </a:lnTo>
                    <a:lnTo>
                      <a:pt x="156" y="294"/>
                    </a:lnTo>
                    <a:lnTo>
                      <a:pt x="156" y="300"/>
                    </a:lnTo>
                    <a:lnTo>
                      <a:pt x="156" y="294"/>
                    </a:lnTo>
                    <a:lnTo>
                      <a:pt x="162" y="294"/>
                    </a:lnTo>
                    <a:lnTo>
                      <a:pt x="156" y="294"/>
                    </a:lnTo>
                    <a:lnTo>
                      <a:pt x="162" y="294"/>
                    </a:lnTo>
                    <a:lnTo>
                      <a:pt x="156" y="294"/>
                    </a:lnTo>
                    <a:lnTo>
                      <a:pt x="156" y="288"/>
                    </a:lnTo>
                    <a:lnTo>
                      <a:pt x="162" y="288"/>
                    </a:lnTo>
                    <a:lnTo>
                      <a:pt x="156" y="288"/>
                    </a:lnTo>
                    <a:lnTo>
                      <a:pt x="162" y="288"/>
                    </a:lnTo>
                    <a:lnTo>
                      <a:pt x="156" y="288"/>
                    </a:lnTo>
                    <a:lnTo>
                      <a:pt x="150" y="288"/>
                    </a:lnTo>
                    <a:lnTo>
                      <a:pt x="150" y="282"/>
                    </a:lnTo>
                    <a:lnTo>
                      <a:pt x="144" y="282"/>
                    </a:lnTo>
                    <a:lnTo>
                      <a:pt x="144" y="276"/>
                    </a:lnTo>
                    <a:lnTo>
                      <a:pt x="138" y="276"/>
                    </a:lnTo>
                    <a:lnTo>
                      <a:pt x="138" y="270"/>
                    </a:lnTo>
                    <a:lnTo>
                      <a:pt x="144" y="270"/>
                    </a:lnTo>
                    <a:lnTo>
                      <a:pt x="150" y="270"/>
                    </a:lnTo>
                    <a:lnTo>
                      <a:pt x="150" y="264"/>
                    </a:lnTo>
                    <a:lnTo>
                      <a:pt x="150" y="270"/>
                    </a:lnTo>
                    <a:lnTo>
                      <a:pt x="156" y="270"/>
                    </a:lnTo>
                    <a:lnTo>
                      <a:pt x="156" y="264"/>
                    </a:lnTo>
                    <a:lnTo>
                      <a:pt x="162" y="264"/>
                    </a:lnTo>
                    <a:lnTo>
                      <a:pt x="162" y="258"/>
                    </a:lnTo>
                    <a:lnTo>
                      <a:pt x="156" y="258"/>
                    </a:lnTo>
                    <a:lnTo>
                      <a:pt x="156" y="252"/>
                    </a:lnTo>
                    <a:lnTo>
                      <a:pt x="150" y="252"/>
                    </a:lnTo>
                    <a:lnTo>
                      <a:pt x="144" y="252"/>
                    </a:lnTo>
                    <a:lnTo>
                      <a:pt x="144" y="246"/>
                    </a:lnTo>
                    <a:lnTo>
                      <a:pt x="138" y="246"/>
                    </a:lnTo>
                    <a:lnTo>
                      <a:pt x="132" y="246"/>
                    </a:lnTo>
                    <a:lnTo>
                      <a:pt x="132" y="240"/>
                    </a:lnTo>
                    <a:lnTo>
                      <a:pt x="126" y="240"/>
                    </a:lnTo>
                    <a:lnTo>
                      <a:pt x="120" y="234"/>
                    </a:lnTo>
                    <a:lnTo>
                      <a:pt x="120" y="228"/>
                    </a:lnTo>
                    <a:lnTo>
                      <a:pt x="114" y="228"/>
                    </a:lnTo>
                    <a:lnTo>
                      <a:pt x="114" y="222"/>
                    </a:lnTo>
                    <a:lnTo>
                      <a:pt x="114" y="216"/>
                    </a:lnTo>
                    <a:lnTo>
                      <a:pt x="108" y="216"/>
                    </a:lnTo>
                    <a:lnTo>
                      <a:pt x="102" y="216"/>
                    </a:lnTo>
                    <a:lnTo>
                      <a:pt x="102" y="210"/>
                    </a:lnTo>
                    <a:lnTo>
                      <a:pt x="96" y="210"/>
                    </a:lnTo>
                    <a:lnTo>
                      <a:pt x="90" y="204"/>
                    </a:lnTo>
                    <a:lnTo>
                      <a:pt x="90" y="198"/>
                    </a:lnTo>
                    <a:lnTo>
                      <a:pt x="84" y="198"/>
                    </a:lnTo>
                    <a:lnTo>
                      <a:pt x="84" y="204"/>
                    </a:lnTo>
                    <a:lnTo>
                      <a:pt x="78" y="204"/>
                    </a:lnTo>
                    <a:lnTo>
                      <a:pt x="78" y="210"/>
                    </a:lnTo>
                    <a:lnTo>
                      <a:pt x="78" y="216"/>
                    </a:lnTo>
                    <a:lnTo>
                      <a:pt x="72" y="216"/>
                    </a:lnTo>
                    <a:lnTo>
                      <a:pt x="72" y="222"/>
                    </a:lnTo>
                    <a:lnTo>
                      <a:pt x="66" y="222"/>
                    </a:lnTo>
                    <a:lnTo>
                      <a:pt x="66" y="228"/>
                    </a:lnTo>
                    <a:lnTo>
                      <a:pt x="66" y="222"/>
                    </a:lnTo>
                    <a:lnTo>
                      <a:pt x="60" y="222"/>
                    </a:lnTo>
                    <a:lnTo>
                      <a:pt x="54" y="222"/>
                    </a:lnTo>
                    <a:lnTo>
                      <a:pt x="54" y="216"/>
                    </a:lnTo>
                    <a:lnTo>
                      <a:pt x="48" y="216"/>
                    </a:lnTo>
                    <a:lnTo>
                      <a:pt x="42" y="216"/>
                    </a:lnTo>
                    <a:lnTo>
                      <a:pt x="42" y="222"/>
                    </a:lnTo>
                    <a:lnTo>
                      <a:pt x="36" y="222"/>
                    </a:lnTo>
                    <a:lnTo>
                      <a:pt x="30" y="222"/>
                    </a:lnTo>
                    <a:lnTo>
                      <a:pt x="30" y="228"/>
                    </a:lnTo>
                    <a:lnTo>
                      <a:pt x="24" y="228"/>
                    </a:lnTo>
                    <a:lnTo>
                      <a:pt x="24" y="222"/>
                    </a:lnTo>
                    <a:lnTo>
                      <a:pt x="24" y="216"/>
                    </a:lnTo>
                    <a:lnTo>
                      <a:pt x="24" y="210"/>
                    </a:lnTo>
                    <a:lnTo>
                      <a:pt x="24" y="204"/>
                    </a:lnTo>
                    <a:lnTo>
                      <a:pt x="18" y="204"/>
                    </a:lnTo>
                    <a:lnTo>
                      <a:pt x="18" y="198"/>
                    </a:lnTo>
                    <a:lnTo>
                      <a:pt x="18" y="192"/>
                    </a:lnTo>
                    <a:lnTo>
                      <a:pt x="24" y="192"/>
                    </a:lnTo>
                    <a:lnTo>
                      <a:pt x="18" y="192"/>
                    </a:lnTo>
                    <a:lnTo>
                      <a:pt x="18" y="186"/>
                    </a:lnTo>
                    <a:lnTo>
                      <a:pt x="24" y="186"/>
                    </a:lnTo>
                    <a:lnTo>
                      <a:pt x="24" y="180"/>
                    </a:lnTo>
                    <a:lnTo>
                      <a:pt x="18" y="180"/>
                    </a:lnTo>
                    <a:lnTo>
                      <a:pt x="24" y="180"/>
                    </a:lnTo>
                    <a:lnTo>
                      <a:pt x="24" y="174"/>
                    </a:lnTo>
                    <a:lnTo>
                      <a:pt x="24" y="168"/>
                    </a:lnTo>
                    <a:lnTo>
                      <a:pt x="30" y="168"/>
                    </a:lnTo>
                    <a:lnTo>
                      <a:pt x="30" y="162"/>
                    </a:lnTo>
                    <a:lnTo>
                      <a:pt x="30" y="168"/>
                    </a:lnTo>
                    <a:lnTo>
                      <a:pt x="30" y="162"/>
                    </a:lnTo>
                    <a:lnTo>
                      <a:pt x="36" y="162"/>
                    </a:lnTo>
                    <a:lnTo>
                      <a:pt x="36" y="156"/>
                    </a:lnTo>
                    <a:lnTo>
                      <a:pt x="42" y="156"/>
                    </a:lnTo>
                    <a:lnTo>
                      <a:pt x="42" y="150"/>
                    </a:lnTo>
                    <a:lnTo>
                      <a:pt x="42" y="144"/>
                    </a:lnTo>
                    <a:lnTo>
                      <a:pt x="36" y="144"/>
                    </a:lnTo>
                    <a:lnTo>
                      <a:pt x="36" y="138"/>
                    </a:lnTo>
                    <a:lnTo>
                      <a:pt x="30" y="138"/>
                    </a:lnTo>
                    <a:lnTo>
                      <a:pt x="24" y="138"/>
                    </a:lnTo>
                    <a:lnTo>
                      <a:pt x="24" y="132"/>
                    </a:lnTo>
                    <a:lnTo>
                      <a:pt x="18" y="132"/>
                    </a:lnTo>
                    <a:lnTo>
                      <a:pt x="18" y="126"/>
                    </a:lnTo>
                    <a:lnTo>
                      <a:pt x="12" y="126"/>
                    </a:lnTo>
                    <a:lnTo>
                      <a:pt x="12" y="120"/>
                    </a:lnTo>
                    <a:lnTo>
                      <a:pt x="6" y="126"/>
                    </a:lnTo>
                    <a:lnTo>
                      <a:pt x="6" y="120"/>
                    </a:lnTo>
                    <a:lnTo>
                      <a:pt x="0" y="120"/>
                    </a:lnTo>
                    <a:lnTo>
                      <a:pt x="0" y="126"/>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US" sz="900" dirty="0">
                  <a:solidFill>
                    <a:srgbClr val="000000"/>
                  </a:solidFill>
                </a:endParaRPr>
              </a:p>
            </p:txBody>
          </p:sp>
          <p:sp>
            <p:nvSpPr>
              <p:cNvPr id="72" name="Freeform 83"/>
              <p:cNvSpPr>
                <a:spLocks/>
              </p:cNvSpPr>
              <p:nvPr/>
            </p:nvSpPr>
            <p:spPr bwMode="gray">
              <a:xfrm>
                <a:off x="2942911" y="1838841"/>
                <a:ext cx="470931" cy="527450"/>
              </a:xfrm>
              <a:custGeom>
                <a:avLst/>
                <a:gdLst>
                  <a:gd name="T0" fmla="*/ 342 w 366"/>
                  <a:gd name="T1" fmla="*/ 246 h 414"/>
                  <a:gd name="T2" fmla="*/ 354 w 366"/>
                  <a:gd name="T3" fmla="*/ 258 h 414"/>
                  <a:gd name="T4" fmla="*/ 366 w 366"/>
                  <a:gd name="T5" fmla="*/ 270 h 414"/>
                  <a:gd name="T6" fmla="*/ 354 w 366"/>
                  <a:gd name="T7" fmla="*/ 294 h 414"/>
                  <a:gd name="T8" fmla="*/ 348 w 366"/>
                  <a:gd name="T9" fmla="*/ 300 h 414"/>
                  <a:gd name="T10" fmla="*/ 330 w 366"/>
                  <a:gd name="T11" fmla="*/ 318 h 414"/>
                  <a:gd name="T12" fmla="*/ 318 w 366"/>
                  <a:gd name="T13" fmla="*/ 342 h 414"/>
                  <a:gd name="T14" fmla="*/ 306 w 366"/>
                  <a:gd name="T15" fmla="*/ 330 h 414"/>
                  <a:gd name="T16" fmla="*/ 294 w 366"/>
                  <a:gd name="T17" fmla="*/ 342 h 414"/>
                  <a:gd name="T18" fmla="*/ 282 w 366"/>
                  <a:gd name="T19" fmla="*/ 348 h 414"/>
                  <a:gd name="T20" fmla="*/ 288 w 366"/>
                  <a:gd name="T21" fmla="*/ 378 h 414"/>
                  <a:gd name="T22" fmla="*/ 246 w 366"/>
                  <a:gd name="T23" fmla="*/ 390 h 414"/>
                  <a:gd name="T24" fmla="*/ 222 w 366"/>
                  <a:gd name="T25" fmla="*/ 378 h 414"/>
                  <a:gd name="T26" fmla="*/ 192 w 366"/>
                  <a:gd name="T27" fmla="*/ 384 h 414"/>
                  <a:gd name="T28" fmla="*/ 180 w 366"/>
                  <a:gd name="T29" fmla="*/ 396 h 414"/>
                  <a:gd name="T30" fmla="*/ 162 w 366"/>
                  <a:gd name="T31" fmla="*/ 408 h 414"/>
                  <a:gd name="T32" fmla="*/ 168 w 366"/>
                  <a:gd name="T33" fmla="*/ 390 h 414"/>
                  <a:gd name="T34" fmla="*/ 156 w 366"/>
                  <a:gd name="T35" fmla="*/ 378 h 414"/>
                  <a:gd name="T36" fmla="*/ 144 w 366"/>
                  <a:gd name="T37" fmla="*/ 366 h 414"/>
                  <a:gd name="T38" fmla="*/ 120 w 366"/>
                  <a:gd name="T39" fmla="*/ 354 h 414"/>
                  <a:gd name="T40" fmla="*/ 84 w 366"/>
                  <a:gd name="T41" fmla="*/ 366 h 414"/>
                  <a:gd name="T42" fmla="*/ 42 w 366"/>
                  <a:gd name="T43" fmla="*/ 360 h 414"/>
                  <a:gd name="T44" fmla="*/ 6 w 366"/>
                  <a:gd name="T45" fmla="*/ 348 h 414"/>
                  <a:gd name="T46" fmla="*/ 12 w 366"/>
                  <a:gd name="T47" fmla="*/ 318 h 414"/>
                  <a:gd name="T48" fmla="*/ 12 w 366"/>
                  <a:gd name="T49" fmla="*/ 294 h 414"/>
                  <a:gd name="T50" fmla="*/ 30 w 366"/>
                  <a:gd name="T51" fmla="*/ 276 h 414"/>
                  <a:gd name="T52" fmla="*/ 54 w 366"/>
                  <a:gd name="T53" fmla="*/ 246 h 414"/>
                  <a:gd name="T54" fmla="*/ 60 w 366"/>
                  <a:gd name="T55" fmla="*/ 228 h 414"/>
                  <a:gd name="T56" fmla="*/ 78 w 366"/>
                  <a:gd name="T57" fmla="*/ 222 h 414"/>
                  <a:gd name="T58" fmla="*/ 96 w 366"/>
                  <a:gd name="T59" fmla="*/ 204 h 414"/>
                  <a:gd name="T60" fmla="*/ 90 w 366"/>
                  <a:gd name="T61" fmla="*/ 198 h 414"/>
                  <a:gd name="T62" fmla="*/ 84 w 366"/>
                  <a:gd name="T63" fmla="*/ 180 h 414"/>
                  <a:gd name="T64" fmla="*/ 96 w 366"/>
                  <a:gd name="T65" fmla="*/ 156 h 414"/>
                  <a:gd name="T66" fmla="*/ 84 w 366"/>
                  <a:gd name="T67" fmla="*/ 132 h 414"/>
                  <a:gd name="T68" fmla="*/ 84 w 366"/>
                  <a:gd name="T69" fmla="*/ 108 h 414"/>
                  <a:gd name="T70" fmla="*/ 108 w 366"/>
                  <a:gd name="T71" fmla="*/ 84 h 414"/>
                  <a:gd name="T72" fmla="*/ 120 w 366"/>
                  <a:gd name="T73" fmla="*/ 72 h 414"/>
                  <a:gd name="T74" fmla="*/ 144 w 366"/>
                  <a:gd name="T75" fmla="*/ 66 h 414"/>
                  <a:gd name="T76" fmla="*/ 162 w 366"/>
                  <a:gd name="T77" fmla="*/ 60 h 414"/>
                  <a:gd name="T78" fmla="*/ 180 w 366"/>
                  <a:gd name="T79" fmla="*/ 30 h 414"/>
                  <a:gd name="T80" fmla="*/ 192 w 366"/>
                  <a:gd name="T81" fmla="*/ 30 h 414"/>
                  <a:gd name="T82" fmla="*/ 204 w 366"/>
                  <a:gd name="T83" fmla="*/ 30 h 414"/>
                  <a:gd name="T84" fmla="*/ 222 w 366"/>
                  <a:gd name="T85" fmla="*/ 12 h 414"/>
                  <a:gd name="T86" fmla="*/ 240 w 366"/>
                  <a:gd name="T87" fmla="*/ 6 h 414"/>
                  <a:gd name="T88" fmla="*/ 234 w 366"/>
                  <a:gd name="T89" fmla="*/ 24 h 414"/>
                  <a:gd name="T90" fmla="*/ 216 w 366"/>
                  <a:gd name="T91" fmla="*/ 54 h 414"/>
                  <a:gd name="T92" fmla="*/ 228 w 366"/>
                  <a:gd name="T93" fmla="*/ 66 h 414"/>
                  <a:gd name="T94" fmla="*/ 252 w 366"/>
                  <a:gd name="T95" fmla="*/ 90 h 414"/>
                  <a:gd name="T96" fmla="*/ 264 w 366"/>
                  <a:gd name="T97" fmla="*/ 126 h 414"/>
                  <a:gd name="T98" fmla="*/ 276 w 366"/>
                  <a:gd name="T99" fmla="*/ 150 h 414"/>
                  <a:gd name="T100" fmla="*/ 288 w 366"/>
                  <a:gd name="T101" fmla="*/ 174 h 414"/>
                  <a:gd name="T102" fmla="*/ 300 w 366"/>
                  <a:gd name="T103" fmla="*/ 150 h 414"/>
                  <a:gd name="T104" fmla="*/ 312 w 366"/>
                  <a:gd name="T105" fmla="*/ 174 h 414"/>
                  <a:gd name="T106" fmla="*/ 324 w 366"/>
                  <a:gd name="T107" fmla="*/ 174 h 414"/>
                  <a:gd name="T108" fmla="*/ 330 w 366"/>
                  <a:gd name="T109" fmla="*/ 192 h 414"/>
                  <a:gd name="T110" fmla="*/ 342 w 366"/>
                  <a:gd name="T111" fmla="*/ 216 h 4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66" h="414">
                    <a:moveTo>
                      <a:pt x="348" y="228"/>
                    </a:moveTo>
                    <a:lnTo>
                      <a:pt x="354" y="234"/>
                    </a:lnTo>
                    <a:lnTo>
                      <a:pt x="348" y="234"/>
                    </a:lnTo>
                    <a:lnTo>
                      <a:pt x="348" y="240"/>
                    </a:lnTo>
                    <a:lnTo>
                      <a:pt x="348" y="246"/>
                    </a:lnTo>
                    <a:lnTo>
                      <a:pt x="348" y="240"/>
                    </a:lnTo>
                    <a:lnTo>
                      <a:pt x="348" y="246"/>
                    </a:lnTo>
                    <a:lnTo>
                      <a:pt x="342" y="246"/>
                    </a:lnTo>
                    <a:lnTo>
                      <a:pt x="342" y="252"/>
                    </a:lnTo>
                    <a:lnTo>
                      <a:pt x="348" y="252"/>
                    </a:lnTo>
                    <a:lnTo>
                      <a:pt x="348" y="258"/>
                    </a:lnTo>
                    <a:lnTo>
                      <a:pt x="342" y="258"/>
                    </a:lnTo>
                    <a:lnTo>
                      <a:pt x="348" y="258"/>
                    </a:lnTo>
                    <a:lnTo>
                      <a:pt x="342" y="258"/>
                    </a:lnTo>
                    <a:lnTo>
                      <a:pt x="348" y="258"/>
                    </a:lnTo>
                    <a:lnTo>
                      <a:pt x="354" y="258"/>
                    </a:lnTo>
                    <a:lnTo>
                      <a:pt x="354" y="264"/>
                    </a:lnTo>
                    <a:lnTo>
                      <a:pt x="354" y="258"/>
                    </a:lnTo>
                    <a:lnTo>
                      <a:pt x="360" y="258"/>
                    </a:lnTo>
                    <a:lnTo>
                      <a:pt x="360" y="264"/>
                    </a:lnTo>
                    <a:lnTo>
                      <a:pt x="360" y="258"/>
                    </a:lnTo>
                    <a:lnTo>
                      <a:pt x="360" y="264"/>
                    </a:lnTo>
                    <a:lnTo>
                      <a:pt x="366" y="264"/>
                    </a:lnTo>
                    <a:lnTo>
                      <a:pt x="366" y="270"/>
                    </a:lnTo>
                    <a:lnTo>
                      <a:pt x="366" y="276"/>
                    </a:lnTo>
                    <a:lnTo>
                      <a:pt x="366" y="282"/>
                    </a:lnTo>
                    <a:lnTo>
                      <a:pt x="366" y="288"/>
                    </a:lnTo>
                    <a:lnTo>
                      <a:pt x="366" y="294"/>
                    </a:lnTo>
                    <a:lnTo>
                      <a:pt x="366" y="300"/>
                    </a:lnTo>
                    <a:lnTo>
                      <a:pt x="360" y="300"/>
                    </a:lnTo>
                    <a:lnTo>
                      <a:pt x="360" y="294"/>
                    </a:lnTo>
                    <a:lnTo>
                      <a:pt x="354" y="294"/>
                    </a:lnTo>
                    <a:lnTo>
                      <a:pt x="360" y="294"/>
                    </a:lnTo>
                    <a:lnTo>
                      <a:pt x="354" y="294"/>
                    </a:lnTo>
                    <a:lnTo>
                      <a:pt x="348" y="294"/>
                    </a:lnTo>
                    <a:lnTo>
                      <a:pt x="342" y="294"/>
                    </a:lnTo>
                    <a:lnTo>
                      <a:pt x="348" y="294"/>
                    </a:lnTo>
                    <a:lnTo>
                      <a:pt x="342" y="294"/>
                    </a:lnTo>
                    <a:lnTo>
                      <a:pt x="342" y="300"/>
                    </a:lnTo>
                    <a:lnTo>
                      <a:pt x="348" y="300"/>
                    </a:lnTo>
                    <a:lnTo>
                      <a:pt x="348" y="306"/>
                    </a:lnTo>
                    <a:lnTo>
                      <a:pt x="342" y="306"/>
                    </a:lnTo>
                    <a:lnTo>
                      <a:pt x="336" y="306"/>
                    </a:lnTo>
                    <a:lnTo>
                      <a:pt x="336" y="312"/>
                    </a:lnTo>
                    <a:lnTo>
                      <a:pt x="330" y="312"/>
                    </a:lnTo>
                    <a:lnTo>
                      <a:pt x="330" y="318"/>
                    </a:lnTo>
                    <a:lnTo>
                      <a:pt x="324" y="318"/>
                    </a:lnTo>
                    <a:lnTo>
                      <a:pt x="330" y="318"/>
                    </a:lnTo>
                    <a:lnTo>
                      <a:pt x="330" y="324"/>
                    </a:lnTo>
                    <a:lnTo>
                      <a:pt x="336" y="324"/>
                    </a:lnTo>
                    <a:lnTo>
                      <a:pt x="336" y="330"/>
                    </a:lnTo>
                    <a:lnTo>
                      <a:pt x="330" y="330"/>
                    </a:lnTo>
                    <a:lnTo>
                      <a:pt x="330" y="336"/>
                    </a:lnTo>
                    <a:lnTo>
                      <a:pt x="324" y="336"/>
                    </a:lnTo>
                    <a:lnTo>
                      <a:pt x="324" y="342"/>
                    </a:lnTo>
                    <a:lnTo>
                      <a:pt x="318" y="342"/>
                    </a:lnTo>
                    <a:lnTo>
                      <a:pt x="312" y="342"/>
                    </a:lnTo>
                    <a:lnTo>
                      <a:pt x="312" y="336"/>
                    </a:lnTo>
                    <a:lnTo>
                      <a:pt x="312" y="330"/>
                    </a:lnTo>
                    <a:lnTo>
                      <a:pt x="306" y="330"/>
                    </a:lnTo>
                    <a:lnTo>
                      <a:pt x="312" y="330"/>
                    </a:lnTo>
                    <a:lnTo>
                      <a:pt x="306" y="330"/>
                    </a:lnTo>
                    <a:lnTo>
                      <a:pt x="306" y="324"/>
                    </a:lnTo>
                    <a:lnTo>
                      <a:pt x="306" y="330"/>
                    </a:lnTo>
                    <a:lnTo>
                      <a:pt x="306" y="336"/>
                    </a:lnTo>
                    <a:lnTo>
                      <a:pt x="300" y="336"/>
                    </a:lnTo>
                    <a:lnTo>
                      <a:pt x="300" y="330"/>
                    </a:lnTo>
                    <a:lnTo>
                      <a:pt x="294" y="330"/>
                    </a:lnTo>
                    <a:lnTo>
                      <a:pt x="294" y="336"/>
                    </a:lnTo>
                    <a:lnTo>
                      <a:pt x="300" y="336"/>
                    </a:lnTo>
                    <a:lnTo>
                      <a:pt x="294" y="336"/>
                    </a:lnTo>
                    <a:lnTo>
                      <a:pt x="294" y="342"/>
                    </a:lnTo>
                    <a:lnTo>
                      <a:pt x="294" y="336"/>
                    </a:lnTo>
                    <a:lnTo>
                      <a:pt x="288" y="336"/>
                    </a:lnTo>
                    <a:lnTo>
                      <a:pt x="282" y="330"/>
                    </a:lnTo>
                    <a:lnTo>
                      <a:pt x="282" y="336"/>
                    </a:lnTo>
                    <a:lnTo>
                      <a:pt x="288" y="336"/>
                    </a:lnTo>
                    <a:lnTo>
                      <a:pt x="288" y="342"/>
                    </a:lnTo>
                    <a:lnTo>
                      <a:pt x="282" y="342"/>
                    </a:lnTo>
                    <a:lnTo>
                      <a:pt x="282" y="348"/>
                    </a:lnTo>
                    <a:lnTo>
                      <a:pt x="282" y="354"/>
                    </a:lnTo>
                    <a:lnTo>
                      <a:pt x="282" y="360"/>
                    </a:lnTo>
                    <a:lnTo>
                      <a:pt x="276" y="360"/>
                    </a:lnTo>
                    <a:lnTo>
                      <a:pt x="276" y="366"/>
                    </a:lnTo>
                    <a:lnTo>
                      <a:pt x="282" y="366"/>
                    </a:lnTo>
                    <a:lnTo>
                      <a:pt x="282" y="372"/>
                    </a:lnTo>
                    <a:lnTo>
                      <a:pt x="288" y="372"/>
                    </a:lnTo>
                    <a:lnTo>
                      <a:pt x="288" y="378"/>
                    </a:lnTo>
                    <a:lnTo>
                      <a:pt x="282" y="378"/>
                    </a:lnTo>
                    <a:lnTo>
                      <a:pt x="276" y="378"/>
                    </a:lnTo>
                    <a:lnTo>
                      <a:pt x="270" y="384"/>
                    </a:lnTo>
                    <a:lnTo>
                      <a:pt x="264" y="384"/>
                    </a:lnTo>
                    <a:lnTo>
                      <a:pt x="264" y="390"/>
                    </a:lnTo>
                    <a:lnTo>
                      <a:pt x="258" y="390"/>
                    </a:lnTo>
                    <a:lnTo>
                      <a:pt x="252" y="390"/>
                    </a:lnTo>
                    <a:lnTo>
                      <a:pt x="246" y="390"/>
                    </a:lnTo>
                    <a:lnTo>
                      <a:pt x="246" y="384"/>
                    </a:lnTo>
                    <a:lnTo>
                      <a:pt x="246" y="390"/>
                    </a:lnTo>
                    <a:lnTo>
                      <a:pt x="240" y="390"/>
                    </a:lnTo>
                    <a:lnTo>
                      <a:pt x="240" y="384"/>
                    </a:lnTo>
                    <a:lnTo>
                      <a:pt x="240" y="378"/>
                    </a:lnTo>
                    <a:lnTo>
                      <a:pt x="234" y="378"/>
                    </a:lnTo>
                    <a:lnTo>
                      <a:pt x="228" y="378"/>
                    </a:lnTo>
                    <a:lnTo>
                      <a:pt x="222" y="378"/>
                    </a:lnTo>
                    <a:lnTo>
                      <a:pt x="222" y="384"/>
                    </a:lnTo>
                    <a:lnTo>
                      <a:pt x="216" y="384"/>
                    </a:lnTo>
                    <a:lnTo>
                      <a:pt x="210" y="384"/>
                    </a:lnTo>
                    <a:lnTo>
                      <a:pt x="210" y="390"/>
                    </a:lnTo>
                    <a:lnTo>
                      <a:pt x="204" y="390"/>
                    </a:lnTo>
                    <a:lnTo>
                      <a:pt x="204" y="384"/>
                    </a:lnTo>
                    <a:lnTo>
                      <a:pt x="198" y="384"/>
                    </a:lnTo>
                    <a:lnTo>
                      <a:pt x="192" y="384"/>
                    </a:lnTo>
                    <a:lnTo>
                      <a:pt x="192" y="378"/>
                    </a:lnTo>
                    <a:lnTo>
                      <a:pt x="192" y="384"/>
                    </a:lnTo>
                    <a:lnTo>
                      <a:pt x="186" y="384"/>
                    </a:lnTo>
                    <a:lnTo>
                      <a:pt x="186" y="390"/>
                    </a:lnTo>
                    <a:lnTo>
                      <a:pt x="180" y="390"/>
                    </a:lnTo>
                    <a:lnTo>
                      <a:pt x="180" y="396"/>
                    </a:lnTo>
                    <a:lnTo>
                      <a:pt x="180" y="402"/>
                    </a:lnTo>
                    <a:lnTo>
                      <a:pt x="180" y="396"/>
                    </a:lnTo>
                    <a:lnTo>
                      <a:pt x="174" y="396"/>
                    </a:lnTo>
                    <a:lnTo>
                      <a:pt x="180" y="396"/>
                    </a:lnTo>
                    <a:lnTo>
                      <a:pt x="174" y="402"/>
                    </a:lnTo>
                    <a:lnTo>
                      <a:pt x="174" y="408"/>
                    </a:lnTo>
                    <a:lnTo>
                      <a:pt x="174" y="414"/>
                    </a:lnTo>
                    <a:lnTo>
                      <a:pt x="168" y="414"/>
                    </a:lnTo>
                    <a:lnTo>
                      <a:pt x="168" y="408"/>
                    </a:lnTo>
                    <a:lnTo>
                      <a:pt x="162" y="408"/>
                    </a:lnTo>
                    <a:lnTo>
                      <a:pt x="168" y="408"/>
                    </a:lnTo>
                    <a:lnTo>
                      <a:pt x="162" y="408"/>
                    </a:lnTo>
                    <a:lnTo>
                      <a:pt x="162" y="402"/>
                    </a:lnTo>
                    <a:lnTo>
                      <a:pt x="156" y="402"/>
                    </a:lnTo>
                    <a:lnTo>
                      <a:pt x="156" y="396"/>
                    </a:lnTo>
                    <a:lnTo>
                      <a:pt x="162" y="396"/>
                    </a:lnTo>
                    <a:lnTo>
                      <a:pt x="162" y="390"/>
                    </a:lnTo>
                    <a:lnTo>
                      <a:pt x="168" y="390"/>
                    </a:lnTo>
                    <a:lnTo>
                      <a:pt x="168" y="384"/>
                    </a:lnTo>
                    <a:lnTo>
                      <a:pt x="162" y="384"/>
                    </a:lnTo>
                    <a:lnTo>
                      <a:pt x="162" y="378"/>
                    </a:lnTo>
                    <a:lnTo>
                      <a:pt x="162" y="372"/>
                    </a:lnTo>
                    <a:lnTo>
                      <a:pt x="162" y="378"/>
                    </a:lnTo>
                    <a:lnTo>
                      <a:pt x="156" y="378"/>
                    </a:lnTo>
                    <a:lnTo>
                      <a:pt x="156" y="384"/>
                    </a:lnTo>
                    <a:lnTo>
                      <a:pt x="156" y="378"/>
                    </a:lnTo>
                    <a:lnTo>
                      <a:pt x="150" y="378"/>
                    </a:lnTo>
                    <a:lnTo>
                      <a:pt x="150" y="372"/>
                    </a:lnTo>
                    <a:lnTo>
                      <a:pt x="150" y="366"/>
                    </a:lnTo>
                    <a:lnTo>
                      <a:pt x="144" y="366"/>
                    </a:lnTo>
                    <a:lnTo>
                      <a:pt x="150" y="366"/>
                    </a:lnTo>
                    <a:lnTo>
                      <a:pt x="144" y="366"/>
                    </a:lnTo>
                    <a:lnTo>
                      <a:pt x="144" y="372"/>
                    </a:lnTo>
                    <a:lnTo>
                      <a:pt x="144" y="366"/>
                    </a:lnTo>
                    <a:lnTo>
                      <a:pt x="144" y="372"/>
                    </a:lnTo>
                    <a:lnTo>
                      <a:pt x="138" y="372"/>
                    </a:lnTo>
                    <a:lnTo>
                      <a:pt x="132" y="372"/>
                    </a:lnTo>
                    <a:lnTo>
                      <a:pt x="132" y="366"/>
                    </a:lnTo>
                    <a:lnTo>
                      <a:pt x="132" y="360"/>
                    </a:lnTo>
                    <a:lnTo>
                      <a:pt x="126" y="360"/>
                    </a:lnTo>
                    <a:lnTo>
                      <a:pt x="120" y="360"/>
                    </a:lnTo>
                    <a:lnTo>
                      <a:pt x="120" y="354"/>
                    </a:lnTo>
                    <a:lnTo>
                      <a:pt x="114" y="354"/>
                    </a:lnTo>
                    <a:lnTo>
                      <a:pt x="108" y="354"/>
                    </a:lnTo>
                    <a:lnTo>
                      <a:pt x="102" y="354"/>
                    </a:lnTo>
                    <a:lnTo>
                      <a:pt x="102" y="360"/>
                    </a:lnTo>
                    <a:lnTo>
                      <a:pt x="96" y="360"/>
                    </a:lnTo>
                    <a:lnTo>
                      <a:pt x="96" y="366"/>
                    </a:lnTo>
                    <a:lnTo>
                      <a:pt x="90" y="366"/>
                    </a:lnTo>
                    <a:lnTo>
                      <a:pt x="84" y="366"/>
                    </a:lnTo>
                    <a:lnTo>
                      <a:pt x="84" y="360"/>
                    </a:lnTo>
                    <a:lnTo>
                      <a:pt x="78" y="360"/>
                    </a:lnTo>
                    <a:lnTo>
                      <a:pt x="72" y="360"/>
                    </a:lnTo>
                    <a:lnTo>
                      <a:pt x="66" y="360"/>
                    </a:lnTo>
                    <a:lnTo>
                      <a:pt x="60" y="360"/>
                    </a:lnTo>
                    <a:lnTo>
                      <a:pt x="54" y="360"/>
                    </a:lnTo>
                    <a:lnTo>
                      <a:pt x="48" y="360"/>
                    </a:lnTo>
                    <a:lnTo>
                      <a:pt x="42" y="360"/>
                    </a:lnTo>
                    <a:lnTo>
                      <a:pt x="36" y="360"/>
                    </a:lnTo>
                    <a:lnTo>
                      <a:pt x="30" y="360"/>
                    </a:lnTo>
                    <a:lnTo>
                      <a:pt x="30" y="354"/>
                    </a:lnTo>
                    <a:lnTo>
                      <a:pt x="24" y="354"/>
                    </a:lnTo>
                    <a:lnTo>
                      <a:pt x="18" y="354"/>
                    </a:lnTo>
                    <a:lnTo>
                      <a:pt x="12" y="354"/>
                    </a:lnTo>
                    <a:lnTo>
                      <a:pt x="6" y="354"/>
                    </a:lnTo>
                    <a:lnTo>
                      <a:pt x="6" y="348"/>
                    </a:lnTo>
                    <a:lnTo>
                      <a:pt x="6" y="342"/>
                    </a:lnTo>
                    <a:lnTo>
                      <a:pt x="12" y="342"/>
                    </a:lnTo>
                    <a:lnTo>
                      <a:pt x="12" y="336"/>
                    </a:lnTo>
                    <a:lnTo>
                      <a:pt x="12" y="330"/>
                    </a:lnTo>
                    <a:lnTo>
                      <a:pt x="12" y="324"/>
                    </a:lnTo>
                    <a:lnTo>
                      <a:pt x="18" y="324"/>
                    </a:lnTo>
                    <a:lnTo>
                      <a:pt x="12" y="324"/>
                    </a:lnTo>
                    <a:lnTo>
                      <a:pt x="12" y="318"/>
                    </a:lnTo>
                    <a:lnTo>
                      <a:pt x="12" y="312"/>
                    </a:lnTo>
                    <a:lnTo>
                      <a:pt x="12" y="306"/>
                    </a:lnTo>
                    <a:lnTo>
                      <a:pt x="6" y="306"/>
                    </a:lnTo>
                    <a:lnTo>
                      <a:pt x="6" y="300"/>
                    </a:lnTo>
                    <a:lnTo>
                      <a:pt x="0" y="300"/>
                    </a:lnTo>
                    <a:lnTo>
                      <a:pt x="6" y="300"/>
                    </a:lnTo>
                    <a:lnTo>
                      <a:pt x="6" y="294"/>
                    </a:lnTo>
                    <a:lnTo>
                      <a:pt x="12" y="294"/>
                    </a:lnTo>
                    <a:lnTo>
                      <a:pt x="12" y="288"/>
                    </a:lnTo>
                    <a:lnTo>
                      <a:pt x="12" y="282"/>
                    </a:lnTo>
                    <a:lnTo>
                      <a:pt x="18" y="282"/>
                    </a:lnTo>
                    <a:lnTo>
                      <a:pt x="24" y="282"/>
                    </a:lnTo>
                    <a:lnTo>
                      <a:pt x="24" y="276"/>
                    </a:lnTo>
                    <a:lnTo>
                      <a:pt x="24" y="282"/>
                    </a:lnTo>
                    <a:lnTo>
                      <a:pt x="30" y="282"/>
                    </a:lnTo>
                    <a:lnTo>
                      <a:pt x="30" y="276"/>
                    </a:lnTo>
                    <a:lnTo>
                      <a:pt x="30" y="270"/>
                    </a:lnTo>
                    <a:lnTo>
                      <a:pt x="30" y="264"/>
                    </a:lnTo>
                    <a:lnTo>
                      <a:pt x="36" y="264"/>
                    </a:lnTo>
                    <a:lnTo>
                      <a:pt x="42" y="264"/>
                    </a:lnTo>
                    <a:lnTo>
                      <a:pt x="42" y="258"/>
                    </a:lnTo>
                    <a:lnTo>
                      <a:pt x="48" y="252"/>
                    </a:lnTo>
                    <a:lnTo>
                      <a:pt x="54" y="252"/>
                    </a:lnTo>
                    <a:lnTo>
                      <a:pt x="54" y="246"/>
                    </a:lnTo>
                    <a:lnTo>
                      <a:pt x="48" y="246"/>
                    </a:lnTo>
                    <a:lnTo>
                      <a:pt x="54" y="246"/>
                    </a:lnTo>
                    <a:lnTo>
                      <a:pt x="54" y="240"/>
                    </a:lnTo>
                    <a:lnTo>
                      <a:pt x="60" y="240"/>
                    </a:lnTo>
                    <a:lnTo>
                      <a:pt x="60" y="234"/>
                    </a:lnTo>
                    <a:lnTo>
                      <a:pt x="66" y="234"/>
                    </a:lnTo>
                    <a:lnTo>
                      <a:pt x="60" y="234"/>
                    </a:lnTo>
                    <a:lnTo>
                      <a:pt x="60" y="228"/>
                    </a:lnTo>
                    <a:lnTo>
                      <a:pt x="66" y="228"/>
                    </a:lnTo>
                    <a:lnTo>
                      <a:pt x="66" y="222"/>
                    </a:lnTo>
                    <a:lnTo>
                      <a:pt x="72" y="222"/>
                    </a:lnTo>
                    <a:lnTo>
                      <a:pt x="66" y="222"/>
                    </a:lnTo>
                    <a:lnTo>
                      <a:pt x="72" y="222"/>
                    </a:lnTo>
                    <a:lnTo>
                      <a:pt x="72" y="216"/>
                    </a:lnTo>
                    <a:lnTo>
                      <a:pt x="72" y="222"/>
                    </a:lnTo>
                    <a:lnTo>
                      <a:pt x="78" y="222"/>
                    </a:lnTo>
                    <a:lnTo>
                      <a:pt x="78" y="216"/>
                    </a:lnTo>
                    <a:lnTo>
                      <a:pt x="84" y="216"/>
                    </a:lnTo>
                    <a:lnTo>
                      <a:pt x="84" y="210"/>
                    </a:lnTo>
                    <a:lnTo>
                      <a:pt x="84" y="204"/>
                    </a:lnTo>
                    <a:lnTo>
                      <a:pt x="90" y="204"/>
                    </a:lnTo>
                    <a:lnTo>
                      <a:pt x="90" y="210"/>
                    </a:lnTo>
                    <a:lnTo>
                      <a:pt x="96" y="210"/>
                    </a:lnTo>
                    <a:lnTo>
                      <a:pt x="96" y="204"/>
                    </a:lnTo>
                    <a:lnTo>
                      <a:pt x="102" y="204"/>
                    </a:lnTo>
                    <a:lnTo>
                      <a:pt x="102" y="198"/>
                    </a:lnTo>
                    <a:lnTo>
                      <a:pt x="96" y="198"/>
                    </a:lnTo>
                    <a:lnTo>
                      <a:pt x="90" y="198"/>
                    </a:lnTo>
                    <a:lnTo>
                      <a:pt x="90" y="192"/>
                    </a:lnTo>
                    <a:lnTo>
                      <a:pt x="90" y="198"/>
                    </a:lnTo>
                    <a:lnTo>
                      <a:pt x="90" y="204"/>
                    </a:lnTo>
                    <a:lnTo>
                      <a:pt x="90" y="198"/>
                    </a:lnTo>
                    <a:lnTo>
                      <a:pt x="90" y="204"/>
                    </a:lnTo>
                    <a:lnTo>
                      <a:pt x="84" y="204"/>
                    </a:lnTo>
                    <a:lnTo>
                      <a:pt x="84" y="198"/>
                    </a:lnTo>
                    <a:lnTo>
                      <a:pt x="78" y="198"/>
                    </a:lnTo>
                    <a:lnTo>
                      <a:pt x="78" y="192"/>
                    </a:lnTo>
                    <a:lnTo>
                      <a:pt x="78" y="186"/>
                    </a:lnTo>
                    <a:lnTo>
                      <a:pt x="78" y="180"/>
                    </a:lnTo>
                    <a:lnTo>
                      <a:pt x="84" y="180"/>
                    </a:lnTo>
                    <a:lnTo>
                      <a:pt x="78" y="180"/>
                    </a:lnTo>
                    <a:lnTo>
                      <a:pt x="78" y="174"/>
                    </a:lnTo>
                    <a:lnTo>
                      <a:pt x="84" y="174"/>
                    </a:lnTo>
                    <a:lnTo>
                      <a:pt x="84" y="168"/>
                    </a:lnTo>
                    <a:lnTo>
                      <a:pt x="84" y="162"/>
                    </a:lnTo>
                    <a:lnTo>
                      <a:pt x="90" y="162"/>
                    </a:lnTo>
                    <a:lnTo>
                      <a:pt x="90" y="156"/>
                    </a:lnTo>
                    <a:lnTo>
                      <a:pt x="96" y="156"/>
                    </a:lnTo>
                    <a:lnTo>
                      <a:pt x="96" y="150"/>
                    </a:lnTo>
                    <a:lnTo>
                      <a:pt x="90" y="150"/>
                    </a:lnTo>
                    <a:lnTo>
                      <a:pt x="90" y="144"/>
                    </a:lnTo>
                    <a:lnTo>
                      <a:pt x="96" y="144"/>
                    </a:lnTo>
                    <a:lnTo>
                      <a:pt x="90" y="144"/>
                    </a:lnTo>
                    <a:lnTo>
                      <a:pt x="90" y="138"/>
                    </a:lnTo>
                    <a:lnTo>
                      <a:pt x="90" y="132"/>
                    </a:lnTo>
                    <a:lnTo>
                      <a:pt x="84" y="132"/>
                    </a:lnTo>
                    <a:lnTo>
                      <a:pt x="84" y="126"/>
                    </a:lnTo>
                    <a:lnTo>
                      <a:pt x="84" y="132"/>
                    </a:lnTo>
                    <a:lnTo>
                      <a:pt x="84" y="126"/>
                    </a:lnTo>
                    <a:lnTo>
                      <a:pt x="84" y="120"/>
                    </a:lnTo>
                    <a:lnTo>
                      <a:pt x="78" y="120"/>
                    </a:lnTo>
                    <a:lnTo>
                      <a:pt x="78" y="114"/>
                    </a:lnTo>
                    <a:lnTo>
                      <a:pt x="78" y="108"/>
                    </a:lnTo>
                    <a:lnTo>
                      <a:pt x="84" y="108"/>
                    </a:lnTo>
                    <a:lnTo>
                      <a:pt x="84" y="102"/>
                    </a:lnTo>
                    <a:lnTo>
                      <a:pt x="84" y="96"/>
                    </a:lnTo>
                    <a:lnTo>
                      <a:pt x="90" y="96"/>
                    </a:lnTo>
                    <a:lnTo>
                      <a:pt x="90" y="90"/>
                    </a:lnTo>
                    <a:lnTo>
                      <a:pt x="96" y="90"/>
                    </a:lnTo>
                    <a:lnTo>
                      <a:pt x="96" y="84"/>
                    </a:lnTo>
                    <a:lnTo>
                      <a:pt x="102" y="84"/>
                    </a:lnTo>
                    <a:lnTo>
                      <a:pt x="108" y="84"/>
                    </a:lnTo>
                    <a:lnTo>
                      <a:pt x="108" y="78"/>
                    </a:lnTo>
                    <a:lnTo>
                      <a:pt x="108" y="84"/>
                    </a:lnTo>
                    <a:lnTo>
                      <a:pt x="108" y="78"/>
                    </a:lnTo>
                    <a:lnTo>
                      <a:pt x="114" y="78"/>
                    </a:lnTo>
                    <a:lnTo>
                      <a:pt x="120" y="78"/>
                    </a:lnTo>
                    <a:lnTo>
                      <a:pt x="120" y="72"/>
                    </a:lnTo>
                    <a:lnTo>
                      <a:pt x="114" y="72"/>
                    </a:lnTo>
                    <a:lnTo>
                      <a:pt x="120" y="72"/>
                    </a:lnTo>
                    <a:lnTo>
                      <a:pt x="126" y="66"/>
                    </a:lnTo>
                    <a:lnTo>
                      <a:pt x="120" y="66"/>
                    </a:lnTo>
                    <a:lnTo>
                      <a:pt x="126" y="66"/>
                    </a:lnTo>
                    <a:lnTo>
                      <a:pt x="132" y="66"/>
                    </a:lnTo>
                    <a:lnTo>
                      <a:pt x="138" y="66"/>
                    </a:lnTo>
                    <a:lnTo>
                      <a:pt x="132" y="66"/>
                    </a:lnTo>
                    <a:lnTo>
                      <a:pt x="138" y="66"/>
                    </a:lnTo>
                    <a:lnTo>
                      <a:pt x="144" y="66"/>
                    </a:lnTo>
                    <a:lnTo>
                      <a:pt x="150" y="66"/>
                    </a:lnTo>
                    <a:lnTo>
                      <a:pt x="150" y="60"/>
                    </a:lnTo>
                    <a:lnTo>
                      <a:pt x="156" y="60"/>
                    </a:lnTo>
                    <a:lnTo>
                      <a:pt x="156" y="66"/>
                    </a:lnTo>
                    <a:lnTo>
                      <a:pt x="156" y="60"/>
                    </a:lnTo>
                    <a:lnTo>
                      <a:pt x="162" y="60"/>
                    </a:lnTo>
                    <a:lnTo>
                      <a:pt x="162" y="54"/>
                    </a:lnTo>
                    <a:lnTo>
                      <a:pt x="162" y="60"/>
                    </a:lnTo>
                    <a:lnTo>
                      <a:pt x="168" y="60"/>
                    </a:lnTo>
                    <a:lnTo>
                      <a:pt x="174" y="60"/>
                    </a:lnTo>
                    <a:lnTo>
                      <a:pt x="174" y="54"/>
                    </a:lnTo>
                    <a:lnTo>
                      <a:pt x="174" y="48"/>
                    </a:lnTo>
                    <a:lnTo>
                      <a:pt x="174" y="42"/>
                    </a:lnTo>
                    <a:lnTo>
                      <a:pt x="180" y="42"/>
                    </a:lnTo>
                    <a:lnTo>
                      <a:pt x="180" y="36"/>
                    </a:lnTo>
                    <a:lnTo>
                      <a:pt x="180" y="30"/>
                    </a:lnTo>
                    <a:lnTo>
                      <a:pt x="174" y="30"/>
                    </a:lnTo>
                    <a:lnTo>
                      <a:pt x="180" y="30"/>
                    </a:lnTo>
                    <a:lnTo>
                      <a:pt x="174" y="30"/>
                    </a:lnTo>
                    <a:lnTo>
                      <a:pt x="174" y="24"/>
                    </a:lnTo>
                    <a:lnTo>
                      <a:pt x="180" y="24"/>
                    </a:lnTo>
                    <a:lnTo>
                      <a:pt x="186" y="24"/>
                    </a:lnTo>
                    <a:lnTo>
                      <a:pt x="186" y="30"/>
                    </a:lnTo>
                    <a:lnTo>
                      <a:pt x="192" y="30"/>
                    </a:lnTo>
                    <a:lnTo>
                      <a:pt x="192" y="24"/>
                    </a:lnTo>
                    <a:lnTo>
                      <a:pt x="192" y="30"/>
                    </a:lnTo>
                    <a:lnTo>
                      <a:pt x="198" y="30"/>
                    </a:lnTo>
                    <a:lnTo>
                      <a:pt x="192" y="30"/>
                    </a:lnTo>
                    <a:lnTo>
                      <a:pt x="198" y="30"/>
                    </a:lnTo>
                    <a:lnTo>
                      <a:pt x="198" y="36"/>
                    </a:lnTo>
                    <a:lnTo>
                      <a:pt x="204" y="36"/>
                    </a:lnTo>
                    <a:lnTo>
                      <a:pt x="204" y="30"/>
                    </a:lnTo>
                    <a:lnTo>
                      <a:pt x="204" y="24"/>
                    </a:lnTo>
                    <a:lnTo>
                      <a:pt x="210" y="24"/>
                    </a:lnTo>
                    <a:lnTo>
                      <a:pt x="210" y="18"/>
                    </a:lnTo>
                    <a:lnTo>
                      <a:pt x="216" y="18"/>
                    </a:lnTo>
                    <a:lnTo>
                      <a:pt x="222" y="18"/>
                    </a:lnTo>
                    <a:lnTo>
                      <a:pt x="222" y="12"/>
                    </a:lnTo>
                    <a:lnTo>
                      <a:pt x="228" y="12"/>
                    </a:lnTo>
                    <a:lnTo>
                      <a:pt x="222" y="12"/>
                    </a:lnTo>
                    <a:lnTo>
                      <a:pt x="228" y="12"/>
                    </a:lnTo>
                    <a:lnTo>
                      <a:pt x="228" y="6"/>
                    </a:lnTo>
                    <a:lnTo>
                      <a:pt x="234" y="6"/>
                    </a:lnTo>
                    <a:lnTo>
                      <a:pt x="234" y="0"/>
                    </a:lnTo>
                    <a:lnTo>
                      <a:pt x="240" y="0"/>
                    </a:lnTo>
                    <a:lnTo>
                      <a:pt x="234" y="0"/>
                    </a:lnTo>
                    <a:lnTo>
                      <a:pt x="240" y="0"/>
                    </a:lnTo>
                    <a:lnTo>
                      <a:pt x="240" y="6"/>
                    </a:lnTo>
                    <a:lnTo>
                      <a:pt x="246" y="6"/>
                    </a:lnTo>
                    <a:lnTo>
                      <a:pt x="246" y="12"/>
                    </a:lnTo>
                    <a:lnTo>
                      <a:pt x="246" y="18"/>
                    </a:lnTo>
                    <a:lnTo>
                      <a:pt x="252" y="18"/>
                    </a:lnTo>
                    <a:lnTo>
                      <a:pt x="246" y="18"/>
                    </a:lnTo>
                    <a:lnTo>
                      <a:pt x="240" y="18"/>
                    </a:lnTo>
                    <a:lnTo>
                      <a:pt x="240" y="24"/>
                    </a:lnTo>
                    <a:lnTo>
                      <a:pt x="234" y="24"/>
                    </a:lnTo>
                    <a:lnTo>
                      <a:pt x="234" y="30"/>
                    </a:lnTo>
                    <a:lnTo>
                      <a:pt x="228" y="30"/>
                    </a:lnTo>
                    <a:lnTo>
                      <a:pt x="228" y="36"/>
                    </a:lnTo>
                    <a:lnTo>
                      <a:pt x="222" y="36"/>
                    </a:lnTo>
                    <a:lnTo>
                      <a:pt x="216" y="36"/>
                    </a:lnTo>
                    <a:lnTo>
                      <a:pt x="216" y="42"/>
                    </a:lnTo>
                    <a:lnTo>
                      <a:pt x="216" y="48"/>
                    </a:lnTo>
                    <a:lnTo>
                      <a:pt x="216" y="54"/>
                    </a:lnTo>
                    <a:lnTo>
                      <a:pt x="210" y="54"/>
                    </a:lnTo>
                    <a:lnTo>
                      <a:pt x="210" y="60"/>
                    </a:lnTo>
                    <a:lnTo>
                      <a:pt x="210" y="66"/>
                    </a:lnTo>
                    <a:lnTo>
                      <a:pt x="216" y="66"/>
                    </a:lnTo>
                    <a:lnTo>
                      <a:pt x="222" y="66"/>
                    </a:lnTo>
                    <a:lnTo>
                      <a:pt x="222" y="72"/>
                    </a:lnTo>
                    <a:lnTo>
                      <a:pt x="228" y="72"/>
                    </a:lnTo>
                    <a:lnTo>
                      <a:pt x="228" y="66"/>
                    </a:lnTo>
                    <a:lnTo>
                      <a:pt x="228" y="72"/>
                    </a:lnTo>
                    <a:lnTo>
                      <a:pt x="234" y="72"/>
                    </a:lnTo>
                    <a:lnTo>
                      <a:pt x="234" y="78"/>
                    </a:lnTo>
                    <a:lnTo>
                      <a:pt x="240" y="78"/>
                    </a:lnTo>
                    <a:lnTo>
                      <a:pt x="246" y="78"/>
                    </a:lnTo>
                    <a:lnTo>
                      <a:pt x="246" y="84"/>
                    </a:lnTo>
                    <a:lnTo>
                      <a:pt x="246" y="90"/>
                    </a:lnTo>
                    <a:lnTo>
                      <a:pt x="252" y="90"/>
                    </a:lnTo>
                    <a:lnTo>
                      <a:pt x="252" y="96"/>
                    </a:lnTo>
                    <a:lnTo>
                      <a:pt x="252" y="102"/>
                    </a:lnTo>
                    <a:lnTo>
                      <a:pt x="258" y="102"/>
                    </a:lnTo>
                    <a:lnTo>
                      <a:pt x="258" y="108"/>
                    </a:lnTo>
                    <a:lnTo>
                      <a:pt x="258" y="114"/>
                    </a:lnTo>
                    <a:lnTo>
                      <a:pt x="258" y="120"/>
                    </a:lnTo>
                    <a:lnTo>
                      <a:pt x="258" y="126"/>
                    </a:lnTo>
                    <a:lnTo>
                      <a:pt x="264" y="126"/>
                    </a:lnTo>
                    <a:lnTo>
                      <a:pt x="264" y="132"/>
                    </a:lnTo>
                    <a:lnTo>
                      <a:pt x="264" y="138"/>
                    </a:lnTo>
                    <a:lnTo>
                      <a:pt x="270" y="138"/>
                    </a:lnTo>
                    <a:lnTo>
                      <a:pt x="270" y="144"/>
                    </a:lnTo>
                    <a:lnTo>
                      <a:pt x="270" y="150"/>
                    </a:lnTo>
                    <a:lnTo>
                      <a:pt x="276" y="150"/>
                    </a:lnTo>
                    <a:lnTo>
                      <a:pt x="270" y="150"/>
                    </a:lnTo>
                    <a:lnTo>
                      <a:pt x="276" y="150"/>
                    </a:lnTo>
                    <a:lnTo>
                      <a:pt x="276" y="156"/>
                    </a:lnTo>
                    <a:lnTo>
                      <a:pt x="276" y="162"/>
                    </a:lnTo>
                    <a:lnTo>
                      <a:pt x="276" y="168"/>
                    </a:lnTo>
                    <a:lnTo>
                      <a:pt x="282" y="168"/>
                    </a:lnTo>
                    <a:lnTo>
                      <a:pt x="282" y="174"/>
                    </a:lnTo>
                    <a:lnTo>
                      <a:pt x="282" y="168"/>
                    </a:lnTo>
                    <a:lnTo>
                      <a:pt x="288" y="168"/>
                    </a:lnTo>
                    <a:lnTo>
                      <a:pt x="288" y="174"/>
                    </a:lnTo>
                    <a:lnTo>
                      <a:pt x="288" y="168"/>
                    </a:lnTo>
                    <a:lnTo>
                      <a:pt x="294" y="168"/>
                    </a:lnTo>
                    <a:lnTo>
                      <a:pt x="294" y="162"/>
                    </a:lnTo>
                    <a:lnTo>
                      <a:pt x="300" y="162"/>
                    </a:lnTo>
                    <a:lnTo>
                      <a:pt x="294" y="162"/>
                    </a:lnTo>
                    <a:lnTo>
                      <a:pt x="294" y="156"/>
                    </a:lnTo>
                    <a:lnTo>
                      <a:pt x="300" y="156"/>
                    </a:lnTo>
                    <a:lnTo>
                      <a:pt x="300" y="150"/>
                    </a:lnTo>
                    <a:lnTo>
                      <a:pt x="300" y="156"/>
                    </a:lnTo>
                    <a:lnTo>
                      <a:pt x="306" y="156"/>
                    </a:lnTo>
                    <a:lnTo>
                      <a:pt x="300" y="156"/>
                    </a:lnTo>
                    <a:lnTo>
                      <a:pt x="306" y="156"/>
                    </a:lnTo>
                    <a:lnTo>
                      <a:pt x="306" y="162"/>
                    </a:lnTo>
                    <a:lnTo>
                      <a:pt x="306" y="168"/>
                    </a:lnTo>
                    <a:lnTo>
                      <a:pt x="312" y="168"/>
                    </a:lnTo>
                    <a:lnTo>
                      <a:pt x="312" y="174"/>
                    </a:lnTo>
                    <a:lnTo>
                      <a:pt x="312" y="168"/>
                    </a:lnTo>
                    <a:lnTo>
                      <a:pt x="312" y="174"/>
                    </a:lnTo>
                    <a:lnTo>
                      <a:pt x="318" y="174"/>
                    </a:lnTo>
                    <a:lnTo>
                      <a:pt x="318" y="180"/>
                    </a:lnTo>
                    <a:lnTo>
                      <a:pt x="324" y="180"/>
                    </a:lnTo>
                    <a:lnTo>
                      <a:pt x="324" y="174"/>
                    </a:lnTo>
                    <a:lnTo>
                      <a:pt x="324" y="180"/>
                    </a:lnTo>
                    <a:lnTo>
                      <a:pt x="324" y="174"/>
                    </a:lnTo>
                    <a:lnTo>
                      <a:pt x="330" y="174"/>
                    </a:lnTo>
                    <a:lnTo>
                      <a:pt x="330" y="180"/>
                    </a:lnTo>
                    <a:lnTo>
                      <a:pt x="330" y="186"/>
                    </a:lnTo>
                    <a:lnTo>
                      <a:pt x="330" y="180"/>
                    </a:lnTo>
                    <a:lnTo>
                      <a:pt x="336" y="180"/>
                    </a:lnTo>
                    <a:lnTo>
                      <a:pt x="336" y="186"/>
                    </a:lnTo>
                    <a:lnTo>
                      <a:pt x="330" y="186"/>
                    </a:lnTo>
                    <a:lnTo>
                      <a:pt x="330" y="192"/>
                    </a:lnTo>
                    <a:lnTo>
                      <a:pt x="330" y="198"/>
                    </a:lnTo>
                    <a:lnTo>
                      <a:pt x="336" y="198"/>
                    </a:lnTo>
                    <a:lnTo>
                      <a:pt x="330" y="198"/>
                    </a:lnTo>
                    <a:lnTo>
                      <a:pt x="330" y="204"/>
                    </a:lnTo>
                    <a:lnTo>
                      <a:pt x="330" y="210"/>
                    </a:lnTo>
                    <a:lnTo>
                      <a:pt x="330" y="216"/>
                    </a:lnTo>
                    <a:lnTo>
                      <a:pt x="336" y="216"/>
                    </a:lnTo>
                    <a:lnTo>
                      <a:pt x="342" y="216"/>
                    </a:lnTo>
                    <a:lnTo>
                      <a:pt x="342" y="222"/>
                    </a:lnTo>
                    <a:lnTo>
                      <a:pt x="348" y="222"/>
                    </a:lnTo>
                    <a:lnTo>
                      <a:pt x="348" y="228"/>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US" sz="900" dirty="0">
                  <a:solidFill>
                    <a:srgbClr val="000000"/>
                  </a:solidFill>
                </a:endParaRPr>
              </a:p>
            </p:txBody>
          </p:sp>
          <p:sp>
            <p:nvSpPr>
              <p:cNvPr id="73" name="Freeform 84"/>
              <p:cNvSpPr>
                <a:spLocks/>
              </p:cNvSpPr>
              <p:nvPr/>
            </p:nvSpPr>
            <p:spPr bwMode="gray">
              <a:xfrm>
                <a:off x="3213115" y="1708891"/>
                <a:ext cx="524971" cy="512161"/>
              </a:xfrm>
              <a:custGeom>
                <a:avLst/>
                <a:gdLst>
                  <a:gd name="T0" fmla="*/ 36 w 408"/>
                  <a:gd name="T1" fmla="*/ 84 h 402"/>
                  <a:gd name="T2" fmla="*/ 36 w 408"/>
                  <a:gd name="T3" fmla="*/ 60 h 402"/>
                  <a:gd name="T4" fmla="*/ 48 w 408"/>
                  <a:gd name="T5" fmla="*/ 36 h 402"/>
                  <a:gd name="T6" fmla="*/ 72 w 408"/>
                  <a:gd name="T7" fmla="*/ 24 h 402"/>
                  <a:gd name="T8" fmla="*/ 102 w 408"/>
                  <a:gd name="T9" fmla="*/ 6 h 402"/>
                  <a:gd name="T10" fmla="*/ 138 w 408"/>
                  <a:gd name="T11" fmla="*/ 6 h 402"/>
                  <a:gd name="T12" fmla="*/ 144 w 408"/>
                  <a:gd name="T13" fmla="*/ 0 h 402"/>
                  <a:gd name="T14" fmla="*/ 156 w 408"/>
                  <a:gd name="T15" fmla="*/ 24 h 402"/>
                  <a:gd name="T16" fmla="*/ 186 w 408"/>
                  <a:gd name="T17" fmla="*/ 42 h 402"/>
                  <a:gd name="T18" fmla="*/ 192 w 408"/>
                  <a:gd name="T19" fmla="*/ 48 h 402"/>
                  <a:gd name="T20" fmla="*/ 216 w 408"/>
                  <a:gd name="T21" fmla="*/ 48 h 402"/>
                  <a:gd name="T22" fmla="*/ 234 w 408"/>
                  <a:gd name="T23" fmla="*/ 42 h 402"/>
                  <a:gd name="T24" fmla="*/ 264 w 408"/>
                  <a:gd name="T25" fmla="*/ 48 h 402"/>
                  <a:gd name="T26" fmla="*/ 276 w 408"/>
                  <a:gd name="T27" fmla="*/ 72 h 402"/>
                  <a:gd name="T28" fmla="*/ 294 w 408"/>
                  <a:gd name="T29" fmla="*/ 84 h 402"/>
                  <a:gd name="T30" fmla="*/ 306 w 408"/>
                  <a:gd name="T31" fmla="*/ 84 h 402"/>
                  <a:gd name="T32" fmla="*/ 324 w 408"/>
                  <a:gd name="T33" fmla="*/ 72 h 402"/>
                  <a:gd name="T34" fmla="*/ 330 w 408"/>
                  <a:gd name="T35" fmla="*/ 78 h 402"/>
                  <a:gd name="T36" fmla="*/ 324 w 408"/>
                  <a:gd name="T37" fmla="*/ 96 h 402"/>
                  <a:gd name="T38" fmla="*/ 342 w 408"/>
                  <a:gd name="T39" fmla="*/ 114 h 402"/>
                  <a:gd name="T40" fmla="*/ 348 w 408"/>
                  <a:gd name="T41" fmla="*/ 138 h 402"/>
                  <a:gd name="T42" fmla="*/ 354 w 408"/>
                  <a:gd name="T43" fmla="*/ 156 h 402"/>
                  <a:gd name="T44" fmla="*/ 372 w 408"/>
                  <a:gd name="T45" fmla="*/ 174 h 402"/>
                  <a:gd name="T46" fmla="*/ 372 w 408"/>
                  <a:gd name="T47" fmla="*/ 198 h 402"/>
                  <a:gd name="T48" fmla="*/ 384 w 408"/>
                  <a:gd name="T49" fmla="*/ 222 h 402"/>
                  <a:gd name="T50" fmla="*/ 378 w 408"/>
                  <a:gd name="T51" fmla="*/ 252 h 402"/>
                  <a:gd name="T52" fmla="*/ 384 w 408"/>
                  <a:gd name="T53" fmla="*/ 270 h 402"/>
                  <a:gd name="T54" fmla="*/ 408 w 408"/>
                  <a:gd name="T55" fmla="*/ 294 h 402"/>
                  <a:gd name="T56" fmla="*/ 390 w 408"/>
                  <a:gd name="T57" fmla="*/ 300 h 402"/>
                  <a:gd name="T58" fmla="*/ 360 w 408"/>
                  <a:gd name="T59" fmla="*/ 282 h 402"/>
                  <a:gd name="T60" fmla="*/ 336 w 408"/>
                  <a:gd name="T61" fmla="*/ 276 h 402"/>
                  <a:gd name="T62" fmla="*/ 300 w 408"/>
                  <a:gd name="T63" fmla="*/ 288 h 402"/>
                  <a:gd name="T64" fmla="*/ 270 w 408"/>
                  <a:gd name="T65" fmla="*/ 306 h 402"/>
                  <a:gd name="T66" fmla="*/ 264 w 408"/>
                  <a:gd name="T67" fmla="*/ 324 h 402"/>
                  <a:gd name="T68" fmla="*/ 258 w 408"/>
                  <a:gd name="T69" fmla="*/ 354 h 402"/>
                  <a:gd name="T70" fmla="*/ 264 w 408"/>
                  <a:gd name="T71" fmla="*/ 372 h 402"/>
                  <a:gd name="T72" fmla="*/ 258 w 408"/>
                  <a:gd name="T73" fmla="*/ 390 h 402"/>
                  <a:gd name="T74" fmla="*/ 228 w 408"/>
                  <a:gd name="T75" fmla="*/ 396 h 402"/>
                  <a:gd name="T76" fmla="*/ 222 w 408"/>
                  <a:gd name="T77" fmla="*/ 390 h 402"/>
                  <a:gd name="T78" fmla="*/ 198 w 408"/>
                  <a:gd name="T79" fmla="*/ 390 h 402"/>
                  <a:gd name="T80" fmla="*/ 186 w 408"/>
                  <a:gd name="T81" fmla="*/ 366 h 402"/>
                  <a:gd name="T82" fmla="*/ 168 w 408"/>
                  <a:gd name="T83" fmla="*/ 348 h 402"/>
                  <a:gd name="T84" fmla="*/ 150 w 408"/>
                  <a:gd name="T85" fmla="*/ 330 h 402"/>
                  <a:gd name="T86" fmla="*/ 132 w 408"/>
                  <a:gd name="T87" fmla="*/ 324 h 402"/>
                  <a:gd name="T88" fmla="*/ 120 w 408"/>
                  <a:gd name="T89" fmla="*/ 300 h 402"/>
                  <a:gd name="T90" fmla="*/ 120 w 408"/>
                  <a:gd name="T91" fmla="*/ 276 h 402"/>
                  <a:gd name="T92" fmla="*/ 102 w 408"/>
                  <a:gd name="T93" fmla="*/ 270 h 402"/>
                  <a:gd name="T94" fmla="*/ 90 w 408"/>
                  <a:gd name="T95" fmla="*/ 258 h 402"/>
                  <a:gd name="T96" fmla="*/ 78 w 408"/>
                  <a:gd name="T97" fmla="*/ 270 h 402"/>
                  <a:gd name="T98" fmla="*/ 66 w 408"/>
                  <a:gd name="T99" fmla="*/ 258 h 402"/>
                  <a:gd name="T100" fmla="*/ 54 w 408"/>
                  <a:gd name="T101" fmla="*/ 234 h 402"/>
                  <a:gd name="T102" fmla="*/ 42 w 408"/>
                  <a:gd name="T103" fmla="*/ 198 h 402"/>
                  <a:gd name="T104" fmla="*/ 18 w 408"/>
                  <a:gd name="T105" fmla="*/ 174 h 402"/>
                  <a:gd name="T106" fmla="*/ 0 w 408"/>
                  <a:gd name="T107" fmla="*/ 156 h 402"/>
                  <a:gd name="T108" fmla="*/ 24 w 408"/>
                  <a:gd name="T109" fmla="*/ 132 h 402"/>
                  <a:gd name="T110" fmla="*/ 36 w 408"/>
                  <a:gd name="T111" fmla="*/ 10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8" h="402">
                    <a:moveTo>
                      <a:pt x="24" y="102"/>
                    </a:moveTo>
                    <a:lnTo>
                      <a:pt x="30" y="102"/>
                    </a:lnTo>
                    <a:lnTo>
                      <a:pt x="30" y="96"/>
                    </a:lnTo>
                    <a:lnTo>
                      <a:pt x="30" y="90"/>
                    </a:lnTo>
                    <a:lnTo>
                      <a:pt x="36" y="90"/>
                    </a:lnTo>
                    <a:lnTo>
                      <a:pt x="36" y="84"/>
                    </a:lnTo>
                    <a:lnTo>
                      <a:pt x="42" y="84"/>
                    </a:lnTo>
                    <a:lnTo>
                      <a:pt x="36" y="84"/>
                    </a:lnTo>
                    <a:lnTo>
                      <a:pt x="42" y="84"/>
                    </a:lnTo>
                    <a:lnTo>
                      <a:pt x="42" y="78"/>
                    </a:lnTo>
                    <a:lnTo>
                      <a:pt x="48" y="78"/>
                    </a:lnTo>
                    <a:lnTo>
                      <a:pt x="48" y="72"/>
                    </a:lnTo>
                    <a:lnTo>
                      <a:pt x="42" y="72"/>
                    </a:lnTo>
                    <a:lnTo>
                      <a:pt x="42" y="66"/>
                    </a:lnTo>
                    <a:lnTo>
                      <a:pt x="42" y="60"/>
                    </a:lnTo>
                    <a:lnTo>
                      <a:pt x="36" y="60"/>
                    </a:lnTo>
                    <a:lnTo>
                      <a:pt x="36" y="54"/>
                    </a:lnTo>
                    <a:lnTo>
                      <a:pt x="30" y="54"/>
                    </a:lnTo>
                    <a:lnTo>
                      <a:pt x="30" y="48"/>
                    </a:lnTo>
                    <a:lnTo>
                      <a:pt x="30" y="42"/>
                    </a:lnTo>
                    <a:lnTo>
                      <a:pt x="36" y="42"/>
                    </a:lnTo>
                    <a:lnTo>
                      <a:pt x="36" y="36"/>
                    </a:lnTo>
                    <a:lnTo>
                      <a:pt x="42" y="36"/>
                    </a:lnTo>
                    <a:lnTo>
                      <a:pt x="48" y="36"/>
                    </a:lnTo>
                    <a:lnTo>
                      <a:pt x="54" y="36"/>
                    </a:lnTo>
                    <a:lnTo>
                      <a:pt x="54" y="42"/>
                    </a:lnTo>
                    <a:lnTo>
                      <a:pt x="60" y="42"/>
                    </a:lnTo>
                    <a:lnTo>
                      <a:pt x="60" y="36"/>
                    </a:lnTo>
                    <a:lnTo>
                      <a:pt x="66" y="36"/>
                    </a:lnTo>
                    <a:lnTo>
                      <a:pt x="66" y="30"/>
                    </a:lnTo>
                    <a:lnTo>
                      <a:pt x="72" y="30"/>
                    </a:lnTo>
                    <a:lnTo>
                      <a:pt x="72" y="24"/>
                    </a:lnTo>
                    <a:lnTo>
                      <a:pt x="78" y="24"/>
                    </a:lnTo>
                    <a:lnTo>
                      <a:pt x="84" y="24"/>
                    </a:lnTo>
                    <a:lnTo>
                      <a:pt x="84" y="18"/>
                    </a:lnTo>
                    <a:lnTo>
                      <a:pt x="90" y="18"/>
                    </a:lnTo>
                    <a:lnTo>
                      <a:pt x="90" y="12"/>
                    </a:lnTo>
                    <a:lnTo>
                      <a:pt x="96" y="12"/>
                    </a:lnTo>
                    <a:lnTo>
                      <a:pt x="96" y="6"/>
                    </a:lnTo>
                    <a:lnTo>
                      <a:pt x="102" y="6"/>
                    </a:lnTo>
                    <a:lnTo>
                      <a:pt x="108" y="6"/>
                    </a:lnTo>
                    <a:lnTo>
                      <a:pt x="114" y="6"/>
                    </a:lnTo>
                    <a:lnTo>
                      <a:pt x="120" y="6"/>
                    </a:lnTo>
                    <a:lnTo>
                      <a:pt x="120" y="12"/>
                    </a:lnTo>
                    <a:lnTo>
                      <a:pt x="126" y="12"/>
                    </a:lnTo>
                    <a:lnTo>
                      <a:pt x="132" y="12"/>
                    </a:lnTo>
                    <a:lnTo>
                      <a:pt x="132" y="6"/>
                    </a:lnTo>
                    <a:lnTo>
                      <a:pt x="138" y="6"/>
                    </a:lnTo>
                    <a:lnTo>
                      <a:pt x="138" y="12"/>
                    </a:lnTo>
                    <a:lnTo>
                      <a:pt x="138" y="6"/>
                    </a:lnTo>
                    <a:lnTo>
                      <a:pt x="138" y="0"/>
                    </a:lnTo>
                    <a:lnTo>
                      <a:pt x="144" y="0"/>
                    </a:lnTo>
                    <a:lnTo>
                      <a:pt x="138" y="0"/>
                    </a:lnTo>
                    <a:lnTo>
                      <a:pt x="144" y="0"/>
                    </a:lnTo>
                    <a:lnTo>
                      <a:pt x="150" y="0"/>
                    </a:lnTo>
                    <a:lnTo>
                      <a:pt x="144" y="0"/>
                    </a:lnTo>
                    <a:lnTo>
                      <a:pt x="144" y="6"/>
                    </a:lnTo>
                    <a:lnTo>
                      <a:pt x="144" y="12"/>
                    </a:lnTo>
                    <a:lnTo>
                      <a:pt x="150" y="12"/>
                    </a:lnTo>
                    <a:lnTo>
                      <a:pt x="150" y="18"/>
                    </a:lnTo>
                    <a:lnTo>
                      <a:pt x="156" y="18"/>
                    </a:lnTo>
                    <a:lnTo>
                      <a:pt x="156" y="24"/>
                    </a:lnTo>
                    <a:lnTo>
                      <a:pt x="156" y="30"/>
                    </a:lnTo>
                    <a:lnTo>
                      <a:pt x="156" y="24"/>
                    </a:lnTo>
                    <a:lnTo>
                      <a:pt x="156" y="30"/>
                    </a:lnTo>
                    <a:lnTo>
                      <a:pt x="162" y="30"/>
                    </a:lnTo>
                    <a:lnTo>
                      <a:pt x="162" y="36"/>
                    </a:lnTo>
                    <a:lnTo>
                      <a:pt x="168" y="36"/>
                    </a:lnTo>
                    <a:lnTo>
                      <a:pt x="174" y="36"/>
                    </a:lnTo>
                    <a:lnTo>
                      <a:pt x="180" y="36"/>
                    </a:lnTo>
                    <a:lnTo>
                      <a:pt x="186" y="36"/>
                    </a:lnTo>
                    <a:lnTo>
                      <a:pt x="186" y="42"/>
                    </a:lnTo>
                    <a:lnTo>
                      <a:pt x="186" y="48"/>
                    </a:lnTo>
                    <a:lnTo>
                      <a:pt x="180" y="48"/>
                    </a:lnTo>
                    <a:lnTo>
                      <a:pt x="186" y="48"/>
                    </a:lnTo>
                    <a:lnTo>
                      <a:pt x="186" y="42"/>
                    </a:lnTo>
                    <a:lnTo>
                      <a:pt x="192" y="42"/>
                    </a:lnTo>
                    <a:lnTo>
                      <a:pt x="192" y="48"/>
                    </a:lnTo>
                    <a:lnTo>
                      <a:pt x="198" y="48"/>
                    </a:lnTo>
                    <a:lnTo>
                      <a:pt x="192" y="48"/>
                    </a:lnTo>
                    <a:lnTo>
                      <a:pt x="192" y="54"/>
                    </a:lnTo>
                    <a:lnTo>
                      <a:pt x="198" y="54"/>
                    </a:lnTo>
                    <a:lnTo>
                      <a:pt x="204" y="54"/>
                    </a:lnTo>
                    <a:lnTo>
                      <a:pt x="204" y="60"/>
                    </a:lnTo>
                    <a:lnTo>
                      <a:pt x="210" y="60"/>
                    </a:lnTo>
                    <a:lnTo>
                      <a:pt x="210" y="54"/>
                    </a:lnTo>
                    <a:lnTo>
                      <a:pt x="216" y="54"/>
                    </a:lnTo>
                    <a:lnTo>
                      <a:pt x="216" y="48"/>
                    </a:lnTo>
                    <a:lnTo>
                      <a:pt x="216" y="54"/>
                    </a:lnTo>
                    <a:lnTo>
                      <a:pt x="222" y="54"/>
                    </a:lnTo>
                    <a:lnTo>
                      <a:pt x="228" y="54"/>
                    </a:lnTo>
                    <a:lnTo>
                      <a:pt x="228" y="48"/>
                    </a:lnTo>
                    <a:lnTo>
                      <a:pt x="228" y="54"/>
                    </a:lnTo>
                    <a:lnTo>
                      <a:pt x="228" y="48"/>
                    </a:lnTo>
                    <a:lnTo>
                      <a:pt x="234" y="48"/>
                    </a:lnTo>
                    <a:lnTo>
                      <a:pt x="234" y="42"/>
                    </a:lnTo>
                    <a:lnTo>
                      <a:pt x="240" y="42"/>
                    </a:lnTo>
                    <a:lnTo>
                      <a:pt x="246" y="42"/>
                    </a:lnTo>
                    <a:lnTo>
                      <a:pt x="246" y="36"/>
                    </a:lnTo>
                    <a:lnTo>
                      <a:pt x="252" y="36"/>
                    </a:lnTo>
                    <a:lnTo>
                      <a:pt x="252" y="42"/>
                    </a:lnTo>
                    <a:lnTo>
                      <a:pt x="258" y="42"/>
                    </a:lnTo>
                    <a:lnTo>
                      <a:pt x="258" y="48"/>
                    </a:lnTo>
                    <a:lnTo>
                      <a:pt x="264" y="48"/>
                    </a:lnTo>
                    <a:lnTo>
                      <a:pt x="258" y="48"/>
                    </a:lnTo>
                    <a:lnTo>
                      <a:pt x="258" y="54"/>
                    </a:lnTo>
                    <a:lnTo>
                      <a:pt x="264" y="54"/>
                    </a:lnTo>
                    <a:lnTo>
                      <a:pt x="270" y="54"/>
                    </a:lnTo>
                    <a:lnTo>
                      <a:pt x="270" y="60"/>
                    </a:lnTo>
                    <a:lnTo>
                      <a:pt x="270" y="66"/>
                    </a:lnTo>
                    <a:lnTo>
                      <a:pt x="276" y="66"/>
                    </a:lnTo>
                    <a:lnTo>
                      <a:pt x="276" y="72"/>
                    </a:lnTo>
                    <a:lnTo>
                      <a:pt x="276" y="78"/>
                    </a:lnTo>
                    <a:lnTo>
                      <a:pt x="282" y="84"/>
                    </a:lnTo>
                    <a:lnTo>
                      <a:pt x="288" y="84"/>
                    </a:lnTo>
                    <a:lnTo>
                      <a:pt x="288" y="90"/>
                    </a:lnTo>
                    <a:lnTo>
                      <a:pt x="282" y="90"/>
                    </a:lnTo>
                    <a:lnTo>
                      <a:pt x="288" y="90"/>
                    </a:lnTo>
                    <a:lnTo>
                      <a:pt x="294" y="90"/>
                    </a:lnTo>
                    <a:lnTo>
                      <a:pt x="294" y="84"/>
                    </a:lnTo>
                    <a:lnTo>
                      <a:pt x="294" y="90"/>
                    </a:lnTo>
                    <a:lnTo>
                      <a:pt x="294" y="84"/>
                    </a:lnTo>
                    <a:lnTo>
                      <a:pt x="294" y="90"/>
                    </a:lnTo>
                    <a:lnTo>
                      <a:pt x="294" y="84"/>
                    </a:lnTo>
                    <a:lnTo>
                      <a:pt x="300" y="84"/>
                    </a:lnTo>
                    <a:lnTo>
                      <a:pt x="306" y="84"/>
                    </a:lnTo>
                    <a:lnTo>
                      <a:pt x="306" y="78"/>
                    </a:lnTo>
                    <a:lnTo>
                      <a:pt x="306" y="84"/>
                    </a:lnTo>
                    <a:lnTo>
                      <a:pt x="312" y="78"/>
                    </a:lnTo>
                    <a:lnTo>
                      <a:pt x="312" y="84"/>
                    </a:lnTo>
                    <a:lnTo>
                      <a:pt x="312" y="78"/>
                    </a:lnTo>
                    <a:lnTo>
                      <a:pt x="312" y="84"/>
                    </a:lnTo>
                    <a:lnTo>
                      <a:pt x="312" y="78"/>
                    </a:lnTo>
                    <a:lnTo>
                      <a:pt x="318" y="78"/>
                    </a:lnTo>
                    <a:lnTo>
                      <a:pt x="324" y="78"/>
                    </a:lnTo>
                    <a:lnTo>
                      <a:pt x="324" y="72"/>
                    </a:lnTo>
                    <a:lnTo>
                      <a:pt x="330" y="72"/>
                    </a:lnTo>
                    <a:lnTo>
                      <a:pt x="330" y="66"/>
                    </a:lnTo>
                    <a:lnTo>
                      <a:pt x="330" y="72"/>
                    </a:lnTo>
                    <a:lnTo>
                      <a:pt x="330" y="66"/>
                    </a:lnTo>
                    <a:lnTo>
                      <a:pt x="330" y="72"/>
                    </a:lnTo>
                    <a:lnTo>
                      <a:pt x="330" y="78"/>
                    </a:lnTo>
                    <a:lnTo>
                      <a:pt x="336" y="78"/>
                    </a:lnTo>
                    <a:lnTo>
                      <a:pt x="330" y="78"/>
                    </a:lnTo>
                    <a:lnTo>
                      <a:pt x="330" y="84"/>
                    </a:lnTo>
                    <a:lnTo>
                      <a:pt x="336" y="84"/>
                    </a:lnTo>
                    <a:lnTo>
                      <a:pt x="336" y="90"/>
                    </a:lnTo>
                    <a:lnTo>
                      <a:pt x="336" y="84"/>
                    </a:lnTo>
                    <a:lnTo>
                      <a:pt x="336" y="90"/>
                    </a:lnTo>
                    <a:lnTo>
                      <a:pt x="330" y="90"/>
                    </a:lnTo>
                    <a:lnTo>
                      <a:pt x="330" y="96"/>
                    </a:lnTo>
                    <a:lnTo>
                      <a:pt x="324" y="96"/>
                    </a:lnTo>
                    <a:lnTo>
                      <a:pt x="324" y="102"/>
                    </a:lnTo>
                    <a:lnTo>
                      <a:pt x="324" y="108"/>
                    </a:lnTo>
                    <a:lnTo>
                      <a:pt x="330" y="108"/>
                    </a:lnTo>
                    <a:lnTo>
                      <a:pt x="330" y="102"/>
                    </a:lnTo>
                    <a:lnTo>
                      <a:pt x="336" y="102"/>
                    </a:lnTo>
                    <a:lnTo>
                      <a:pt x="342" y="102"/>
                    </a:lnTo>
                    <a:lnTo>
                      <a:pt x="342" y="108"/>
                    </a:lnTo>
                    <a:lnTo>
                      <a:pt x="342" y="114"/>
                    </a:lnTo>
                    <a:lnTo>
                      <a:pt x="348" y="114"/>
                    </a:lnTo>
                    <a:lnTo>
                      <a:pt x="348" y="120"/>
                    </a:lnTo>
                    <a:lnTo>
                      <a:pt x="342" y="120"/>
                    </a:lnTo>
                    <a:lnTo>
                      <a:pt x="342" y="126"/>
                    </a:lnTo>
                    <a:lnTo>
                      <a:pt x="342" y="132"/>
                    </a:lnTo>
                    <a:lnTo>
                      <a:pt x="342" y="138"/>
                    </a:lnTo>
                    <a:lnTo>
                      <a:pt x="342" y="144"/>
                    </a:lnTo>
                    <a:lnTo>
                      <a:pt x="348" y="138"/>
                    </a:lnTo>
                    <a:lnTo>
                      <a:pt x="348" y="144"/>
                    </a:lnTo>
                    <a:lnTo>
                      <a:pt x="348" y="138"/>
                    </a:lnTo>
                    <a:lnTo>
                      <a:pt x="354" y="138"/>
                    </a:lnTo>
                    <a:lnTo>
                      <a:pt x="354" y="144"/>
                    </a:lnTo>
                    <a:lnTo>
                      <a:pt x="360" y="144"/>
                    </a:lnTo>
                    <a:lnTo>
                      <a:pt x="360" y="150"/>
                    </a:lnTo>
                    <a:lnTo>
                      <a:pt x="354" y="150"/>
                    </a:lnTo>
                    <a:lnTo>
                      <a:pt x="354" y="156"/>
                    </a:lnTo>
                    <a:lnTo>
                      <a:pt x="360" y="156"/>
                    </a:lnTo>
                    <a:lnTo>
                      <a:pt x="360" y="162"/>
                    </a:lnTo>
                    <a:lnTo>
                      <a:pt x="360" y="156"/>
                    </a:lnTo>
                    <a:lnTo>
                      <a:pt x="366" y="156"/>
                    </a:lnTo>
                    <a:lnTo>
                      <a:pt x="366" y="162"/>
                    </a:lnTo>
                    <a:lnTo>
                      <a:pt x="366" y="168"/>
                    </a:lnTo>
                    <a:lnTo>
                      <a:pt x="372" y="168"/>
                    </a:lnTo>
                    <a:lnTo>
                      <a:pt x="372" y="174"/>
                    </a:lnTo>
                    <a:lnTo>
                      <a:pt x="378" y="174"/>
                    </a:lnTo>
                    <a:lnTo>
                      <a:pt x="378" y="180"/>
                    </a:lnTo>
                    <a:lnTo>
                      <a:pt x="378" y="186"/>
                    </a:lnTo>
                    <a:lnTo>
                      <a:pt x="378" y="192"/>
                    </a:lnTo>
                    <a:lnTo>
                      <a:pt x="372" y="192"/>
                    </a:lnTo>
                    <a:lnTo>
                      <a:pt x="378" y="192"/>
                    </a:lnTo>
                    <a:lnTo>
                      <a:pt x="372" y="192"/>
                    </a:lnTo>
                    <a:lnTo>
                      <a:pt x="372" y="198"/>
                    </a:lnTo>
                    <a:lnTo>
                      <a:pt x="372" y="204"/>
                    </a:lnTo>
                    <a:lnTo>
                      <a:pt x="372" y="210"/>
                    </a:lnTo>
                    <a:lnTo>
                      <a:pt x="378" y="210"/>
                    </a:lnTo>
                    <a:lnTo>
                      <a:pt x="372" y="210"/>
                    </a:lnTo>
                    <a:lnTo>
                      <a:pt x="372" y="216"/>
                    </a:lnTo>
                    <a:lnTo>
                      <a:pt x="378" y="216"/>
                    </a:lnTo>
                    <a:lnTo>
                      <a:pt x="378" y="222"/>
                    </a:lnTo>
                    <a:lnTo>
                      <a:pt x="384" y="222"/>
                    </a:lnTo>
                    <a:lnTo>
                      <a:pt x="384" y="228"/>
                    </a:lnTo>
                    <a:lnTo>
                      <a:pt x="384" y="234"/>
                    </a:lnTo>
                    <a:lnTo>
                      <a:pt x="384" y="240"/>
                    </a:lnTo>
                    <a:lnTo>
                      <a:pt x="378" y="240"/>
                    </a:lnTo>
                    <a:lnTo>
                      <a:pt x="372" y="240"/>
                    </a:lnTo>
                    <a:lnTo>
                      <a:pt x="372" y="246"/>
                    </a:lnTo>
                    <a:lnTo>
                      <a:pt x="378" y="246"/>
                    </a:lnTo>
                    <a:lnTo>
                      <a:pt x="378" y="252"/>
                    </a:lnTo>
                    <a:lnTo>
                      <a:pt x="384" y="252"/>
                    </a:lnTo>
                    <a:lnTo>
                      <a:pt x="384" y="258"/>
                    </a:lnTo>
                    <a:lnTo>
                      <a:pt x="378" y="258"/>
                    </a:lnTo>
                    <a:lnTo>
                      <a:pt x="378" y="264"/>
                    </a:lnTo>
                    <a:lnTo>
                      <a:pt x="384" y="264"/>
                    </a:lnTo>
                    <a:lnTo>
                      <a:pt x="390" y="264"/>
                    </a:lnTo>
                    <a:lnTo>
                      <a:pt x="390" y="270"/>
                    </a:lnTo>
                    <a:lnTo>
                      <a:pt x="384" y="270"/>
                    </a:lnTo>
                    <a:lnTo>
                      <a:pt x="390" y="270"/>
                    </a:lnTo>
                    <a:lnTo>
                      <a:pt x="390" y="276"/>
                    </a:lnTo>
                    <a:lnTo>
                      <a:pt x="390" y="282"/>
                    </a:lnTo>
                    <a:lnTo>
                      <a:pt x="396" y="282"/>
                    </a:lnTo>
                    <a:lnTo>
                      <a:pt x="402" y="282"/>
                    </a:lnTo>
                    <a:lnTo>
                      <a:pt x="402" y="288"/>
                    </a:lnTo>
                    <a:lnTo>
                      <a:pt x="408" y="288"/>
                    </a:lnTo>
                    <a:lnTo>
                      <a:pt x="408" y="294"/>
                    </a:lnTo>
                    <a:lnTo>
                      <a:pt x="402" y="294"/>
                    </a:lnTo>
                    <a:lnTo>
                      <a:pt x="408" y="294"/>
                    </a:lnTo>
                    <a:lnTo>
                      <a:pt x="402" y="294"/>
                    </a:lnTo>
                    <a:lnTo>
                      <a:pt x="408" y="294"/>
                    </a:lnTo>
                    <a:lnTo>
                      <a:pt x="408" y="300"/>
                    </a:lnTo>
                    <a:lnTo>
                      <a:pt x="402" y="300"/>
                    </a:lnTo>
                    <a:lnTo>
                      <a:pt x="396" y="300"/>
                    </a:lnTo>
                    <a:lnTo>
                      <a:pt x="390" y="300"/>
                    </a:lnTo>
                    <a:lnTo>
                      <a:pt x="384" y="300"/>
                    </a:lnTo>
                    <a:lnTo>
                      <a:pt x="384" y="294"/>
                    </a:lnTo>
                    <a:lnTo>
                      <a:pt x="384" y="288"/>
                    </a:lnTo>
                    <a:lnTo>
                      <a:pt x="378" y="288"/>
                    </a:lnTo>
                    <a:lnTo>
                      <a:pt x="372" y="288"/>
                    </a:lnTo>
                    <a:lnTo>
                      <a:pt x="366" y="288"/>
                    </a:lnTo>
                    <a:lnTo>
                      <a:pt x="360" y="288"/>
                    </a:lnTo>
                    <a:lnTo>
                      <a:pt x="360" y="282"/>
                    </a:lnTo>
                    <a:lnTo>
                      <a:pt x="354" y="282"/>
                    </a:lnTo>
                    <a:lnTo>
                      <a:pt x="354" y="288"/>
                    </a:lnTo>
                    <a:lnTo>
                      <a:pt x="348" y="288"/>
                    </a:lnTo>
                    <a:lnTo>
                      <a:pt x="348" y="282"/>
                    </a:lnTo>
                    <a:lnTo>
                      <a:pt x="342" y="282"/>
                    </a:lnTo>
                    <a:lnTo>
                      <a:pt x="342" y="276"/>
                    </a:lnTo>
                    <a:lnTo>
                      <a:pt x="336" y="282"/>
                    </a:lnTo>
                    <a:lnTo>
                      <a:pt x="336" y="276"/>
                    </a:lnTo>
                    <a:lnTo>
                      <a:pt x="330" y="276"/>
                    </a:lnTo>
                    <a:lnTo>
                      <a:pt x="324" y="276"/>
                    </a:lnTo>
                    <a:lnTo>
                      <a:pt x="318" y="276"/>
                    </a:lnTo>
                    <a:lnTo>
                      <a:pt x="318" y="282"/>
                    </a:lnTo>
                    <a:lnTo>
                      <a:pt x="312" y="282"/>
                    </a:lnTo>
                    <a:lnTo>
                      <a:pt x="306" y="282"/>
                    </a:lnTo>
                    <a:lnTo>
                      <a:pt x="306" y="288"/>
                    </a:lnTo>
                    <a:lnTo>
                      <a:pt x="300" y="288"/>
                    </a:lnTo>
                    <a:lnTo>
                      <a:pt x="294" y="288"/>
                    </a:lnTo>
                    <a:lnTo>
                      <a:pt x="288" y="288"/>
                    </a:lnTo>
                    <a:lnTo>
                      <a:pt x="288" y="294"/>
                    </a:lnTo>
                    <a:lnTo>
                      <a:pt x="282" y="294"/>
                    </a:lnTo>
                    <a:lnTo>
                      <a:pt x="276" y="294"/>
                    </a:lnTo>
                    <a:lnTo>
                      <a:pt x="276" y="300"/>
                    </a:lnTo>
                    <a:lnTo>
                      <a:pt x="270" y="300"/>
                    </a:lnTo>
                    <a:lnTo>
                      <a:pt x="270" y="306"/>
                    </a:lnTo>
                    <a:lnTo>
                      <a:pt x="264" y="306"/>
                    </a:lnTo>
                    <a:lnTo>
                      <a:pt x="264" y="312"/>
                    </a:lnTo>
                    <a:lnTo>
                      <a:pt x="264" y="318"/>
                    </a:lnTo>
                    <a:lnTo>
                      <a:pt x="270" y="318"/>
                    </a:lnTo>
                    <a:lnTo>
                      <a:pt x="264" y="318"/>
                    </a:lnTo>
                    <a:lnTo>
                      <a:pt x="270" y="318"/>
                    </a:lnTo>
                    <a:lnTo>
                      <a:pt x="270" y="324"/>
                    </a:lnTo>
                    <a:lnTo>
                      <a:pt x="264" y="324"/>
                    </a:lnTo>
                    <a:lnTo>
                      <a:pt x="264" y="330"/>
                    </a:lnTo>
                    <a:lnTo>
                      <a:pt x="264" y="336"/>
                    </a:lnTo>
                    <a:lnTo>
                      <a:pt x="258" y="336"/>
                    </a:lnTo>
                    <a:lnTo>
                      <a:pt x="258" y="342"/>
                    </a:lnTo>
                    <a:lnTo>
                      <a:pt x="252" y="342"/>
                    </a:lnTo>
                    <a:lnTo>
                      <a:pt x="252" y="348"/>
                    </a:lnTo>
                    <a:lnTo>
                      <a:pt x="252" y="354"/>
                    </a:lnTo>
                    <a:lnTo>
                      <a:pt x="258" y="354"/>
                    </a:lnTo>
                    <a:lnTo>
                      <a:pt x="258" y="360"/>
                    </a:lnTo>
                    <a:lnTo>
                      <a:pt x="258" y="366"/>
                    </a:lnTo>
                    <a:lnTo>
                      <a:pt x="258" y="360"/>
                    </a:lnTo>
                    <a:lnTo>
                      <a:pt x="258" y="366"/>
                    </a:lnTo>
                    <a:lnTo>
                      <a:pt x="264" y="366"/>
                    </a:lnTo>
                    <a:lnTo>
                      <a:pt x="258" y="366"/>
                    </a:lnTo>
                    <a:lnTo>
                      <a:pt x="264" y="366"/>
                    </a:lnTo>
                    <a:lnTo>
                      <a:pt x="264" y="372"/>
                    </a:lnTo>
                    <a:lnTo>
                      <a:pt x="258" y="372"/>
                    </a:lnTo>
                    <a:lnTo>
                      <a:pt x="252" y="372"/>
                    </a:lnTo>
                    <a:lnTo>
                      <a:pt x="258" y="372"/>
                    </a:lnTo>
                    <a:lnTo>
                      <a:pt x="258" y="378"/>
                    </a:lnTo>
                    <a:lnTo>
                      <a:pt x="264" y="378"/>
                    </a:lnTo>
                    <a:lnTo>
                      <a:pt x="264" y="384"/>
                    </a:lnTo>
                    <a:lnTo>
                      <a:pt x="258" y="384"/>
                    </a:lnTo>
                    <a:lnTo>
                      <a:pt x="258" y="390"/>
                    </a:lnTo>
                    <a:lnTo>
                      <a:pt x="252" y="390"/>
                    </a:lnTo>
                    <a:lnTo>
                      <a:pt x="246" y="390"/>
                    </a:lnTo>
                    <a:lnTo>
                      <a:pt x="246" y="396"/>
                    </a:lnTo>
                    <a:lnTo>
                      <a:pt x="240" y="396"/>
                    </a:lnTo>
                    <a:lnTo>
                      <a:pt x="234" y="396"/>
                    </a:lnTo>
                    <a:lnTo>
                      <a:pt x="234" y="402"/>
                    </a:lnTo>
                    <a:lnTo>
                      <a:pt x="234" y="396"/>
                    </a:lnTo>
                    <a:lnTo>
                      <a:pt x="228" y="396"/>
                    </a:lnTo>
                    <a:lnTo>
                      <a:pt x="228" y="390"/>
                    </a:lnTo>
                    <a:lnTo>
                      <a:pt x="228" y="396"/>
                    </a:lnTo>
                    <a:lnTo>
                      <a:pt x="222" y="396"/>
                    </a:lnTo>
                    <a:lnTo>
                      <a:pt x="222" y="402"/>
                    </a:lnTo>
                    <a:lnTo>
                      <a:pt x="216" y="402"/>
                    </a:lnTo>
                    <a:lnTo>
                      <a:pt x="216" y="396"/>
                    </a:lnTo>
                    <a:lnTo>
                      <a:pt x="222" y="396"/>
                    </a:lnTo>
                    <a:lnTo>
                      <a:pt x="222" y="390"/>
                    </a:lnTo>
                    <a:lnTo>
                      <a:pt x="222" y="396"/>
                    </a:lnTo>
                    <a:lnTo>
                      <a:pt x="216" y="396"/>
                    </a:lnTo>
                    <a:lnTo>
                      <a:pt x="210" y="396"/>
                    </a:lnTo>
                    <a:lnTo>
                      <a:pt x="210" y="390"/>
                    </a:lnTo>
                    <a:lnTo>
                      <a:pt x="210" y="396"/>
                    </a:lnTo>
                    <a:lnTo>
                      <a:pt x="210" y="390"/>
                    </a:lnTo>
                    <a:lnTo>
                      <a:pt x="204" y="390"/>
                    </a:lnTo>
                    <a:lnTo>
                      <a:pt x="198" y="390"/>
                    </a:lnTo>
                    <a:lnTo>
                      <a:pt x="192" y="390"/>
                    </a:lnTo>
                    <a:lnTo>
                      <a:pt x="192" y="384"/>
                    </a:lnTo>
                    <a:lnTo>
                      <a:pt x="186" y="384"/>
                    </a:lnTo>
                    <a:lnTo>
                      <a:pt x="186" y="378"/>
                    </a:lnTo>
                    <a:lnTo>
                      <a:pt x="180" y="378"/>
                    </a:lnTo>
                    <a:lnTo>
                      <a:pt x="180" y="372"/>
                    </a:lnTo>
                    <a:lnTo>
                      <a:pt x="186" y="372"/>
                    </a:lnTo>
                    <a:lnTo>
                      <a:pt x="186" y="366"/>
                    </a:lnTo>
                    <a:lnTo>
                      <a:pt x="186" y="360"/>
                    </a:lnTo>
                    <a:lnTo>
                      <a:pt x="186" y="354"/>
                    </a:lnTo>
                    <a:lnTo>
                      <a:pt x="180" y="354"/>
                    </a:lnTo>
                    <a:lnTo>
                      <a:pt x="174" y="354"/>
                    </a:lnTo>
                    <a:lnTo>
                      <a:pt x="174" y="348"/>
                    </a:lnTo>
                    <a:lnTo>
                      <a:pt x="174" y="354"/>
                    </a:lnTo>
                    <a:lnTo>
                      <a:pt x="168" y="354"/>
                    </a:lnTo>
                    <a:lnTo>
                      <a:pt x="168" y="348"/>
                    </a:lnTo>
                    <a:lnTo>
                      <a:pt x="168" y="342"/>
                    </a:lnTo>
                    <a:lnTo>
                      <a:pt x="162" y="342"/>
                    </a:lnTo>
                    <a:lnTo>
                      <a:pt x="162" y="336"/>
                    </a:lnTo>
                    <a:lnTo>
                      <a:pt x="156" y="336"/>
                    </a:lnTo>
                    <a:lnTo>
                      <a:pt x="156" y="330"/>
                    </a:lnTo>
                    <a:lnTo>
                      <a:pt x="162" y="330"/>
                    </a:lnTo>
                    <a:lnTo>
                      <a:pt x="156" y="330"/>
                    </a:lnTo>
                    <a:lnTo>
                      <a:pt x="150" y="330"/>
                    </a:lnTo>
                    <a:lnTo>
                      <a:pt x="150" y="336"/>
                    </a:lnTo>
                    <a:lnTo>
                      <a:pt x="150" y="330"/>
                    </a:lnTo>
                    <a:lnTo>
                      <a:pt x="144" y="330"/>
                    </a:lnTo>
                    <a:lnTo>
                      <a:pt x="144" y="324"/>
                    </a:lnTo>
                    <a:lnTo>
                      <a:pt x="144" y="330"/>
                    </a:lnTo>
                    <a:lnTo>
                      <a:pt x="138" y="330"/>
                    </a:lnTo>
                    <a:lnTo>
                      <a:pt x="138" y="324"/>
                    </a:lnTo>
                    <a:lnTo>
                      <a:pt x="132" y="324"/>
                    </a:lnTo>
                    <a:lnTo>
                      <a:pt x="132" y="318"/>
                    </a:lnTo>
                    <a:lnTo>
                      <a:pt x="126" y="318"/>
                    </a:lnTo>
                    <a:lnTo>
                      <a:pt x="120" y="318"/>
                    </a:lnTo>
                    <a:lnTo>
                      <a:pt x="120" y="312"/>
                    </a:lnTo>
                    <a:lnTo>
                      <a:pt x="120" y="306"/>
                    </a:lnTo>
                    <a:lnTo>
                      <a:pt x="120" y="300"/>
                    </a:lnTo>
                    <a:lnTo>
                      <a:pt x="126" y="300"/>
                    </a:lnTo>
                    <a:lnTo>
                      <a:pt x="120" y="300"/>
                    </a:lnTo>
                    <a:lnTo>
                      <a:pt x="120" y="294"/>
                    </a:lnTo>
                    <a:lnTo>
                      <a:pt x="120" y="288"/>
                    </a:lnTo>
                    <a:lnTo>
                      <a:pt x="126" y="288"/>
                    </a:lnTo>
                    <a:lnTo>
                      <a:pt x="126" y="282"/>
                    </a:lnTo>
                    <a:lnTo>
                      <a:pt x="120" y="282"/>
                    </a:lnTo>
                    <a:lnTo>
                      <a:pt x="120" y="288"/>
                    </a:lnTo>
                    <a:lnTo>
                      <a:pt x="120" y="282"/>
                    </a:lnTo>
                    <a:lnTo>
                      <a:pt x="120" y="276"/>
                    </a:lnTo>
                    <a:lnTo>
                      <a:pt x="114" y="276"/>
                    </a:lnTo>
                    <a:lnTo>
                      <a:pt x="114" y="282"/>
                    </a:lnTo>
                    <a:lnTo>
                      <a:pt x="114" y="276"/>
                    </a:lnTo>
                    <a:lnTo>
                      <a:pt x="114" y="282"/>
                    </a:lnTo>
                    <a:lnTo>
                      <a:pt x="108" y="282"/>
                    </a:lnTo>
                    <a:lnTo>
                      <a:pt x="108" y="276"/>
                    </a:lnTo>
                    <a:lnTo>
                      <a:pt x="102" y="276"/>
                    </a:lnTo>
                    <a:lnTo>
                      <a:pt x="102" y="270"/>
                    </a:lnTo>
                    <a:lnTo>
                      <a:pt x="102" y="276"/>
                    </a:lnTo>
                    <a:lnTo>
                      <a:pt x="102" y="270"/>
                    </a:lnTo>
                    <a:lnTo>
                      <a:pt x="96" y="270"/>
                    </a:lnTo>
                    <a:lnTo>
                      <a:pt x="96" y="264"/>
                    </a:lnTo>
                    <a:lnTo>
                      <a:pt x="96" y="258"/>
                    </a:lnTo>
                    <a:lnTo>
                      <a:pt x="90" y="258"/>
                    </a:lnTo>
                    <a:lnTo>
                      <a:pt x="96" y="258"/>
                    </a:lnTo>
                    <a:lnTo>
                      <a:pt x="90" y="258"/>
                    </a:lnTo>
                    <a:lnTo>
                      <a:pt x="90" y="252"/>
                    </a:lnTo>
                    <a:lnTo>
                      <a:pt x="90" y="258"/>
                    </a:lnTo>
                    <a:lnTo>
                      <a:pt x="84" y="258"/>
                    </a:lnTo>
                    <a:lnTo>
                      <a:pt x="84" y="264"/>
                    </a:lnTo>
                    <a:lnTo>
                      <a:pt x="90" y="264"/>
                    </a:lnTo>
                    <a:lnTo>
                      <a:pt x="84" y="264"/>
                    </a:lnTo>
                    <a:lnTo>
                      <a:pt x="84" y="270"/>
                    </a:lnTo>
                    <a:lnTo>
                      <a:pt x="78" y="270"/>
                    </a:lnTo>
                    <a:lnTo>
                      <a:pt x="78" y="276"/>
                    </a:lnTo>
                    <a:lnTo>
                      <a:pt x="78" y="270"/>
                    </a:lnTo>
                    <a:lnTo>
                      <a:pt x="72" y="270"/>
                    </a:lnTo>
                    <a:lnTo>
                      <a:pt x="72" y="276"/>
                    </a:lnTo>
                    <a:lnTo>
                      <a:pt x="72" y="270"/>
                    </a:lnTo>
                    <a:lnTo>
                      <a:pt x="66" y="270"/>
                    </a:lnTo>
                    <a:lnTo>
                      <a:pt x="66" y="264"/>
                    </a:lnTo>
                    <a:lnTo>
                      <a:pt x="66" y="258"/>
                    </a:lnTo>
                    <a:lnTo>
                      <a:pt x="66" y="252"/>
                    </a:lnTo>
                    <a:lnTo>
                      <a:pt x="60" y="252"/>
                    </a:lnTo>
                    <a:lnTo>
                      <a:pt x="66" y="252"/>
                    </a:lnTo>
                    <a:lnTo>
                      <a:pt x="60" y="252"/>
                    </a:lnTo>
                    <a:lnTo>
                      <a:pt x="60" y="246"/>
                    </a:lnTo>
                    <a:lnTo>
                      <a:pt x="60" y="240"/>
                    </a:lnTo>
                    <a:lnTo>
                      <a:pt x="54" y="240"/>
                    </a:lnTo>
                    <a:lnTo>
                      <a:pt x="54" y="234"/>
                    </a:lnTo>
                    <a:lnTo>
                      <a:pt x="54" y="228"/>
                    </a:lnTo>
                    <a:lnTo>
                      <a:pt x="48" y="228"/>
                    </a:lnTo>
                    <a:lnTo>
                      <a:pt x="48" y="222"/>
                    </a:lnTo>
                    <a:lnTo>
                      <a:pt x="48" y="216"/>
                    </a:lnTo>
                    <a:lnTo>
                      <a:pt x="48" y="210"/>
                    </a:lnTo>
                    <a:lnTo>
                      <a:pt x="48" y="204"/>
                    </a:lnTo>
                    <a:lnTo>
                      <a:pt x="42" y="204"/>
                    </a:lnTo>
                    <a:lnTo>
                      <a:pt x="42" y="198"/>
                    </a:lnTo>
                    <a:lnTo>
                      <a:pt x="42" y="192"/>
                    </a:lnTo>
                    <a:lnTo>
                      <a:pt x="36" y="192"/>
                    </a:lnTo>
                    <a:lnTo>
                      <a:pt x="36" y="186"/>
                    </a:lnTo>
                    <a:lnTo>
                      <a:pt x="36" y="180"/>
                    </a:lnTo>
                    <a:lnTo>
                      <a:pt x="30" y="180"/>
                    </a:lnTo>
                    <a:lnTo>
                      <a:pt x="24" y="180"/>
                    </a:lnTo>
                    <a:lnTo>
                      <a:pt x="24" y="174"/>
                    </a:lnTo>
                    <a:lnTo>
                      <a:pt x="18" y="174"/>
                    </a:lnTo>
                    <a:lnTo>
                      <a:pt x="18" y="168"/>
                    </a:lnTo>
                    <a:lnTo>
                      <a:pt x="18" y="174"/>
                    </a:lnTo>
                    <a:lnTo>
                      <a:pt x="12" y="174"/>
                    </a:lnTo>
                    <a:lnTo>
                      <a:pt x="12" y="168"/>
                    </a:lnTo>
                    <a:lnTo>
                      <a:pt x="6" y="168"/>
                    </a:lnTo>
                    <a:lnTo>
                      <a:pt x="0" y="168"/>
                    </a:lnTo>
                    <a:lnTo>
                      <a:pt x="0" y="162"/>
                    </a:lnTo>
                    <a:lnTo>
                      <a:pt x="0" y="156"/>
                    </a:lnTo>
                    <a:lnTo>
                      <a:pt x="6" y="156"/>
                    </a:lnTo>
                    <a:lnTo>
                      <a:pt x="6" y="150"/>
                    </a:lnTo>
                    <a:lnTo>
                      <a:pt x="6" y="144"/>
                    </a:lnTo>
                    <a:lnTo>
                      <a:pt x="6" y="138"/>
                    </a:lnTo>
                    <a:lnTo>
                      <a:pt x="12" y="138"/>
                    </a:lnTo>
                    <a:lnTo>
                      <a:pt x="18" y="138"/>
                    </a:lnTo>
                    <a:lnTo>
                      <a:pt x="18" y="132"/>
                    </a:lnTo>
                    <a:lnTo>
                      <a:pt x="24" y="132"/>
                    </a:lnTo>
                    <a:lnTo>
                      <a:pt x="24" y="126"/>
                    </a:lnTo>
                    <a:lnTo>
                      <a:pt x="30" y="126"/>
                    </a:lnTo>
                    <a:lnTo>
                      <a:pt x="30" y="120"/>
                    </a:lnTo>
                    <a:lnTo>
                      <a:pt x="36" y="120"/>
                    </a:lnTo>
                    <a:lnTo>
                      <a:pt x="42" y="120"/>
                    </a:lnTo>
                    <a:lnTo>
                      <a:pt x="36" y="120"/>
                    </a:lnTo>
                    <a:lnTo>
                      <a:pt x="36" y="114"/>
                    </a:lnTo>
                    <a:lnTo>
                      <a:pt x="36" y="108"/>
                    </a:lnTo>
                    <a:lnTo>
                      <a:pt x="30" y="108"/>
                    </a:lnTo>
                    <a:lnTo>
                      <a:pt x="30" y="102"/>
                    </a:lnTo>
                    <a:lnTo>
                      <a:pt x="24" y="102"/>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US" sz="900" dirty="0">
                  <a:solidFill>
                    <a:srgbClr val="000000"/>
                  </a:solidFill>
                </a:endParaRPr>
              </a:p>
            </p:txBody>
          </p:sp>
          <p:sp>
            <p:nvSpPr>
              <p:cNvPr id="74" name="Freeform 85"/>
              <p:cNvSpPr>
                <a:spLocks/>
              </p:cNvSpPr>
              <p:nvPr/>
            </p:nvSpPr>
            <p:spPr bwMode="gray">
              <a:xfrm>
                <a:off x="3382960" y="2144609"/>
                <a:ext cx="23160" cy="22932"/>
              </a:xfrm>
              <a:custGeom>
                <a:avLst/>
                <a:gdLst>
                  <a:gd name="T0" fmla="*/ 12 w 18"/>
                  <a:gd name="T1" fmla="*/ 18 h 18"/>
                  <a:gd name="T2" fmla="*/ 6 w 18"/>
                  <a:gd name="T3" fmla="*/ 18 h 18"/>
                  <a:gd name="T4" fmla="*/ 0 w 18"/>
                  <a:gd name="T5" fmla="*/ 18 h 18"/>
                  <a:gd name="T6" fmla="*/ 6 w 18"/>
                  <a:gd name="T7" fmla="*/ 18 h 18"/>
                  <a:gd name="T8" fmla="*/ 0 w 18"/>
                  <a:gd name="T9" fmla="*/ 18 h 18"/>
                  <a:gd name="T10" fmla="*/ 6 w 18"/>
                  <a:gd name="T11" fmla="*/ 18 h 18"/>
                  <a:gd name="T12" fmla="*/ 6 w 18"/>
                  <a:gd name="T13" fmla="*/ 12 h 18"/>
                  <a:gd name="T14" fmla="*/ 0 w 18"/>
                  <a:gd name="T15" fmla="*/ 12 h 18"/>
                  <a:gd name="T16" fmla="*/ 0 w 18"/>
                  <a:gd name="T17" fmla="*/ 6 h 18"/>
                  <a:gd name="T18" fmla="*/ 6 w 18"/>
                  <a:gd name="T19" fmla="*/ 6 h 18"/>
                  <a:gd name="T20" fmla="*/ 6 w 18"/>
                  <a:gd name="T21" fmla="*/ 0 h 18"/>
                  <a:gd name="T22" fmla="*/ 6 w 18"/>
                  <a:gd name="T23" fmla="*/ 6 h 18"/>
                  <a:gd name="T24" fmla="*/ 12 w 18"/>
                  <a:gd name="T25" fmla="*/ 6 h 18"/>
                  <a:gd name="T26" fmla="*/ 6 w 18"/>
                  <a:gd name="T27" fmla="*/ 6 h 18"/>
                  <a:gd name="T28" fmla="*/ 12 w 18"/>
                  <a:gd name="T29" fmla="*/ 6 h 18"/>
                  <a:gd name="T30" fmla="*/ 12 w 18"/>
                  <a:gd name="T31" fmla="*/ 12 h 18"/>
                  <a:gd name="T32" fmla="*/ 18 w 18"/>
                  <a:gd name="T33" fmla="*/ 12 h 18"/>
                  <a:gd name="T34" fmla="*/ 12 w 18"/>
                  <a:gd name="T35"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 h="18">
                    <a:moveTo>
                      <a:pt x="12" y="18"/>
                    </a:moveTo>
                    <a:lnTo>
                      <a:pt x="6" y="18"/>
                    </a:lnTo>
                    <a:lnTo>
                      <a:pt x="0" y="18"/>
                    </a:lnTo>
                    <a:lnTo>
                      <a:pt x="6" y="18"/>
                    </a:lnTo>
                    <a:lnTo>
                      <a:pt x="0" y="18"/>
                    </a:lnTo>
                    <a:lnTo>
                      <a:pt x="6" y="18"/>
                    </a:lnTo>
                    <a:lnTo>
                      <a:pt x="6" y="12"/>
                    </a:lnTo>
                    <a:lnTo>
                      <a:pt x="0" y="12"/>
                    </a:lnTo>
                    <a:lnTo>
                      <a:pt x="0" y="6"/>
                    </a:lnTo>
                    <a:lnTo>
                      <a:pt x="6" y="6"/>
                    </a:lnTo>
                    <a:lnTo>
                      <a:pt x="6" y="0"/>
                    </a:lnTo>
                    <a:lnTo>
                      <a:pt x="6" y="6"/>
                    </a:lnTo>
                    <a:lnTo>
                      <a:pt x="12" y="6"/>
                    </a:lnTo>
                    <a:lnTo>
                      <a:pt x="6" y="6"/>
                    </a:lnTo>
                    <a:lnTo>
                      <a:pt x="12" y="6"/>
                    </a:lnTo>
                    <a:lnTo>
                      <a:pt x="12" y="12"/>
                    </a:lnTo>
                    <a:lnTo>
                      <a:pt x="18" y="12"/>
                    </a:lnTo>
                    <a:lnTo>
                      <a:pt x="12" y="18"/>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US" sz="900" dirty="0">
                  <a:solidFill>
                    <a:srgbClr val="000000"/>
                  </a:solidFill>
                </a:endParaRPr>
              </a:p>
            </p:txBody>
          </p:sp>
          <p:sp>
            <p:nvSpPr>
              <p:cNvPr id="75" name="Freeform 86"/>
              <p:cNvSpPr>
                <a:spLocks/>
              </p:cNvSpPr>
              <p:nvPr/>
            </p:nvSpPr>
            <p:spPr bwMode="gray">
              <a:xfrm>
                <a:off x="3406120" y="2488598"/>
                <a:ext cx="77201" cy="76442"/>
              </a:xfrm>
              <a:custGeom>
                <a:avLst/>
                <a:gdLst>
                  <a:gd name="T0" fmla="*/ 42 w 60"/>
                  <a:gd name="T1" fmla="*/ 0 h 60"/>
                  <a:gd name="T2" fmla="*/ 42 w 60"/>
                  <a:gd name="T3" fmla="*/ 6 h 60"/>
                  <a:gd name="T4" fmla="*/ 42 w 60"/>
                  <a:gd name="T5" fmla="*/ 12 h 60"/>
                  <a:gd name="T6" fmla="*/ 48 w 60"/>
                  <a:gd name="T7" fmla="*/ 12 h 60"/>
                  <a:gd name="T8" fmla="*/ 48 w 60"/>
                  <a:gd name="T9" fmla="*/ 18 h 60"/>
                  <a:gd name="T10" fmla="*/ 54 w 60"/>
                  <a:gd name="T11" fmla="*/ 18 h 60"/>
                  <a:gd name="T12" fmla="*/ 48 w 60"/>
                  <a:gd name="T13" fmla="*/ 18 h 60"/>
                  <a:gd name="T14" fmla="*/ 54 w 60"/>
                  <a:gd name="T15" fmla="*/ 18 h 60"/>
                  <a:gd name="T16" fmla="*/ 54 w 60"/>
                  <a:gd name="T17" fmla="*/ 24 h 60"/>
                  <a:gd name="T18" fmla="*/ 54 w 60"/>
                  <a:gd name="T19" fmla="*/ 30 h 60"/>
                  <a:gd name="T20" fmla="*/ 60 w 60"/>
                  <a:gd name="T21" fmla="*/ 30 h 60"/>
                  <a:gd name="T22" fmla="*/ 54 w 60"/>
                  <a:gd name="T23" fmla="*/ 36 h 60"/>
                  <a:gd name="T24" fmla="*/ 54 w 60"/>
                  <a:gd name="T25" fmla="*/ 42 h 60"/>
                  <a:gd name="T26" fmla="*/ 60 w 60"/>
                  <a:gd name="T27" fmla="*/ 48 h 60"/>
                  <a:gd name="T28" fmla="*/ 54 w 60"/>
                  <a:gd name="T29" fmla="*/ 48 h 60"/>
                  <a:gd name="T30" fmla="*/ 48 w 60"/>
                  <a:gd name="T31" fmla="*/ 48 h 60"/>
                  <a:gd name="T32" fmla="*/ 42 w 60"/>
                  <a:gd name="T33" fmla="*/ 54 h 60"/>
                  <a:gd name="T34" fmla="*/ 48 w 60"/>
                  <a:gd name="T35" fmla="*/ 54 h 60"/>
                  <a:gd name="T36" fmla="*/ 48 w 60"/>
                  <a:gd name="T37" fmla="*/ 60 h 60"/>
                  <a:gd name="T38" fmla="*/ 42 w 60"/>
                  <a:gd name="T39" fmla="*/ 60 h 60"/>
                  <a:gd name="T40" fmla="*/ 36 w 60"/>
                  <a:gd name="T41" fmla="*/ 60 h 60"/>
                  <a:gd name="T42" fmla="*/ 36 w 60"/>
                  <a:gd name="T43" fmla="*/ 54 h 60"/>
                  <a:gd name="T44" fmla="*/ 30 w 60"/>
                  <a:gd name="T45" fmla="*/ 54 h 60"/>
                  <a:gd name="T46" fmla="*/ 30 w 60"/>
                  <a:gd name="T47" fmla="*/ 48 h 60"/>
                  <a:gd name="T48" fmla="*/ 24 w 60"/>
                  <a:gd name="T49" fmla="*/ 48 h 60"/>
                  <a:gd name="T50" fmla="*/ 24 w 60"/>
                  <a:gd name="T51" fmla="*/ 42 h 60"/>
                  <a:gd name="T52" fmla="*/ 18 w 60"/>
                  <a:gd name="T53" fmla="*/ 42 h 60"/>
                  <a:gd name="T54" fmla="*/ 18 w 60"/>
                  <a:gd name="T55" fmla="*/ 48 h 60"/>
                  <a:gd name="T56" fmla="*/ 18 w 60"/>
                  <a:gd name="T57" fmla="*/ 42 h 60"/>
                  <a:gd name="T58" fmla="*/ 18 w 60"/>
                  <a:gd name="T59" fmla="*/ 48 h 60"/>
                  <a:gd name="T60" fmla="*/ 12 w 60"/>
                  <a:gd name="T61" fmla="*/ 48 h 60"/>
                  <a:gd name="T62" fmla="*/ 12 w 60"/>
                  <a:gd name="T63" fmla="*/ 42 h 60"/>
                  <a:gd name="T64" fmla="*/ 12 w 60"/>
                  <a:gd name="T65" fmla="*/ 48 h 60"/>
                  <a:gd name="T66" fmla="*/ 6 w 60"/>
                  <a:gd name="T67" fmla="*/ 48 h 60"/>
                  <a:gd name="T68" fmla="*/ 0 w 60"/>
                  <a:gd name="T69" fmla="*/ 48 h 60"/>
                  <a:gd name="T70" fmla="*/ 0 w 60"/>
                  <a:gd name="T71" fmla="*/ 42 h 60"/>
                  <a:gd name="T72" fmla="*/ 0 w 60"/>
                  <a:gd name="T73" fmla="*/ 36 h 60"/>
                  <a:gd name="T74" fmla="*/ 0 w 60"/>
                  <a:gd name="T75" fmla="*/ 30 h 60"/>
                  <a:gd name="T76" fmla="*/ 6 w 60"/>
                  <a:gd name="T77" fmla="*/ 30 h 60"/>
                  <a:gd name="T78" fmla="*/ 12 w 60"/>
                  <a:gd name="T79" fmla="*/ 30 h 60"/>
                  <a:gd name="T80" fmla="*/ 6 w 60"/>
                  <a:gd name="T81" fmla="*/ 30 h 60"/>
                  <a:gd name="T82" fmla="*/ 6 w 60"/>
                  <a:gd name="T83" fmla="*/ 24 h 60"/>
                  <a:gd name="T84" fmla="*/ 12 w 60"/>
                  <a:gd name="T85" fmla="*/ 24 h 60"/>
                  <a:gd name="T86" fmla="*/ 12 w 60"/>
                  <a:gd name="T87" fmla="*/ 18 h 60"/>
                  <a:gd name="T88" fmla="*/ 12 w 60"/>
                  <a:gd name="T89" fmla="*/ 12 h 60"/>
                  <a:gd name="T90" fmla="*/ 12 w 60"/>
                  <a:gd name="T91" fmla="*/ 6 h 60"/>
                  <a:gd name="T92" fmla="*/ 12 w 60"/>
                  <a:gd name="T93" fmla="*/ 0 h 60"/>
                  <a:gd name="T94" fmla="*/ 12 w 60"/>
                  <a:gd name="T95" fmla="*/ 6 h 60"/>
                  <a:gd name="T96" fmla="*/ 12 w 60"/>
                  <a:gd name="T97" fmla="*/ 0 h 60"/>
                  <a:gd name="T98" fmla="*/ 18 w 60"/>
                  <a:gd name="T99" fmla="*/ 0 h 60"/>
                  <a:gd name="T100" fmla="*/ 24 w 60"/>
                  <a:gd name="T101" fmla="*/ 0 h 60"/>
                  <a:gd name="T102" fmla="*/ 30 w 60"/>
                  <a:gd name="T103" fmla="*/ 0 h 60"/>
                  <a:gd name="T104" fmla="*/ 36 w 60"/>
                  <a:gd name="T105" fmla="*/ 0 h 60"/>
                  <a:gd name="T106" fmla="*/ 30 w 60"/>
                  <a:gd name="T107" fmla="*/ 0 h 60"/>
                  <a:gd name="T108" fmla="*/ 36 w 60"/>
                  <a:gd name="T109" fmla="*/ 0 h 60"/>
                  <a:gd name="T110" fmla="*/ 42 w 60"/>
                  <a:gd name="T111" fmla="*/ 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0" h="60">
                    <a:moveTo>
                      <a:pt x="42" y="0"/>
                    </a:moveTo>
                    <a:lnTo>
                      <a:pt x="42" y="6"/>
                    </a:lnTo>
                    <a:lnTo>
                      <a:pt x="42" y="12"/>
                    </a:lnTo>
                    <a:lnTo>
                      <a:pt x="48" y="12"/>
                    </a:lnTo>
                    <a:lnTo>
                      <a:pt x="48" y="18"/>
                    </a:lnTo>
                    <a:lnTo>
                      <a:pt x="54" y="18"/>
                    </a:lnTo>
                    <a:lnTo>
                      <a:pt x="48" y="18"/>
                    </a:lnTo>
                    <a:lnTo>
                      <a:pt x="54" y="18"/>
                    </a:lnTo>
                    <a:lnTo>
                      <a:pt x="54" y="24"/>
                    </a:lnTo>
                    <a:lnTo>
                      <a:pt x="54" y="30"/>
                    </a:lnTo>
                    <a:lnTo>
                      <a:pt x="60" y="30"/>
                    </a:lnTo>
                    <a:lnTo>
                      <a:pt x="54" y="36"/>
                    </a:lnTo>
                    <a:lnTo>
                      <a:pt x="54" y="42"/>
                    </a:lnTo>
                    <a:lnTo>
                      <a:pt x="60" y="48"/>
                    </a:lnTo>
                    <a:lnTo>
                      <a:pt x="54" y="48"/>
                    </a:lnTo>
                    <a:lnTo>
                      <a:pt x="48" y="48"/>
                    </a:lnTo>
                    <a:lnTo>
                      <a:pt x="42" y="54"/>
                    </a:lnTo>
                    <a:lnTo>
                      <a:pt x="48" y="54"/>
                    </a:lnTo>
                    <a:lnTo>
                      <a:pt x="48" y="60"/>
                    </a:lnTo>
                    <a:lnTo>
                      <a:pt x="42" y="60"/>
                    </a:lnTo>
                    <a:lnTo>
                      <a:pt x="36" y="60"/>
                    </a:lnTo>
                    <a:lnTo>
                      <a:pt x="36" y="54"/>
                    </a:lnTo>
                    <a:lnTo>
                      <a:pt x="30" y="54"/>
                    </a:lnTo>
                    <a:lnTo>
                      <a:pt x="30" y="48"/>
                    </a:lnTo>
                    <a:lnTo>
                      <a:pt x="24" y="48"/>
                    </a:lnTo>
                    <a:lnTo>
                      <a:pt x="24" y="42"/>
                    </a:lnTo>
                    <a:lnTo>
                      <a:pt x="18" y="42"/>
                    </a:lnTo>
                    <a:lnTo>
                      <a:pt x="18" y="48"/>
                    </a:lnTo>
                    <a:lnTo>
                      <a:pt x="18" y="42"/>
                    </a:lnTo>
                    <a:lnTo>
                      <a:pt x="18" y="48"/>
                    </a:lnTo>
                    <a:lnTo>
                      <a:pt x="12" y="48"/>
                    </a:lnTo>
                    <a:lnTo>
                      <a:pt x="12" y="42"/>
                    </a:lnTo>
                    <a:lnTo>
                      <a:pt x="12" y="48"/>
                    </a:lnTo>
                    <a:lnTo>
                      <a:pt x="6" y="48"/>
                    </a:lnTo>
                    <a:lnTo>
                      <a:pt x="0" y="48"/>
                    </a:lnTo>
                    <a:lnTo>
                      <a:pt x="0" y="42"/>
                    </a:lnTo>
                    <a:lnTo>
                      <a:pt x="0" y="36"/>
                    </a:lnTo>
                    <a:lnTo>
                      <a:pt x="0" y="30"/>
                    </a:lnTo>
                    <a:lnTo>
                      <a:pt x="6" y="30"/>
                    </a:lnTo>
                    <a:lnTo>
                      <a:pt x="12" y="30"/>
                    </a:lnTo>
                    <a:lnTo>
                      <a:pt x="6" y="30"/>
                    </a:lnTo>
                    <a:lnTo>
                      <a:pt x="6" y="24"/>
                    </a:lnTo>
                    <a:lnTo>
                      <a:pt x="12" y="24"/>
                    </a:lnTo>
                    <a:lnTo>
                      <a:pt x="12" y="18"/>
                    </a:lnTo>
                    <a:lnTo>
                      <a:pt x="12" y="12"/>
                    </a:lnTo>
                    <a:lnTo>
                      <a:pt x="12" y="6"/>
                    </a:lnTo>
                    <a:lnTo>
                      <a:pt x="12" y="0"/>
                    </a:lnTo>
                    <a:lnTo>
                      <a:pt x="12" y="6"/>
                    </a:lnTo>
                    <a:lnTo>
                      <a:pt x="12" y="0"/>
                    </a:lnTo>
                    <a:lnTo>
                      <a:pt x="18" y="0"/>
                    </a:lnTo>
                    <a:lnTo>
                      <a:pt x="24" y="0"/>
                    </a:lnTo>
                    <a:lnTo>
                      <a:pt x="30" y="0"/>
                    </a:lnTo>
                    <a:lnTo>
                      <a:pt x="36" y="0"/>
                    </a:lnTo>
                    <a:lnTo>
                      <a:pt x="30" y="0"/>
                    </a:lnTo>
                    <a:lnTo>
                      <a:pt x="36" y="0"/>
                    </a:lnTo>
                    <a:lnTo>
                      <a:pt x="42" y="0"/>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US" sz="800" dirty="0">
                  <a:solidFill>
                    <a:srgbClr val="000000"/>
                  </a:solidFill>
                </a:endParaRPr>
              </a:p>
            </p:txBody>
          </p:sp>
          <p:sp>
            <p:nvSpPr>
              <p:cNvPr id="76" name="Freeform 87"/>
              <p:cNvSpPr>
                <a:spLocks/>
              </p:cNvSpPr>
              <p:nvPr/>
            </p:nvSpPr>
            <p:spPr bwMode="gray">
              <a:xfrm>
                <a:off x="3035552" y="2121676"/>
                <a:ext cx="486373" cy="573314"/>
              </a:xfrm>
              <a:custGeom>
                <a:avLst/>
                <a:gdLst>
                  <a:gd name="T0" fmla="*/ 300 w 378"/>
                  <a:gd name="T1" fmla="*/ 288 h 450"/>
                  <a:gd name="T2" fmla="*/ 288 w 378"/>
                  <a:gd name="T3" fmla="*/ 324 h 450"/>
                  <a:gd name="T4" fmla="*/ 306 w 378"/>
                  <a:gd name="T5" fmla="*/ 330 h 450"/>
                  <a:gd name="T6" fmla="*/ 330 w 378"/>
                  <a:gd name="T7" fmla="*/ 342 h 450"/>
                  <a:gd name="T8" fmla="*/ 360 w 378"/>
                  <a:gd name="T9" fmla="*/ 342 h 450"/>
                  <a:gd name="T10" fmla="*/ 360 w 378"/>
                  <a:gd name="T11" fmla="*/ 366 h 450"/>
                  <a:gd name="T12" fmla="*/ 360 w 378"/>
                  <a:gd name="T13" fmla="*/ 390 h 450"/>
                  <a:gd name="T14" fmla="*/ 360 w 378"/>
                  <a:gd name="T15" fmla="*/ 414 h 450"/>
                  <a:gd name="T16" fmla="*/ 336 w 378"/>
                  <a:gd name="T17" fmla="*/ 432 h 450"/>
                  <a:gd name="T18" fmla="*/ 312 w 378"/>
                  <a:gd name="T19" fmla="*/ 432 h 450"/>
                  <a:gd name="T20" fmla="*/ 294 w 378"/>
                  <a:gd name="T21" fmla="*/ 450 h 450"/>
                  <a:gd name="T22" fmla="*/ 294 w 378"/>
                  <a:gd name="T23" fmla="*/ 408 h 450"/>
                  <a:gd name="T24" fmla="*/ 282 w 378"/>
                  <a:gd name="T25" fmla="*/ 372 h 450"/>
                  <a:gd name="T26" fmla="*/ 252 w 378"/>
                  <a:gd name="T27" fmla="*/ 402 h 450"/>
                  <a:gd name="T28" fmla="*/ 246 w 378"/>
                  <a:gd name="T29" fmla="*/ 390 h 450"/>
                  <a:gd name="T30" fmla="*/ 222 w 378"/>
                  <a:gd name="T31" fmla="*/ 378 h 450"/>
                  <a:gd name="T32" fmla="*/ 210 w 378"/>
                  <a:gd name="T33" fmla="*/ 396 h 450"/>
                  <a:gd name="T34" fmla="*/ 210 w 378"/>
                  <a:gd name="T35" fmla="*/ 426 h 450"/>
                  <a:gd name="T36" fmla="*/ 180 w 378"/>
                  <a:gd name="T37" fmla="*/ 420 h 450"/>
                  <a:gd name="T38" fmla="*/ 186 w 378"/>
                  <a:gd name="T39" fmla="*/ 402 h 450"/>
                  <a:gd name="T40" fmla="*/ 180 w 378"/>
                  <a:gd name="T41" fmla="*/ 390 h 450"/>
                  <a:gd name="T42" fmla="*/ 186 w 378"/>
                  <a:gd name="T43" fmla="*/ 372 h 450"/>
                  <a:gd name="T44" fmla="*/ 162 w 378"/>
                  <a:gd name="T45" fmla="*/ 342 h 450"/>
                  <a:gd name="T46" fmla="*/ 132 w 378"/>
                  <a:gd name="T47" fmla="*/ 306 h 450"/>
                  <a:gd name="T48" fmla="*/ 120 w 378"/>
                  <a:gd name="T49" fmla="*/ 264 h 450"/>
                  <a:gd name="T50" fmla="*/ 108 w 378"/>
                  <a:gd name="T51" fmla="*/ 234 h 450"/>
                  <a:gd name="T52" fmla="*/ 78 w 378"/>
                  <a:gd name="T53" fmla="*/ 234 h 450"/>
                  <a:gd name="T54" fmla="*/ 48 w 378"/>
                  <a:gd name="T55" fmla="*/ 216 h 450"/>
                  <a:gd name="T56" fmla="*/ 12 w 378"/>
                  <a:gd name="T57" fmla="*/ 222 h 450"/>
                  <a:gd name="T58" fmla="*/ 12 w 378"/>
                  <a:gd name="T59" fmla="*/ 186 h 450"/>
                  <a:gd name="T60" fmla="*/ 0 w 378"/>
                  <a:gd name="T61" fmla="*/ 156 h 450"/>
                  <a:gd name="T62" fmla="*/ 24 w 378"/>
                  <a:gd name="T63" fmla="*/ 144 h 450"/>
                  <a:gd name="T64" fmla="*/ 60 w 378"/>
                  <a:gd name="T65" fmla="*/ 144 h 450"/>
                  <a:gd name="T66" fmla="*/ 78 w 378"/>
                  <a:gd name="T67" fmla="*/ 150 h 450"/>
                  <a:gd name="T68" fmla="*/ 96 w 378"/>
                  <a:gd name="T69" fmla="*/ 168 h 450"/>
                  <a:gd name="T70" fmla="*/ 96 w 378"/>
                  <a:gd name="T71" fmla="*/ 192 h 450"/>
                  <a:gd name="T72" fmla="*/ 114 w 378"/>
                  <a:gd name="T73" fmla="*/ 168 h 450"/>
                  <a:gd name="T74" fmla="*/ 144 w 378"/>
                  <a:gd name="T75" fmla="*/ 162 h 450"/>
                  <a:gd name="T76" fmla="*/ 174 w 378"/>
                  <a:gd name="T77" fmla="*/ 168 h 450"/>
                  <a:gd name="T78" fmla="*/ 210 w 378"/>
                  <a:gd name="T79" fmla="*/ 150 h 450"/>
                  <a:gd name="T80" fmla="*/ 210 w 378"/>
                  <a:gd name="T81" fmla="*/ 114 h 450"/>
                  <a:gd name="T82" fmla="*/ 228 w 378"/>
                  <a:gd name="T83" fmla="*/ 114 h 450"/>
                  <a:gd name="T84" fmla="*/ 246 w 378"/>
                  <a:gd name="T85" fmla="*/ 120 h 450"/>
                  <a:gd name="T86" fmla="*/ 258 w 378"/>
                  <a:gd name="T87" fmla="*/ 96 h 450"/>
                  <a:gd name="T88" fmla="*/ 270 w 378"/>
                  <a:gd name="T89" fmla="*/ 72 h 450"/>
                  <a:gd name="T90" fmla="*/ 294 w 378"/>
                  <a:gd name="T91" fmla="*/ 60 h 450"/>
                  <a:gd name="T92" fmla="*/ 282 w 378"/>
                  <a:gd name="T93" fmla="*/ 36 h 450"/>
                  <a:gd name="T94" fmla="*/ 276 w 378"/>
                  <a:gd name="T95" fmla="*/ 6 h 450"/>
                  <a:gd name="T96" fmla="*/ 294 w 378"/>
                  <a:gd name="T97" fmla="*/ 12 h 450"/>
                  <a:gd name="T98" fmla="*/ 324 w 378"/>
                  <a:gd name="T99" fmla="*/ 30 h 450"/>
                  <a:gd name="T100" fmla="*/ 336 w 378"/>
                  <a:gd name="T101" fmla="*/ 66 h 450"/>
                  <a:gd name="T102" fmla="*/ 354 w 378"/>
                  <a:gd name="T103" fmla="*/ 72 h 450"/>
                  <a:gd name="T104" fmla="*/ 378 w 378"/>
                  <a:gd name="T105" fmla="*/ 84 h 450"/>
                  <a:gd name="T106" fmla="*/ 348 w 378"/>
                  <a:gd name="T107" fmla="*/ 120 h 450"/>
                  <a:gd name="T108" fmla="*/ 330 w 378"/>
                  <a:gd name="T109" fmla="*/ 150 h 450"/>
                  <a:gd name="T110" fmla="*/ 318 w 378"/>
                  <a:gd name="T111" fmla="*/ 186 h 450"/>
                  <a:gd name="T112" fmla="*/ 318 w 378"/>
                  <a:gd name="T113" fmla="*/ 222 h 450"/>
                  <a:gd name="T114" fmla="*/ 324 w 378"/>
                  <a:gd name="T115" fmla="*/ 246 h 450"/>
                  <a:gd name="T116" fmla="*/ 330 w 378"/>
                  <a:gd name="T117" fmla="*/ 276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78" h="450">
                    <a:moveTo>
                      <a:pt x="330" y="288"/>
                    </a:moveTo>
                    <a:lnTo>
                      <a:pt x="324" y="288"/>
                    </a:lnTo>
                    <a:lnTo>
                      <a:pt x="318" y="288"/>
                    </a:lnTo>
                    <a:lnTo>
                      <a:pt x="324" y="288"/>
                    </a:lnTo>
                    <a:lnTo>
                      <a:pt x="318" y="288"/>
                    </a:lnTo>
                    <a:lnTo>
                      <a:pt x="312" y="288"/>
                    </a:lnTo>
                    <a:lnTo>
                      <a:pt x="306" y="288"/>
                    </a:lnTo>
                    <a:lnTo>
                      <a:pt x="300" y="288"/>
                    </a:lnTo>
                    <a:lnTo>
                      <a:pt x="300" y="294"/>
                    </a:lnTo>
                    <a:lnTo>
                      <a:pt x="300" y="288"/>
                    </a:lnTo>
                    <a:lnTo>
                      <a:pt x="300" y="294"/>
                    </a:lnTo>
                    <a:lnTo>
                      <a:pt x="300" y="300"/>
                    </a:lnTo>
                    <a:lnTo>
                      <a:pt x="300" y="306"/>
                    </a:lnTo>
                    <a:lnTo>
                      <a:pt x="300" y="312"/>
                    </a:lnTo>
                    <a:lnTo>
                      <a:pt x="294" y="312"/>
                    </a:lnTo>
                    <a:lnTo>
                      <a:pt x="294" y="318"/>
                    </a:lnTo>
                    <a:lnTo>
                      <a:pt x="300" y="318"/>
                    </a:lnTo>
                    <a:lnTo>
                      <a:pt x="294" y="318"/>
                    </a:lnTo>
                    <a:lnTo>
                      <a:pt x="288" y="318"/>
                    </a:lnTo>
                    <a:lnTo>
                      <a:pt x="288" y="324"/>
                    </a:lnTo>
                    <a:lnTo>
                      <a:pt x="288" y="330"/>
                    </a:lnTo>
                    <a:lnTo>
                      <a:pt x="288" y="336"/>
                    </a:lnTo>
                    <a:lnTo>
                      <a:pt x="294" y="336"/>
                    </a:lnTo>
                    <a:lnTo>
                      <a:pt x="300" y="336"/>
                    </a:lnTo>
                    <a:lnTo>
                      <a:pt x="300" y="330"/>
                    </a:lnTo>
                    <a:lnTo>
                      <a:pt x="300" y="336"/>
                    </a:lnTo>
                    <a:lnTo>
                      <a:pt x="306" y="336"/>
                    </a:lnTo>
                    <a:lnTo>
                      <a:pt x="306" y="330"/>
                    </a:lnTo>
                    <a:lnTo>
                      <a:pt x="306" y="336"/>
                    </a:lnTo>
                    <a:lnTo>
                      <a:pt x="306" y="330"/>
                    </a:lnTo>
                    <a:lnTo>
                      <a:pt x="312" y="330"/>
                    </a:lnTo>
                    <a:lnTo>
                      <a:pt x="312" y="336"/>
                    </a:lnTo>
                    <a:lnTo>
                      <a:pt x="318" y="336"/>
                    </a:lnTo>
                    <a:lnTo>
                      <a:pt x="318" y="342"/>
                    </a:lnTo>
                    <a:lnTo>
                      <a:pt x="324" y="342"/>
                    </a:lnTo>
                    <a:lnTo>
                      <a:pt x="324" y="348"/>
                    </a:lnTo>
                    <a:lnTo>
                      <a:pt x="330" y="348"/>
                    </a:lnTo>
                    <a:lnTo>
                      <a:pt x="336" y="348"/>
                    </a:lnTo>
                    <a:lnTo>
                      <a:pt x="336" y="342"/>
                    </a:lnTo>
                    <a:lnTo>
                      <a:pt x="330" y="342"/>
                    </a:lnTo>
                    <a:lnTo>
                      <a:pt x="336" y="336"/>
                    </a:lnTo>
                    <a:lnTo>
                      <a:pt x="342" y="336"/>
                    </a:lnTo>
                    <a:lnTo>
                      <a:pt x="348" y="336"/>
                    </a:lnTo>
                    <a:lnTo>
                      <a:pt x="348" y="342"/>
                    </a:lnTo>
                    <a:lnTo>
                      <a:pt x="354" y="342"/>
                    </a:lnTo>
                    <a:lnTo>
                      <a:pt x="354" y="348"/>
                    </a:lnTo>
                    <a:lnTo>
                      <a:pt x="354" y="342"/>
                    </a:lnTo>
                    <a:lnTo>
                      <a:pt x="360" y="342"/>
                    </a:lnTo>
                    <a:lnTo>
                      <a:pt x="360" y="348"/>
                    </a:lnTo>
                    <a:lnTo>
                      <a:pt x="360" y="342"/>
                    </a:lnTo>
                    <a:lnTo>
                      <a:pt x="360" y="348"/>
                    </a:lnTo>
                    <a:lnTo>
                      <a:pt x="366" y="348"/>
                    </a:lnTo>
                    <a:lnTo>
                      <a:pt x="360" y="348"/>
                    </a:lnTo>
                    <a:lnTo>
                      <a:pt x="360" y="354"/>
                    </a:lnTo>
                    <a:lnTo>
                      <a:pt x="366" y="354"/>
                    </a:lnTo>
                    <a:lnTo>
                      <a:pt x="360" y="354"/>
                    </a:lnTo>
                    <a:lnTo>
                      <a:pt x="360" y="360"/>
                    </a:lnTo>
                    <a:lnTo>
                      <a:pt x="360" y="366"/>
                    </a:lnTo>
                    <a:lnTo>
                      <a:pt x="366" y="366"/>
                    </a:lnTo>
                    <a:lnTo>
                      <a:pt x="360" y="366"/>
                    </a:lnTo>
                    <a:lnTo>
                      <a:pt x="366" y="366"/>
                    </a:lnTo>
                    <a:lnTo>
                      <a:pt x="366" y="372"/>
                    </a:lnTo>
                    <a:lnTo>
                      <a:pt x="372" y="372"/>
                    </a:lnTo>
                    <a:lnTo>
                      <a:pt x="366" y="372"/>
                    </a:lnTo>
                    <a:lnTo>
                      <a:pt x="366" y="378"/>
                    </a:lnTo>
                    <a:lnTo>
                      <a:pt x="372" y="378"/>
                    </a:lnTo>
                    <a:lnTo>
                      <a:pt x="366" y="378"/>
                    </a:lnTo>
                    <a:lnTo>
                      <a:pt x="366" y="384"/>
                    </a:lnTo>
                    <a:lnTo>
                      <a:pt x="366" y="390"/>
                    </a:lnTo>
                    <a:lnTo>
                      <a:pt x="360" y="390"/>
                    </a:lnTo>
                    <a:lnTo>
                      <a:pt x="360" y="396"/>
                    </a:lnTo>
                    <a:lnTo>
                      <a:pt x="366" y="396"/>
                    </a:lnTo>
                    <a:lnTo>
                      <a:pt x="360" y="396"/>
                    </a:lnTo>
                    <a:lnTo>
                      <a:pt x="366" y="396"/>
                    </a:lnTo>
                    <a:lnTo>
                      <a:pt x="366" y="402"/>
                    </a:lnTo>
                    <a:lnTo>
                      <a:pt x="372" y="402"/>
                    </a:lnTo>
                    <a:lnTo>
                      <a:pt x="366" y="402"/>
                    </a:lnTo>
                    <a:lnTo>
                      <a:pt x="366" y="408"/>
                    </a:lnTo>
                    <a:lnTo>
                      <a:pt x="366" y="414"/>
                    </a:lnTo>
                    <a:lnTo>
                      <a:pt x="360" y="414"/>
                    </a:lnTo>
                    <a:lnTo>
                      <a:pt x="360" y="420"/>
                    </a:lnTo>
                    <a:lnTo>
                      <a:pt x="354" y="420"/>
                    </a:lnTo>
                    <a:lnTo>
                      <a:pt x="348" y="420"/>
                    </a:lnTo>
                    <a:lnTo>
                      <a:pt x="348" y="426"/>
                    </a:lnTo>
                    <a:lnTo>
                      <a:pt x="348" y="420"/>
                    </a:lnTo>
                    <a:lnTo>
                      <a:pt x="342" y="426"/>
                    </a:lnTo>
                    <a:lnTo>
                      <a:pt x="342" y="432"/>
                    </a:lnTo>
                    <a:lnTo>
                      <a:pt x="336" y="432"/>
                    </a:lnTo>
                    <a:lnTo>
                      <a:pt x="336" y="426"/>
                    </a:lnTo>
                    <a:lnTo>
                      <a:pt x="336" y="432"/>
                    </a:lnTo>
                    <a:lnTo>
                      <a:pt x="330" y="432"/>
                    </a:lnTo>
                    <a:lnTo>
                      <a:pt x="330" y="426"/>
                    </a:lnTo>
                    <a:lnTo>
                      <a:pt x="330" y="432"/>
                    </a:lnTo>
                    <a:lnTo>
                      <a:pt x="324" y="432"/>
                    </a:lnTo>
                    <a:lnTo>
                      <a:pt x="330" y="432"/>
                    </a:lnTo>
                    <a:lnTo>
                      <a:pt x="324" y="432"/>
                    </a:lnTo>
                    <a:lnTo>
                      <a:pt x="324" y="426"/>
                    </a:lnTo>
                    <a:lnTo>
                      <a:pt x="324" y="432"/>
                    </a:lnTo>
                    <a:lnTo>
                      <a:pt x="318" y="432"/>
                    </a:lnTo>
                    <a:lnTo>
                      <a:pt x="312" y="432"/>
                    </a:lnTo>
                    <a:lnTo>
                      <a:pt x="312" y="426"/>
                    </a:lnTo>
                    <a:lnTo>
                      <a:pt x="312" y="432"/>
                    </a:lnTo>
                    <a:lnTo>
                      <a:pt x="306" y="432"/>
                    </a:lnTo>
                    <a:lnTo>
                      <a:pt x="312" y="432"/>
                    </a:lnTo>
                    <a:lnTo>
                      <a:pt x="312" y="438"/>
                    </a:lnTo>
                    <a:lnTo>
                      <a:pt x="306" y="438"/>
                    </a:lnTo>
                    <a:lnTo>
                      <a:pt x="306" y="444"/>
                    </a:lnTo>
                    <a:lnTo>
                      <a:pt x="300" y="444"/>
                    </a:lnTo>
                    <a:lnTo>
                      <a:pt x="300" y="450"/>
                    </a:lnTo>
                    <a:lnTo>
                      <a:pt x="294" y="450"/>
                    </a:lnTo>
                    <a:lnTo>
                      <a:pt x="294" y="444"/>
                    </a:lnTo>
                    <a:lnTo>
                      <a:pt x="288" y="444"/>
                    </a:lnTo>
                    <a:lnTo>
                      <a:pt x="294" y="444"/>
                    </a:lnTo>
                    <a:lnTo>
                      <a:pt x="294" y="438"/>
                    </a:lnTo>
                    <a:lnTo>
                      <a:pt x="294" y="432"/>
                    </a:lnTo>
                    <a:lnTo>
                      <a:pt x="294" y="426"/>
                    </a:lnTo>
                    <a:lnTo>
                      <a:pt x="300" y="426"/>
                    </a:lnTo>
                    <a:lnTo>
                      <a:pt x="294" y="420"/>
                    </a:lnTo>
                    <a:lnTo>
                      <a:pt x="294" y="414"/>
                    </a:lnTo>
                    <a:lnTo>
                      <a:pt x="294" y="408"/>
                    </a:lnTo>
                    <a:lnTo>
                      <a:pt x="294" y="402"/>
                    </a:lnTo>
                    <a:lnTo>
                      <a:pt x="300" y="402"/>
                    </a:lnTo>
                    <a:lnTo>
                      <a:pt x="300" y="396"/>
                    </a:lnTo>
                    <a:lnTo>
                      <a:pt x="300" y="390"/>
                    </a:lnTo>
                    <a:lnTo>
                      <a:pt x="300" y="384"/>
                    </a:lnTo>
                    <a:lnTo>
                      <a:pt x="294" y="384"/>
                    </a:lnTo>
                    <a:lnTo>
                      <a:pt x="294" y="378"/>
                    </a:lnTo>
                    <a:lnTo>
                      <a:pt x="288" y="378"/>
                    </a:lnTo>
                    <a:lnTo>
                      <a:pt x="288" y="372"/>
                    </a:lnTo>
                    <a:lnTo>
                      <a:pt x="282" y="372"/>
                    </a:lnTo>
                    <a:lnTo>
                      <a:pt x="282" y="378"/>
                    </a:lnTo>
                    <a:lnTo>
                      <a:pt x="282" y="384"/>
                    </a:lnTo>
                    <a:lnTo>
                      <a:pt x="276" y="384"/>
                    </a:lnTo>
                    <a:lnTo>
                      <a:pt x="270" y="384"/>
                    </a:lnTo>
                    <a:lnTo>
                      <a:pt x="270" y="390"/>
                    </a:lnTo>
                    <a:lnTo>
                      <a:pt x="264" y="390"/>
                    </a:lnTo>
                    <a:lnTo>
                      <a:pt x="264" y="396"/>
                    </a:lnTo>
                    <a:lnTo>
                      <a:pt x="264" y="402"/>
                    </a:lnTo>
                    <a:lnTo>
                      <a:pt x="258" y="402"/>
                    </a:lnTo>
                    <a:lnTo>
                      <a:pt x="252" y="402"/>
                    </a:lnTo>
                    <a:lnTo>
                      <a:pt x="252" y="408"/>
                    </a:lnTo>
                    <a:lnTo>
                      <a:pt x="252" y="402"/>
                    </a:lnTo>
                    <a:lnTo>
                      <a:pt x="252" y="396"/>
                    </a:lnTo>
                    <a:lnTo>
                      <a:pt x="246" y="396"/>
                    </a:lnTo>
                    <a:lnTo>
                      <a:pt x="246" y="402"/>
                    </a:lnTo>
                    <a:lnTo>
                      <a:pt x="246" y="396"/>
                    </a:lnTo>
                    <a:lnTo>
                      <a:pt x="240" y="396"/>
                    </a:lnTo>
                    <a:lnTo>
                      <a:pt x="246" y="396"/>
                    </a:lnTo>
                    <a:lnTo>
                      <a:pt x="240" y="390"/>
                    </a:lnTo>
                    <a:lnTo>
                      <a:pt x="246" y="390"/>
                    </a:lnTo>
                    <a:lnTo>
                      <a:pt x="246" y="384"/>
                    </a:lnTo>
                    <a:lnTo>
                      <a:pt x="240" y="384"/>
                    </a:lnTo>
                    <a:lnTo>
                      <a:pt x="234" y="384"/>
                    </a:lnTo>
                    <a:lnTo>
                      <a:pt x="240" y="384"/>
                    </a:lnTo>
                    <a:lnTo>
                      <a:pt x="240" y="390"/>
                    </a:lnTo>
                    <a:lnTo>
                      <a:pt x="234" y="390"/>
                    </a:lnTo>
                    <a:lnTo>
                      <a:pt x="234" y="384"/>
                    </a:lnTo>
                    <a:lnTo>
                      <a:pt x="228" y="384"/>
                    </a:lnTo>
                    <a:lnTo>
                      <a:pt x="228" y="378"/>
                    </a:lnTo>
                    <a:lnTo>
                      <a:pt x="222" y="378"/>
                    </a:lnTo>
                    <a:lnTo>
                      <a:pt x="216" y="378"/>
                    </a:lnTo>
                    <a:lnTo>
                      <a:pt x="222" y="384"/>
                    </a:lnTo>
                    <a:lnTo>
                      <a:pt x="228" y="384"/>
                    </a:lnTo>
                    <a:lnTo>
                      <a:pt x="228" y="390"/>
                    </a:lnTo>
                    <a:lnTo>
                      <a:pt x="222" y="390"/>
                    </a:lnTo>
                    <a:lnTo>
                      <a:pt x="228" y="396"/>
                    </a:lnTo>
                    <a:lnTo>
                      <a:pt x="222" y="402"/>
                    </a:lnTo>
                    <a:lnTo>
                      <a:pt x="222" y="396"/>
                    </a:lnTo>
                    <a:lnTo>
                      <a:pt x="216" y="396"/>
                    </a:lnTo>
                    <a:lnTo>
                      <a:pt x="210" y="396"/>
                    </a:lnTo>
                    <a:lnTo>
                      <a:pt x="204" y="396"/>
                    </a:lnTo>
                    <a:lnTo>
                      <a:pt x="210" y="396"/>
                    </a:lnTo>
                    <a:lnTo>
                      <a:pt x="210" y="402"/>
                    </a:lnTo>
                    <a:lnTo>
                      <a:pt x="204" y="402"/>
                    </a:lnTo>
                    <a:lnTo>
                      <a:pt x="204" y="408"/>
                    </a:lnTo>
                    <a:lnTo>
                      <a:pt x="210" y="408"/>
                    </a:lnTo>
                    <a:lnTo>
                      <a:pt x="204" y="408"/>
                    </a:lnTo>
                    <a:lnTo>
                      <a:pt x="204" y="414"/>
                    </a:lnTo>
                    <a:lnTo>
                      <a:pt x="210" y="420"/>
                    </a:lnTo>
                    <a:lnTo>
                      <a:pt x="210" y="426"/>
                    </a:lnTo>
                    <a:lnTo>
                      <a:pt x="210" y="432"/>
                    </a:lnTo>
                    <a:lnTo>
                      <a:pt x="204" y="432"/>
                    </a:lnTo>
                    <a:lnTo>
                      <a:pt x="204" y="426"/>
                    </a:lnTo>
                    <a:lnTo>
                      <a:pt x="198" y="426"/>
                    </a:lnTo>
                    <a:lnTo>
                      <a:pt x="198" y="420"/>
                    </a:lnTo>
                    <a:lnTo>
                      <a:pt x="198" y="426"/>
                    </a:lnTo>
                    <a:lnTo>
                      <a:pt x="192" y="426"/>
                    </a:lnTo>
                    <a:lnTo>
                      <a:pt x="186" y="426"/>
                    </a:lnTo>
                    <a:lnTo>
                      <a:pt x="180" y="426"/>
                    </a:lnTo>
                    <a:lnTo>
                      <a:pt x="180" y="420"/>
                    </a:lnTo>
                    <a:lnTo>
                      <a:pt x="186" y="420"/>
                    </a:lnTo>
                    <a:lnTo>
                      <a:pt x="180" y="420"/>
                    </a:lnTo>
                    <a:lnTo>
                      <a:pt x="186" y="420"/>
                    </a:lnTo>
                    <a:lnTo>
                      <a:pt x="186" y="414"/>
                    </a:lnTo>
                    <a:lnTo>
                      <a:pt x="180" y="414"/>
                    </a:lnTo>
                    <a:lnTo>
                      <a:pt x="180" y="408"/>
                    </a:lnTo>
                    <a:lnTo>
                      <a:pt x="186" y="408"/>
                    </a:lnTo>
                    <a:lnTo>
                      <a:pt x="180" y="408"/>
                    </a:lnTo>
                    <a:lnTo>
                      <a:pt x="180" y="402"/>
                    </a:lnTo>
                    <a:lnTo>
                      <a:pt x="186" y="402"/>
                    </a:lnTo>
                    <a:lnTo>
                      <a:pt x="180" y="402"/>
                    </a:lnTo>
                    <a:lnTo>
                      <a:pt x="186" y="402"/>
                    </a:lnTo>
                    <a:lnTo>
                      <a:pt x="186" y="396"/>
                    </a:lnTo>
                    <a:lnTo>
                      <a:pt x="192" y="396"/>
                    </a:lnTo>
                    <a:lnTo>
                      <a:pt x="186" y="390"/>
                    </a:lnTo>
                    <a:lnTo>
                      <a:pt x="186" y="396"/>
                    </a:lnTo>
                    <a:lnTo>
                      <a:pt x="180" y="396"/>
                    </a:lnTo>
                    <a:lnTo>
                      <a:pt x="186" y="396"/>
                    </a:lnTo>
                    <a:lnTo>
                      <a:pt x="186" y="390"/>
                    </a:lnTo>
                    <a:lnTo>
                      <a:pt x="180" y="390"/>
                    </a:lnTo>
                    <a:lnTo>
                      <a:pt x="180" y="384"/>
                    </a:lnTo>
                    <a:lnTo>
                      <a:pt x="186" y="384"/>
                    </a:lnTo>
                    <a:lnTo>
                      <a:pt x="186" y="378"/>
                    </a:lnTo>
                    <a:lnTo>
                      <a:pt x="192" y="378"/>
                    </a:lnTo>
                    <a:lnTo>
                      <a:pt x="192" y="384"/>
                    </a:lnTo>
                    <a:lnTo>
                      <a:pt x="198" y="384"/>
                    </a:lnTo>
                    <a:lnTo>
                      <a:pt x="192" y="384"/>
                    </a:lnTo>
                    <a:lnTo>
                      <a:pt x="192" y="378"/>
                    </a:lnTo>
                    <a:lnTo>
                      <a:pt x="192" y="372"/>
                    </a:lnTo>
                    <a:lnTo>
                      <a:pt x="186" y="372"/>
                    </a:lnTo>
                    <a:lnTo>
                      <a:pt x="186" y="366"/>
                    </a:lnTo>
                    <a:lnTo>
                      <a:pt x="186" y="360"/>
                    </a:lnTo>
                    <a:lnTo>
                      <a:pt x="180" y="360"/>
                    </a:lnTo>
                    <a:lnTo>
                      <a:pt x="180" y="354"/>
                    </a:lnTo>
                    <a:lnTo>
                      <a:pt x="174" y="354"/>
                    </a:lnTo>
                    <a:lnTo>
                      <a:pt x="174" y="348"/>
                    </a:lnTo>
                    <a:lnTo>
                      <a:pt x="168" y="348"/>
                    </a:lnTo>
                    <a:lnTo>
                      <a:pt x="162" y="348"/>
                    </a:lnTo>
                    <a:lnTo>
                      <a:pt x="156" y="348"/>
                    </a:lnTo>
                    <a:lnTo>
                      <a:pt x="162" y="342"/>
                    </a:lnTo>
                    <a:lnTo>
                      <a:pt x="156" y="342"/>
                    </a:lnTo>
                    <a:lnTo>
                      <a:pt x="156" y="336"/>
                    </a:lnTo>
                    <a:lnTo>
                      <a:pt x="150" y="336"/>
                    </a:lnTo>
                    <a:lnTo>
                      <a:pt x="144" y="336"/>
                    </a:lnTo>
                    <a:lnTo>
                      <a:pt x="144" y="330"/>
                    </a:lnTo>
                    <a:lnTo>
                      <a:pt x="138" y="324"/>
                    </a:lnTo>
                    <a:lnTo>
                      <a:pt x="138" y="318"/>
                    </a:lnTo>
                    <a:lnTo>
                      <a:pt x="132" y="318"/>
                    </a:lnTo>
                    <a:lnTo>
                      <a:pt x="132" y="312"/>
                    </a:lnTo>
                    <a:lnTo>
                      <a:pt x="132" y="306"/>
                    </a:lnTo>
                    <a:lnTo>
                      <a:pt x="132" y="300"/>
                    </a:lnTo>
                    <a:lnTo>
                      <a:pt x="126" y="300"/>
                    </a:lnTo>
                    <a:lnTo>
                      <a:pt x="126" y="294"/>
                    </a:lnTo>
                    <a:lnTo>
                      <a:pt x="126" y="288"/>
                    </a:lnTo>
                    <a:lnTo>
                      <a:pt x="126" y="282"/>
                    </a:lnTo>
                    <a:lnTo>
                      <a:pt x="120" y="276"/>
                    </a:lnTo>
                    <a:lnTo>
                      <a:pt x="126" y="276"/>
                    </a:lnTo>
                    <a:lnTo>
                      <a:pt x="126" y="270"/>
                    </a:lnTo>
                    <a:lnTo>
                      <a:pt x="126" y="264"/>
                    </a:lnTo>
                    <a:lnTo>
                      <a:pt x="120" y="264"/>
                    </a:lnTo>
                    <a:lnTo>
                      <a:pt x="120" y="258"/>
                    </a:lnTo>
                    <a:lnTo>
                      <a:pt x="114" y="258"/>
                    </a:lnTo>
                    <a:lnTo>
                      <a:pt x="114" y="252"/>
                    </a:lnTo>
                    <a:lnTo>
                      <a:pt x="108" y="246"/>
                    </a:lnTo>
                    <a:lnTo>
                      <a:pt x="114" y="246"/>
                    </a:lnTo>
                    <a:lnTo>
                      <a:pt x="114" y="240"/>
                    </a:lnTo>
                    <a:lnTo>
                      <a:pt x="114" y="234"/>
                    </a:lnTo>
                    <a:lnTo>
                      <a:pt x="108" y="234"/>
                    </a:lnTo>
                    <a:lnTo>
                      <a:pt x="102" y="234"/>
                    </a:lnTo>
                    <a:lnTo>
                      <a:pt x="108" y="234"/>
                    </a:lnTo>
                    <a:lnTo>
                      <a:pt x="108" y="228"/>
                    </a:lnTo>
                    <a:lnTo>
                      <a:pt x="102" y="228"/>
                    </a:lnTo>
                    <a:lnTo>
                      <a:pt x="102" y="234"/>
                    </a:lnTo>
                    <a:lnTo>
                      <a:pt x="96" y="234"/>
                    </a:lnTo>
                    <a:lnTo>
                      <a:pt x="90" y="234"/>
                    </a:lnTo>
                    <a:lnTo>
                      <a:pt x="90" y="228"/>
                    </a:lnTo>
                    <a:lnTo>
                      <a:pt x="84" y="234"/>
                    </a:lnTo>
                    <a:lnTo>
                      <a:pt x="78" y="234"/>
                    </a:lnTo>
                    <a:lnTo>
                      <a:pt x="78" y="240"/>
                    </a:lnTo>
                    <a:lnTo>
                      <a:pt x="78" y="234"/>
                    </a:lnTo>
                    <a:lnTo>
                      <a:pt x="72" y="234"/>
                    </a:lnTo>
                    <a:lnTo>
                      <a:pt x="72" y="228"/>
                    </a:lnTo>
                    <a:lnTo>
                      <a:pt x="66" y="228"/>
                    </a:lnTo>
                    <a:lnTo>
                      <a:pt x="66" y="234"/>
                    </a:lnTo>
                    <a:lnTo>
                      <a:pt x="60" y="234"/>
                    </a:lnTo>
                    <a:lnTo>
                      <a:pt x="60" y="228"/>
                    </a:lnTo>
                    <a:lnTo>
                      <a:pt x="54" y="228"/>
                    </a:lnTo>
                    <a:lnTo>
                      <a:pt x="54" y="222"/>
                    </a:lnTo>
                    <a:lnTo>
                      <a:pt x="48" y="222"/>
                    </a:lnTo>
                    <a:lnTo>
                      <a:pt x="48" y="216"/>
                    </a:lnTo>
                    <a:lnTo>
                      <a:pt x="42" y="222"/>
                    </a:lnTo>
                    <a:lnTo>
                      <a:pt x="36" y="222"/>
                    </a:lnTo>
                    <a:lnTo>
                      <a:pt x="36" y="228"/>
                    </a:lnTo>
                    <a:lnTo>
                      <a:pt x="30" y="228"/>
                    </a:lnTo>
                    <a:lnTo>
                      <a:pt x="30" y="222"/>
                    </a:lnTo>
                    <a:lnTo>
                      <a:pt x="24" y="222"/>
                    </a:lnTo>
                    <a:lnTo>
                      <a:pt x="24" y="228"/>
                    </a:lnTo>
                    <a:lnTo>
                      <a:pt x="18" y="228"/>
                    </a:lnTo>
                    <a:lnTo>
                      <a:pt x="18" y="222"/>
                    </a:lnTo>
                    <a:lnTo>
                      <a:pt x="12" y="222"/>
                    </a:lnTo>
                    <a:lnTo>
                      <a:pt x="12" y="216"/>
                    </a:lnTo>
                    <a:lnTo>
                      <a:pt x="12" y="210"/>
                    </a:lnTo>
                    <a:lnTo>
                      <a:pt x="12" y="204"/>
                    </a:lnTo>
                    <a:lnTo>
                      <a:pt x="18" y="204"/>
                    </a:lnTo>
                    <a:lnTo>
                      <a:pt x="18" y="198"/>
                    </a:lnTo>
                    <a:lnTo>
                      <a:pt x="24" y="198"/>
                    </a:lnTo>
                    <a:lnTo>
                      <a:pt x="18" y="198"/>
                    </a:lnTo>
                    <a:lnTo>
                      <a:pt x="18" y="192"/>
                    </a:lnTo>
                    <a:lnTo>
                      <a:pt x="12" y="192"/>
                    </a:lnTo>
                    <a:lnTo>
                      <a:pt x="12" y="186"/>
                    </a:lnTo>
                    <a:lnTo>
                      <a:pt x="18" y="186"/>
                    </a:lnTo>
                    <a:lnTo>
                      <a:pt x="18" y="180"/>
                    </a:lnTo>
                    <a:lnTo>
                      <a:pt x="18" y="174"/>
                    </a:lnTo>
                    <a:lnTo>
                      <a:pt x="18" y="168"/>
                    </a:lnTo>
                    <a:lnTo>
                      <a:pt x="18" y="162"/>
                    </a:lnTo>
                    <a:lnTo>
                      <a:pt x="12" y="162"/>
                    </a:lnTo>
                    <a:lnTo>
                      <a:pt x="6" y="168"/>
                    </a:lnTo>
                    <a:lnTo>
                      <a:pt x="0" y="168"/>
                    </a:lnTo>
                    <a:lnTo>
                      <a:pt x="0" y="162"/>
                    </a:lnTo>
                    <a:lnTo>
                      <a:pt x="0" y="156"/>
                    </a:lnTo>
                    <a:lnTo>
                      <a:pt x="6" y="156"/>
                    </a:lnTo>
                    <a:lnTo>
                      <a:pt x="6" y="150"/>
                    </a:lnTo>
                    <a:lnTo>
                      <a:pt x="12" y="150"/>
                    </a:lnTo>
                    <a:lnTo>
                      <a:pt x="12" y="144"/>
                    </a:lnTo>
                    <a:lnTo>
                      <a:pt x="6" y="144"/>
                    </a:lnTo>
                    <a:lnTo>
                      <a:pt x="6" y="138"/>
                    </a:lnTo>
                    <a:lnTo>
                      <a:pt x="12" y="138"/>
                    </a:lnTo>
                    <a:lnTo>
                      <a:pt x="12" y="144"/>
                    </a:lnTo>
                    <a:lnTo>
                      <a:pt x="18" y="144"/>
                    </a:lnTo>
                    <a:lnTo>
                      <a:pt x="24" y="144"/>
                    </a:lnTo>
                    <a:lnTo>
                      <a:pt x="24" y="138"/>
                    </a:lnTo>
                    <a:lnTo>
                      <a:pt x="30" y="138"/>
                    </a:lnTo>
                    <a:lnTo>
                      <a:pt x="30" y="132"/>
                    </a:lnTo>
                    <a:lnTo>
                      <a:pt x="36" y="132"/>
                    </a:lnTo>
                    <a:lnTo>
                      <a:pt x="42" y="132"/>
                    </a:lnTo>
                    <a:lnTo>
                      <a:pt x="48" y="132"/>
                    </a:lnTo>
                    <a:lnTo>
                      <a:pt x="48" y="138"/>
                    </a:lnTo>
                    <a:lnTo>
                      <a:pt x="54" y="138"/>
                    </a:lnTo>
                    <a:lnTo>
                      <a:pt x="60" y="138"/>
                    </a:lnTo>
                    <a:lnTo>
                      <a:pt x="60" y="144"/>
                    </a:lnTo>
                    <a:lnTo>
                      <a:pt x="60" y="150"/>
                    </a:lnTo>
                    <a:lnTo>
                      <a:pt x="66" y="150"/>
                    </a:lnTo>
                    <a:lnTo>
                      <a:pt x="72" y="150"/>
                    </a:lnTo>
                    <a:lnTo>
                      <a:pt x="72" y="144"/>
                    </a:lnTo>
                    <a:lnTo>
                      <a:pt x="72" y="150"/>
                    </a:lnTo>
                    <a:lnTo>
                      <a:pt x="72" y="144"/>
                    </a:lnTo>
                    <a:lnTo>
                      <a:pt x="78" y="144"/>
                    </a:lnTo>
                    <a:lnTo>
                      <a:pt x="72" y="144"/>
                    </a:lnTo>
                    <a:lnTo>
                      <a:pt x="78" y="144"/>
                    </a:lnTo>
                    <a:lnTo>
                      <a:pt x="78" y="150"/>
                    </a:lnTo>
                    <a:lnTo>
                      <a:pt x="78" y="156"/>
                    </a:lnTo>
                    <a:lnTo>
                      <a:pt x="84" y="156"/>
                    </a:lnTo>
                    <a:lnTo>
                      <a:pt x="84" y="162"/>
                    </a:lnTo>
                    <a:lnTo>
                      <a:pt x="84" y="156"/>
                    </a:lnTo>
                    <a:lnTo>
                      <a:pt x="90" y="156"/>
                    </a:lnTo>
                    <a:lnTo>
                      <a:pt x="90" y="150"/>
                    </a:lnTo>
                    <a:lnTo>
                      <a:pt x="90" y="156"/>
                    </a:lnTo>
                    <a:lnTo>
                      <a:pt x="90" y="162"/>
                    </a:lnTo>
                    <a:lnTo>
                      <a:pt x="96" y="162"/>
                    </a:lnTo>
                    <a:lnTo>
                      <a:pt x="96" y="168"/>
                    </a:lnTo>
                    <a:lnTo>
                      <a:pt x="90" y="168"/>
                    </a:lnTo>
                    <a:lnTo>
                      <a:pt x="90" y="174"/>
                    </a:lnTo>
                    <a:lnTo>
                      <a:pt x="84" y="174"/>
                    </a:lnTo>
                    <a:lnTo>
                      <a:pt x="84" y="180"/>
                    </a:lnTo>
                    <a:lnTo>
                      <a:pt x="90" y="180"/>
                    </a:lnTo>
                    <a:lnTo>
                      <a:pt x="90" y="186"/>
                    </a:lnTo>
                    <a:lnTo>
                      <a:pt x="96" y="186"/>
                    </a:lnTo>
                    <a:lnTo>
                      <a:pt x="90" y="186"/>
                    </a:lnTo>
                    <a:lnTo>
                      <a:pt x="96" y="186"/>
                    </a:lnTo>
                    <a:lnTo>
                      <a:pt x="96" y="192"/>
                    </a:lnTo>
                    <a:lnTo>
                      <a:pt x="102" y="192"/>
                    </a:lnTo>
                    <a:lnTo>
                      <a:pt x="102" y="186"/>
                    </a:lnTo>
                    <a:lnTo>
                      <a:pt x="102" y="180"/>
                    </a:lnTo>
                    <a:lnTo>
                      <a:pt x="108" y="174"/>
                    </a:lnTo>
                    <a:lnTo>
                      <a:pt x="102" y="174"/>
                    </a:lnTo>
                    <a:lnTo>
                      <a:pt x="108" y="174"/>
                    </a:lnTo>
                    <a:lnTo>
                      <a:pt x="108" y="180"/>
                    </a:lnTo>
                    <a:lnTo>
                      <a:pt x="108" y="174"/>
                    </a:lnTo>
                    <a:lnTo>
                      <a:pt x="108" y="168"/>
                    </a:lnTo>
                    <a:lnTo>
                      <a:pt x="114" y="168"/>
                    </a:lnTo>
                    <a:lnTo>
                      <a:pt x="114" y="162"/>
                    </a:lnTo>
                    <a:lnTo>
                      <a:pt x="120" y="162"/>
                    </a:lnTo>
                    <a:lnTo>
                      <a:pt x="120" y="156"/>
                    </a:lnTo>
                    <a:lnTo>
                      <a:pt x="120" y="162"/>
                    </a:lnTo>
                    <a:lnTo>
                      <a:pt x="126" y="162"/>
                    </a:lnTo>
                    <a:lnTo>
                      <a:pt x="132" y="162"/>
                    </a:lnTo>
                    <a:lnTo>
                      <a:pt x="132" y="168"/>
                    </a:lnTo>
                    <a:lnTo>
                      <a:pt x="138" y="168"/>
                    </a:lnTo>
                    <a:lnTo>
                      <a:pt x="138" y="162"/>
                    </a:lnTo>
                    <a:lnTo>
                      <a:pt x="144" y="162"/>
                    </a:lnTo>
                    <a:lnTo>
                      <a:pt x="150" y="162"/>
                    </a:lnTo>
                    <a:lnTo>
                      <a:pt x="150" y="156"/>
                    </a:lnTo>
                    <a:lnTo>
                      <a:pt x="156" y="156"/>
                    </a:lnTo>
                    <a:lnTo>
                      <a:pt x="162" y="156"/>
                    </a:lnTo>
                    <a:lnTo>
                      <a:pt x="168" y="156"/>
                    </a:lnTo>
                    <a:lnTo>
                      <a:pt x="168" y="162"/>
                    </a:lnTo>
                    <a:lnTo>
                      <a:pt x="168" y="168"/>
                    </a:lnTo>
                    <a:lnTo>
                      <a:pt x="174" y="168"/>
                    </a:lnTo>
                    <a:lnTo>
                      <a:pt x="174" y="162"/>
                    </a:lnTo>
                    <a:lnTo>
                      <a:pt x="174" y="168"/>
                    </a:lnTo>
                    <a:lnTo>
                      <a:pt x="180" y="168"/>
                    </a:lnTo>
                    <a:lnTo>
                      <a:pt x="186" y="168"/>
                    </a:lnTo>
                    <a:lnTo>
                      <a:pt x="192" y="168"/>
                    </a:lnTo>
                    <a:lnTo>
                      <a:pt x="192" y="162"/>
                    </a:lnTo>
                    <a:lnTo>
                      <a:pt x="198" y="162"/>
                    </a:lnTo>
                    <a:lnTo>
                      <a:pt x="204" y="156"/>
                    </a:lnTo>
                    <a:lnTo>
                      <a:pt x="210" y="156"/>
                    </a:lnTo>
                    <a:lnTo>
                      <a:pt x="216" y="156"/>
                    </a:lnTo>
                    <a:lnTo>
                      <a:pt x="216" y="150"/>
                    </a:lnTo>
                    <a:lnTo>
                      <a:pt x="210" y="150"/>
                    </a:lnTo>
                    <a:lnTo>
                      <a:pt x="210" y="144"/>
                    </a:lnTo>
                    <a:lnTo>
                      <a:pt x="204" y="144"/>
                    </a:lnTo>
                    <a:lnTo>
                      <a:pt x="204" y="138"/>
                    </a:lnTo>
                    <a:lnTo>
                      <a:pt x="210" y="138"/>
                    </a:lnTo>
                    <a:lnTo>
                      <a:pt x="210" y="132"/>
                    </a:lnTo>
                    <a:lnTo>
                      <a:pt x="210" y="126"/>
                    </a:lnTo>
                    <a:lnTo>
                      <a:pt x="210" y="120"/>
                    </a:lnTo>
                    <a:lnTo>
                      <a:pt x="216" y="120"/>
                    </a:lnTo>
                    <a:lnTo>
                      <a:pt x="216" y="114"/>
                    </a:lnTo>
                    <a:lnTo>
                      <a:pt x="210" y="114"/>
                    </a:lnTo>
                    <a:lnTo>
                      <a:pt x="210" y="108"/>
                    </a:lnTo>
                    <a:lnTo>
                      <a:pt x="216" y="114"/>
                    </a:lnTo>
                    <a:lnTo>
                      <a:pt x="222" y="114"/>
                    </a:lnTo>
                    <a:lnTo>
                      <a:pt x="222" y="120"/>
                    </a:lnTo>
                    <a:lnTo>
                      <a:pt x="222" y="114"/>
                    </a:lnTo>
                    <a:lnTo>
                      <a:pt x="228" y="114"/>
                    </a:lnTo>
                    <a:lnTo>
                      <a:pt x="222" y="114"/>
                    </a:lnTo>
                    <a:lnTo>
                      <a:pt x="222" y="108"/>
                    </a:lnTo>
                    <a:lnTo>
                      <a:pt x="228" y="108"/>
                    </a:lnTo>
                    <a:lnTo>
                      <a:pt x="228" y="114"/>
                    </a:lnTo>
                    <a:lnTo>
                      <a:pt x="234" y="114"/>
                    </a:lnTo>
                    <a:lnTo>
                      <a:pt x="234" y="108"/>
                    </a:lnTo>
                    <a:lnTo>
                      <a:pt x="234" y="102"/>
                    </a:lnTo>
                    <a:lnTo>
                      <a:pt x="234" y="108"/>
                    </a:lnTo>
                    <a:lnTo>
                      <a:pt x="240" y="108"/>
                    </a:lnTo>
                    <a:lnTo>
                      <a:pt x="234" y="108"/>
                    </a:lnTo>
                    <a:lnTo>
                      <a:pt x="240" y="108"/>
                    </a:lnTo>
                    <a:lnTo>
                      <a:pt x="240" y="114"/>
                    </a:lnTo>
                    <a:lnTo>
                      <a:pt x="240" y="120"/>
                    </a:lnTo>
                    <a:lnTo>
                      <a:pt x="246" y="120"/>
                    </a:lnTo>
                    <a:lnTo>
                      <a:pt x="252" y="120"/>
                    </a:lnTo>
                    <a:lnTo>
                      <a:pt x="252" y="114"/>
                    </a:lnTo>
                    <a:lnTo>
                      <a:pt x="258" y="114"/>
                    </a:lnTo>
                    <a:lnTo>
                      <a:pt x="258" y="108"/>
                    </a:lnTo>
                    <a:lnTo>
                      <a:pt x="264" y="108"/>
                    </a:lnTo>
                    <a:lnTo>
                      <a:pt x="264" y="102"/>
                    </a:lnTo>
                    <a:lnTo>
                      <a:pt x="258" y="102"/>
                    </a:lnTo>
                    <a:lnTo>
                      <a:pt x="258" y="96"/>
                    </a:lnTo>
                    <a:lnTo>
                      <a:pt x="252" y="96"/>
                    </a:lnTo>
                    <a:lnTo>
                      <a:pt x="258" y="96"/>
                    </a:lnTo>
                    <a:lnTo>
                      <a:pt x="258" y="90"/>
                    </a:lnTo>
                    <a:lnTo>
                      <a:pt x="264" y="90"/>
                    </a:lnTo>
                    <a:lnTo>
                      <a:pt x="264" y="84"/>
                    </a:lnTo>
                    <a:lnTo>
                      <a:pt x="270" y="84"/>
                    </a:lnTo>
                    <a:lnTo>
                      <a:pt x="276" y="84"/>
                    </a:lnTo>
                    <a:lnTo>
                      <a:pt x="276" y="78"/>
                    </a:lnTo>
                    <a:lnTo>
                      <a:pt x="270" y="78"/>
                    </a:lnTo>
                    <a:lnTo>
                      <a:pt x="270" y="72"/>
                    </a:lnTo>
                    <a:lnTo>
                      <a:pt x="276" y="72"/>
                    </a:lnTo>
                    <a:lnTo>
                      <a:pt x="270" y="72"/>
                    </a:lnTo>
                    <a:lnTo>
                      <a:pt x="276" y="72"/>
                    </a:lnTo>
                    <a:lnTo>
                      <a:pt x="282" y="72"/>
                    </a:lnTo>
                    <a:lnTo>
                      <a:pt x="288" y="72"/>
                    </a:lnTo>
                    <a:lnTo>
                      <a:pt x="282" y="72"/>
                    </a:lnTo>
                    <a:lnTo>
                      <a:pt x="288" y="72"/>
                    </a:lnTo>
                    <a:lnTo>
                      <a:pt x="288" y="78"/>
                    </a:lnTo>
                    <a:lnTo>
                      <a:pt x="294" y="78"/>
                    </a:lnTo>
                    <a:lnTo>
                      <a:pt x="294" y="72"/>
                    </a:lnTo>
                    <a:lnTo>
                      <a:pt x="294" y="66"/>
                    </a:lnTo>
                    <a:lnTo>
                      <a:pt x="294" y="60"/>
                    </a:lnTo>
                    <a:lnTo>
                      <a:pt x="294" y="54"/>
                    </a:lnTo>
                    <a:lnTo>
                      <a:pt x="294" y="48"/>
                    </a:lnTo>
                    <a:lnTo>
                      <a:pt x="294" y="42"/>
                    </a:lnTo>
                    <a:lnTo>
                      <a:pt x="288" y="42"/>
                    </a:lnTo>
                    <a:lnTo>
                      <a:pt x="288" y="36"/>
                    </a:lnTo>
                    <a:lnTo>
                      <a:pt x="288" y="42"/>
                    </a:lnTo>
                    <a:lnTo>
                      <a:pt x="288" y="36"/>
                    </a:lnTo>
                    <a:lnTo>
                      <a:pt x="282" y="36"/>
                    </a:lnTo>
                    <a:lnTo>
                      <a:pt x="282" y="42"/>
                    </a:lnTo>
                    <a:lnTo>
                      <a:pt x="282" y="36"/>
                    </a:lnTo>
                    <a:lnTo>
                      <a:pt x="288" y="30"/>
                    </a:lnTo>
                    <a:lnTo>
                      <a:pt x="282" y="30"/>
                    </a:lnTo>
                    <a:lnTo>
                      <a:pt x="282" y="24"/>
                    </a:lnTo>
                    <a:lnTo>
                      <a:pt x="276" y="24"/>
                    </a:lnTo>
                    <a:lnTo>
                      <a:pt x="282" y="24"/>
                    </a:lnTo>
                    <a:lnTo>
                      <a:pt x="276" y="24"/>
                    </a:lnTo>
                    <a:lnTo>
                      <a:pt x="276" y="18"/>
                    </a:lnTo>
                    <a:lnTo>
                      <a:pt x="276" y="12"/>
                    </a:lnTo>
                    <a:lnTo>
                      <a:pt x="282" y="12"/>
                    </a:lnTo>
                    <a:lnTo>
                      <a:pt x="276" y="6"/>
                    </a:lnTo>
                    <a:lnTo>
                      <a:pt x="282" y="6"/>
                    </a:lnTo>
                    <a:lnTo>
                      <a:pt x="282" y="0"/>
                    </a:lnTo>
                    <a:lnTo>
                      <a:pt x="282" y="6"/>
                    </a:lnTo>
                    <a:lnTo>
                      <a:pt x="288" y="6"/>
                    </a:lnTo>
                    <a:lnTo>
                      <a:pt x="288" y="12"/>
                    </a:lnTo>
                    <a:lnTo>
                      <a:pt x="288" y="6"/>
                    </a:lnTo>
                    <a:lnTo>
                      <a:pt x="294" y="6"/>
                    </a:lnTo>
                    <a:lnTo>
                      <a:pt x="300" y="6"/>
                    </a:lnTo>
                    <a:lnTo>
                      <a:pt x="294" y="6"/>
                    </a:lnTo>
                    <a:lnTo>
                      <a:pt x="294" y="12"/>
                    </a:lnTo>
                    <a:lnTo>
                      <a:pt x="300" y="12"/>
                    </a:lnTo>
                    <a:lnTo>
                      <a:pt x="300" y="18"/>
                    </a:lnTo>
                    <a:lnTo>
                      <a:pt x="306" y="18"/>
                    </a:lnTo>
                    <a:lnTo>
                      <a:pt x="306" y="24"/>
                    </a:lnTo>
                    <a:lnTo>
                      <a:pt x="306" y="30"/>
                    </a:lnTo>
                    <a:lnTo>
                      <a:pt x="312" y="30"/>
                    </a:lnTo>
                    <a:lnTo>
                      <a:pt x="312" y="24"/>
                    </a:lnTo>
                    <a:lnTo>
                      <a:pt x="312" y="30"/>
                    </a:lnTo>
                    <a:lnTo>
                      <a:pt x="318" y="30"/>
                    </a:lnTo>
                    <a:lnTo>
                      <a:pt x="324" y="30"/>
                    </a:lnTo>
                    <a:lnTo>
                      <a:pt x="324" y="36"/>
                    </a:lnTo>
                    <a:lnTo>
                      <a:pt x="324" y="42"/>
                    </a:lnTo>
                    <a:lnTo>
                      <a:pt x="324" y="48"/>
                    </a:lnTo>
                    <a:lnTo>
                      <a:pt x="318" y="48"/>
                    </a:lnTo>
                    <a:lnTo>
                      <a:pt x="318" y="54"/>
                    </a:lnTo>
                    <a:lnTo>
                      <a:pt x="324" y="54"/>
                    </a:lnTo>
                    <a:lnTo>
                      <a:pt x="324" y="60"/>
                    </a:lnTo>
                    <a:lnTo>
                      <a:pt x="330" y="60"/>
                    </a:lnTo>
                    <a:lnTo>
                      <a:pt x="330" y="66"/>
                    </a:lnTo>
                    <a:lnTo>
                      <a:pt x="336" y="66"/>
                    </a:lnTo>
                    <a:lnTo>
                      <a:pt x="342" y="66"/>
                    </a:lnTo>
                    <a:lnTo>
                      <a:pt x="348" y="66"/>
                    </a:lnTo>
                    <a:lnTo>
                      <a:pt x="348" y="72"/>
                    </a:lnTo>
                    <a:lnTo>
                      <a:pt x="348" y="66"/>
                    </a:lnTo>
                    <a:lnTo>
                      <a:pt x="348" y="72"/>
                    </a:lnTo>
                    <a:lnTo>
                      <a:pt x="354" y="72"/>
                    </a:lnTo>
                    <a:lnTo>
                      <a:pt x="360" y="72"/>
                    </a:lnTo>
                    <a:lnTo>
                      <a:pt x="360" y="66"/>
                    </a:lnTo>
                    <a:lnTo>
                      <a:pt x="360" y="72"/>
                    </a:lnTo>
                    <a:lnTo>
                      <a:pt x="354" y="72"/>
                    </a:lnTo>
                    <a:lnTo>
                      <a:pt x="354" y="78"/>
                    </a:lnTo>
                    <a:lnTo>
                      <a:pt x="360" y="78"/>
                    </a:lnTo>
                    <a:lnTo>
                      <a:pt x="360" y="72"/>
                    </a:lnTo>
                    <a:lnTo>
                      <a:pt x="366" y="72"/>
                    </a:lnTo>
                    <a:lnTo>
                      <a:pt x="366" y="66"/>
                    </a:lnTo>
                    <a:lnTo>
                      <a:pt x="366" y="72"/>
                    </a:lnTo>
                    <a:lnTo>
                      <a:pt x="372" y="72"/>
                    </a:lnTo>
                    <a:lnTo>
                      <a:pt x="372" y="78"/>
                    </a:lnTo>
                    <a:lnTo>
                      <a:pt x="378" y="78"/>
                    </a:lnTo>
                    <a:lnTo>
                      <a:pt x="378" y="84"/>
                    </a:lnTo>
                    <a:lnTo>
                      <a:pt x="372" y="84"/>
                    </a:lnTo>
                    <a:lnTo>
                      <a:pt x="372" y="90"/>
                    </a:lnTo>
                    <a:lnTo>
                      <a:pt x="366" y="96"/>
                    </a:lnTo>
                    <a:lnTo>
                      <a:pt x="366" y="102"/>
                    </a:lnTo>
                    <a:lnTo>
                      <a:pt x="360" y="102"/>
                    </a:lnTo>
                    <a:lnTo>
                      <a:pt x="360" y="108"/>
                    </a:lnTo>
                    <a:lnTo>
                      <a:pt x="354" y="108"/>
                    </a:lnTo>
                    <a:lnTo>
                      <a:pt x="354" y="114"/>
                    </a:lnTo>
                    <a:lnTo>
                      <a:pt x="354" y="120"/>
                    </a:lnTo>
                    <a:lnTo>
                      <a:pt x="348" y="120"/>
                    </a:lnTo>
                    <a:lnTo>
                      <a:pt x="342" y="120"/>
                    </a:lnTo>
                    <a:lnTo>
                      <a:pt x="342" y="126"/>
                    </a:lnTo>
                    <a:lnTo>
                      <a:pt x="336" y="126"/>
                    </a:lnTo>
                    <a:lnTo>
                      <a:pt x="336" y="132"/>
                    </a:lnTo>
                    <a:lnTo>
                      <a:pt x="330" y="132"/>
                    </a:lnTo>
                    <a:lnTo>
                      <a:pt x="330" y="138"/>
                    </a:lnTo>
                    <a:lnTo>
                      <a:pt x="330" y="144"/>
                    </a:lnTo>
                    <a:lnTo>
                      <a:pt x="324" y="144"/>
                    </a:lnTo>
                    <a:lnTo>
                      <a:pt x="324" y="150"/>
                    </a:lnTo>
                    <a:lnTo>
                      <a:pt x="330" y="150"/>
                    </a:lnTo>
                    <a:lnTo>
                      <a:pt x="324" y="150"/>
                    </a:lnTo>
                    <a:lnTo>
                      <a:pt x="324" y="156"/>
                    </a:lnTo>
                    <a:lnTo>
                      <a:pt x="324" y="162"/>
                    </a:lnTo>
                    <a:lnTo>
                      <a:pt x="318" y="162"/>
                    </a:lnTo>
                    <a:lnTo>
                      <a:pt x="318" y="168"/>
                    </a:lnTo>
                    <a:lnTo>
                      <a:pt x="324" y="168"/>
                    </a:lnTo>
                    <a:lnTo>
                      <a:pt x="324" y="174"/>
                    </a:lnTo>
                    <a:lnTo>
                      <a:pt x="318" y="174"/>
                    </a:lnTo>
                    <a:lnTo>
                      <a:pt x="318" y="180"/>
                    </a:lnTo>
                    <a:lnTo>
                      <a:pt x="318" y="186"/>
                    </a:lnTo>
                    <a:lnTo>
                      <a:pt x="318" y="192"/>
                    </a:lnTo>
                    <a:lnTo>
                      <a:pt x="318" y="198"/>
                    </a:lnTo>
                    <a:lnTo>
                      <a:pt x="318" y="204"/>
                    </a:lnTo>
                    <a:lnTo>
                      <a:pt x="324" y="204"/>
                    </a:lnTo>
                    <a:lnTo>
                      <a:pt x="324" y="210"/>
                    </a:lnTo>
                    <a:lnTo>
                      <a:pt x="318" y="210"/>
                    </a:lnTo>
                    <a:lnTo>
                      <a:pt x="324" y="210"/>
                    </a:lnTo>
                    <a:lnTo>
                      <a:pt x="324" y="216"/>
                    </a:lnTo>
                    <a:lnTo>
                      <a:pt x="318" y="216"/>
                    </a:lnTo>
                    <a:lnTo>
                      <a:pt x="318" y="222"/>
                    </a:lnTo>
                    <a:lnTo>
                      <a:pt x="324" y="222"/>
                    </a:lnTo>
                    <a:lnTo>
                      <a:pt x="324" y="228"/>
                    </a:lnTo>
                    <a:lnTo>
                      <a:pt x="318" y="228"/>
                    </a:lnTo>
                    <a:lnTo>
                      <a:pt x="324" y="234"/>
                    </a:lnTo>
                    <a:lnTo>
                      <a:pt x="318" y="234"/>
                    </a:lnTo>
                    <a:lnTo>
                      <a:pt x="324" y="234"/>
                    </a:lnTo>
                    <a:lnTo>
                      <a:pt x="324" y="240"/>
                    </a:lnTo>
                    <a:lnTo>
                      <a:pt x="324" y="246"/>
                    </a:lnTo>
                    <a:lnTo>
                      <a:pt x="318" y="246"/>
                    </a:lnTo>
                    <a:lnTo>
                      <a:pt x="324" y="246"/>
                    </a:lnTo>
                    <a:lnTo>
                      <a:pt x="318" y="246"/>
                    </a:lnTo>
                    <a:lnTo>
                      <a:pt x="318" y="252"/>
                    </a:lnTo>
                    <a:lnTo>
                      <a:pt x="324" y="252"/>
                    </a:lnTo>
                    <a:lnTo>
                      <a:pt x="318" y="252"/>
                    </a:lnTo>
                    <a:lnTo>
                      <a:pt x="318" y="258"/>
                    </a:lnTo>
                    <a:lnTo>
                      <a:pt x="324" y="258"/>
                    </a:lnTo>
                    <a:lnTo>
                      <a:pt x="324" y="264"/>
                    </a:lnTo>
                    <a:lnTo>
                      <a:pt x="330" y="264"/>
                    </a:lnTo>
                    <a:lnTo>
                      <a:pt x="330" y="270"/>
                    </a:lnTo>
                    <a:lnTo>
                      <a:pt x="330" y="276"/>
                    </a:lnTo>
                    <a:lnTo>
                      <a:pt x="330" y="282"/>
                    </a:lnTo>
                    <a:lnTo>
                      <a:pt x="324" y="288"/>
                    </a:lnTo>
                    <a:lnTo>
                      <a:pt x="330" y="288"/>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US" sz="900" dirty="0">
                  <a:solidFill>
                    <a:srgbClr val="000000"/>
                  </a:solidFill>
                </a:endParaRPr>
              </a:p>
            </p:txBody>
          </p:sp>
          <p:sp>
            <p:nvSpPr>
              <p:cNvPr id="77" name="Freeform 89"/>
              <p:cNvSpPr>
                <a:spLocks/>
              </p:cNvSpPr>
              <p:nvPr/>
            </p:nvSpPr>
            <p:spPr bwMode="gray">
              <a:xfrm>
                <a:off x="5660414" y="2381579"/>
                <a:ext cx="895541" cy="481583"/>
              </a:xfrm>
              <a:custGeom>
                <a:avLst/>
                <a:gdLst>
                  <a:gd name="T0" fmla="*/ 438 w 696"/>
                  <a:gd name="T1" fmla="*/ 336 h 378"/>
                  <a:gd name="T2" fmla="*/ 462 w 696"/>
                  <a:gd name="T3" fmla="*/ 318 h 378"/>
                  <a:gd name="T4" fmla="*/ 486 w 696"/>
                  <a:gd name="T5" fmla="*/ 300 h 378"/>
                  <a:gd name="T6" fmla="*/ 528 w 696"/>
                  <a:gd name="T7" fmla="*/ 288 h 378"/>
                  <a:gd name="T8" fmla="*/ 522 w 696"/>
                  <a:gd name="T9" fmla="*/ 264 h 378"/>
                  <a:gd name="T10" fmla="*/ 510 w 696"/>
                  <a:gd name="T11" fmla="*/ 246 h 378"/>
                  <a:gd name="T12" fmla="*/ 522 w 696"/>
                  <a:gd name="T13" fmla="*/ 222 h 378"/>
                  <a:gd name="T14" fmla="*/ 486 w 696"/>
                  <a:gd name="T15" fmla="*/ 204 h 378"/>
                  <a:gd name="T16" fmla="*/ 438 w 696"/>
                  <a:gd name="T17" fmla="*/ 222 h 378"/>
                  <a:gd name="T18" fmla="*/ 390 w 696"/>
                  <a:gd name="T19" fmla="*/ 240 h 378"/>
                  <a:gd name="T20" fmla="*/ 342 w 696"/>
                  <a:gd name="T21" fmla="*/ 252 h 378"/>
                  <a:gd name="T22" fmla="*/ 318 w 696"/>
                  <a:gd name="T23" fmla="*/ 258 h 378"/>
                  <a:gd name="T24" fmla="*/ 300 w 696"/>
                  <a:gd name="T25" fmla="*/ 282 h 378"/>
                  <a:gd name="T26" fmla="*/ 270 w 696"/>
                  <a:gd name="T27" fmla="*/ 318 h 378"/>
                  <a:gd name="T28" fmla="*/ 258 w 696"/>
                  <a:gd name="T29" fmla="*/ 336 h 378"/>
                  <a:gd name="T30" fmla="*/ 222 w 696"/>
                  <a:gd name="T31" fmla="*/ 342 h 378"/>
                  <a:gd name="T32" fmla="*/ 192 w 696"/>
                  <a:gd name="T33" fmla="*/ 342 h 378"/>
                  <a:gd name="T34" fmla="*/ 138 w 696"/>
                  <a:gd name="T35" fmla="*/ 330 h 378"/>
                  <a:gd name="T36" fmla="*/ 90 w 696"/>
                  <a:gd name="T37" fmla="*/ 342 h 378"/>
                  <a:gd name="T38" fmla="*/ 54 w 696"/>
                  <a:gd name="T39" fmla="*/ 324 h 378"/>
                  <a:gd name="T40" fmla="*/ 72 w 696"/>
                  <a:gd name="T41" fmla="*/ 300 h 378"/>
                  <a:gd name="T42" fmla="*/ 36 w 696"/>
                  <a:gd name="T43" fmla="*/ 270 h 378"/>
                  <a:gd name="T44" fmla="*/ 12 w 696"/>
                  <a:gd name="T45" fmla="*/ 240 h 378"/>
                  <a:gd name="T46" fmla="*/ 18 w 696"/>
                  <a:gd name="T47" fmla="*/ 228 h 378"/>
                  <a:gd name="T48" fmla="*/ 72 w 696"/>
                  <a:gd name="T49" fmla="*/ 228 h 378"/>
                  <a:gd name="T50" fmla="*/ 102 w 696"/>
                  <a:gd name="T51" fmla="*/ 228 h 378"/>
                  <a:gd name="T52" fmla="*/ 138 w 696"/>
                  <a:gd name="T53" fmla="*/ 210 h 378"/>
                  <a:gd name="T54" fmla="*/ 150 w 696"/>
                  <a:gd name="T55" fmla="*/ 174 h 378"/>
                  <a:gd name="T56" fmla="*/ 198 w 696"/>
                  <a:gd name="T57" fmla="*/ 156 h 378"/>
                  <a:gd name="T58" fmla="*/ 204 w 696"/>
                  <a:gd name="T59" fmla="*/ 120 h 378"/>
                  <a:gd name="T60" fmla="*/ 258 w 696"/>
                  <a:gd name="T61" fmla="*/ 102 h 378"/>
                  <a:gd name="T62" fmla="*/ 294 w 696"/>
                  <a:gd name="T63" fmla="*/ 84 h 378"/>
                  <a:gd name="T64" fmla="*/ 318 w 696"/>
                  <a:gd name="T65" fmla="*/ 54 h 378"/>
                  <a:gd name="T66" fmla="*/ 360 w 696"/>
                  <a:gd name="T67" fmla="*/ 30 h 378"/>
                  <a:gd name="T68" fmla="*/ 396 w 696"/>
                  <a:gd name="T69" fmla="*/ 42 h 378"/>
                  <a:gd name="T70" fmla="*/ 426 w 696"/>
                  <a:gd name="T71" fmla="*/ 54 h 378"/>
                  <a:gd name="T72" fmla="*/ 456 w 696"/>
                  <a:gd name="T73" fmla="*/ 42 h 378"/>
                  <a:gd name="T74" fmla="*/ 480 w 696"/>
                  <a:gd name="T75" fmla="*/ 36 h 378"/>
                  <a:gd name="T76" fmla="*/ 498 w 696"/>
                  <a:gd name="T77" fmla="*/ 30 h 378"/>
                  <a:gd name="T78" fmla="*/ 540 w 696"/>
                  <a:gd name="T79" fmla="*/ 0 h 378"/>
                  <a:gd name="T80" fmla="*/ 582 w 696"/>
                  <a:gd name="T81" fmla="*/ 30 h 378"/>
                  <a:gd name="T82" fmla="*/ 552 w 696"/>
                  <a:gd name="T83" fmla="*/ 54 h 378"/>
                  <a:gd name="T84" fmla="*/ 570 w 696"/>
                  <a:gd name="T85" fmla="*/ 66 h 378"/>
                  <a:gd name="T86" fmla="*/ 582 w 696"/>
                  <a:gd name="T87" fmla="*/ 60 h 378"/>
                  <a:gd name="T88" fmla="*/ 600 w 696"/>
                  <a:gd name="T89" fmla="*/ 90 h 378"/>
                  <a:gd name="T90" fmla="*/ 582 w 696"/>
                  <a:gd name="T91" fmla="*/ 120 h 378"/>
                  <a:gd name="T92" fmla="*/ 570 w 696"/>
                  <a:gd name="T93" fmla="*/ 150 h 378"/>
                  <a:gd name="T94" fmla="*/ 612 w 696"/>
                  <a:gd name="T95" fmla="*/ 138 h 378"/>
                  <a:gd name="T96" fmla="*/ 660 w 696"/>
                  <a:gd name="T97" fmla="*/ 156 h 378"/>
                  <a:gd name="T98" fmla="*/ 690 w 696"/>
                  <a:gd name="T99" fmla="*/ 174 h 378"/>
                  <a:gd name="T100" fmla="*/ 696 w 696"/>
                  <a:gd name="T101" fmla="*/ 210 h 378"/>
                  <a:gd name="T102" fmla="*/ 678 w 696"/>
                  <a:gd name="T103" fmla="*/ 222 h 378"/>
                  <a:gd name="T104" fmla="*/ 648 w 696"/>
                  <a:gd name="T105" fmla="*/ 246 h 378"/>
                  <a:gd name="T106" fmla="*/ 648 w 696"/>
                  <a:gd name="T107" fmla="*/ 294 h 378"/>
                  <a:gd name="T108" fmla="*/ 660 w 696"/>
                  <a:gd name="T109" fmla="*/ 318 h 378"/>
                  <a:gd name="T110" fmla="*/ 636 w 696"/>
                  <a:gd name="T111" fmla="*/ 294 h 378"/>
                  <a:gd name="T112" fmla="*/ 594 w 696"/>
                  <a:gd name="T113" fmla="*/ 294 h 378"/>
                  <a:gd name="T114" fmla="*/ 552 w 696"/>
                  <a:gd name="T115" fmla="*/ 300 h 378"/>
                  <a:gd name="T116" fmla="*/ 510 w 696"/>
                  <a:gd name="T117" fmla="*/ 330 h 378"/>
                  <a:gd name="T118" fmla="*/ 480 w 696"/>
                  <a:gd name="T119" fmla="*/ 360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96" h="378">
                    <a:moveTo>
                      <a:pt x="444" y="378"/>
                    </a:moveTo>
                    <a:lnTo>
                      <a:pt x="438" y="378"/>
                    </a:lnTo>
                    <a:lnTo>
                      <a:pt x="438" y="372"/>
                    </a:lnTo>
                    <a:lnTo>
                      <a:pt x="438" y="366"/>
                    </a:lnTo>
                    <a:lnTo>
                      <a:pt x="438" y="360"/>
                    </a:lnTo>
                    <a:lnTo>
                      <a:pt x="438" y="354"/>
                    </a:lnTo>
                    <a:lnTo>
                      <a:pt x="432" y="354"/>
                    </a:lnTo>
                    <a:lnTo>
                      <a:pt x="438" y="354"/>
                    </a:lnTo>
                    <a:lnTo>
                      <a:pt x="438" y="348"/>
                    </a:lnTo>
                    <a:lnTo>
                      <a:pt x="438" y="342"/>
                    </a:lnTo>
                    <a:lnTo>
                      <a:pt x="438" y="336"/>
                    </a:lnTo>
                    <a:lnTo>
                      <a:pt x="432" y="336"/>
                    </a:lnTo>
                    <a:lnTo>
                      <a:pt x="432" y="330"/>
                    </a:lnTo>
                    <a:lnTo>
                      <a:pt x="438" y="330"/>
                    </a:lnTo>
                    <a:lnTo>
                      <a:pt x="444" y="330"/>
                    </a:lnTo>
                    <a:lnTo>
                      <a:pt x="438" y="330"/>
                    </a:lnTo>
                    <a:lnTo>
                      <a:pt x="444" y="330"/>
                    </a:lnTo>
                    <a:lnTo>
                      <a:pt x="444" y="324"/>
                    </a:lnTo>
                    <a:lnTo>
                      <a:pt x="450" y="324"/>
                    </a:lnTo>
                    <a:lnTo>
                      <a:pt x="456" y="324"/>
                    </a:lnTo>
                    <a:lnTo>
                      <a:pt x="456" y="318"/>
                    </a:lnTo>
                    <a:lnTo>
                      <a:pt x="462" y="318"/>
                    </a:lnTo>
                    <a:lnTo>
                      <a:pt x="468" y="318"/>
                    </a:lnTo>
                    <a:lnTo>
                      <a:pt x="468" y="312"/>
                    </a:lnTo>
                    <a:lnTo>
                      <a:pt x="468" y="306"/>
                    </a:lnTo>
                    <a:lnTo>
                      <a:pt x="468" y="300"/>
                    </a:lnTo>
                    <a:lnTo>
                      <a:pt x="474" y="300"/>
                    </a:lnTo>
                    <a:lnTo>
                      <a:pt x="480" y="300"/>
                    </a:lnTo>
                    <a:lnTo>
                      <a:pt x="480" y="306"/>
                    </a:lnTo>
                    <a:lnTo>
                      <a:pt x="486" y="306"/>
                    </a:lnTo>
                    <a:lnTo>
                      <a:pt x="486" y="300"/>
                    </a:lnTo>
                    <a:lnTo>
                      <a:pt x="486" y="306"/>
                    </a:lnTo>
                    <a:lnTo>
                      <a:pt x="486" y="300"/>
                    </a:lnTo>
                    <a:lnTo>
                      <a:pt x="492" y="300"/>
                    </a:lnTo>
                    <a:lnTo>
                      <a:pt x="498" y="300"/>
                    </a:lnTo>
                    <a:lnTo>
                      <a:pt x="504" y="300"/>
                    </a:lnTo>
                    <a:lnTo>
                      <a:pt x="510" y="300"/>
                    </a:lnTo>
                    <a:lnTo>
                      <a:pt x="510" y="294"/>
                    </a:lnTo>
                    <a:lnTo>
                      <a:pt x="516" y="294"/>
                    </a:lnTo>
                    <a:lnTo>
                      <a:pt x="516" y="300"/>
                    </a:lnTo>
                    <a:lnTo>
                      <a:pt x="522" y="300"/>
                    </a:lnTo>
                    <a:lnTo>
                      <a:pt x="522" y="294"/>
                    </a:lnTo>
                    <a:lnTo>
                      <a:pt x="528" y="294"/>
                    </a:lnTo>
                    <a:lnTo>
                      <a:pt x="528" y="288"/>
                    </a:lnTo>
                    <a:lnTo>
                      <a:pt x="534" y="288"/>
                    </a:lnTo>
                    <a:lnTo>
                      <a:pt x="534" y="282"/>
                    </a:lnTo>
                    <a:lnTo>
                      <a:pt x="534" y="276"/>
                    </a:lnTo>
                    <a:lnTo>
                      <a:pt x="528" y="276"/>
                    </a:lnTo>
                    <a:lnTo>
                      <a:pt x="522" y="276"/>
                    </a:lnTo>
                    <a:lnTo>
                      <a:pt x="522" y="282"/>
                    </a:lnTo>
                    <a:lnTo>
                      <a:pt x="522" y="276"/>
                    </a:lnTo>
                    <a:lnTo>
                      <a:pt x="516" y="276"/>
                    </a:lnTo>
                    <a:lnTo>
                      <a:pt x="516" y="270"/>
                    </a:lnTo>
                    <a:lnTo>
                      <a:pt x="522" y="270"/>
                    </a:lnTo>
                    <a:lnTo>
                      <a:pt x="522" y="264"/>
                    </a:lnTo>
                    <a:lnTo>
                      <a:pt x="516" y="264"/>
                    </a:lnTo>
                    <a:lnTo>
                      <a:pt x="522" y="264"/>
                    </a:lnTo>
                    <a:lnTo>
                      <a:pt x="516" y="264"/>
                    </a:lnTo>
                    <a:lnTo>
                      <a:pt x="516" y="258"/>
                    </a:lnTo>
                    <a:lnTo>
                      <a:pt x="516" y="264"/>
                    </a:lnTo>
                    <a:lnTo>
                      <a:pt x="516" y="258"/>
                    </a:lnTo>
                    <a:lnTo>
                      <a:pt x="510" y="258"/>
                    </a:lnTo>
                    <a:lnTo>
                      <a:pt x="510" y="252"/>
                    </a:lnTo>
                    <a:lnTo>
                      <a:pt x="504" y="252"/>
                    </a:lnTo>
                    <a:lnTo>
                      <a:pt x="510" y="252"/>
                    </a:lnTo>
                    <a:lnTo>
                      <a:pt x="510" y="246"/>
                    </a:lnTo>
                    <a:lnTo>
                      <a:pt x="504" y="246"/>
                    </a:lnTo>
                    <a:lnTo>
                      <a:pt x="510" y="240"/>
                    </a:lnTo>
                    <a:lnTo>
                      <a:pt x="504" y="240"/>
                    </a:lnTo>
                    <a:lnTo>
                      <a:pt x="504" y="234"/>
                    </a:lnTo>
                    <a:lnTo>
                      <a:pt x="510" y="234"/>
                    </a:lnTo>
                    <a:lnTo>
                      <a:pt x="504" y="234"/>
                    </a:lnTo>
                    <a:lnTo>
                      <a:pt x="510" y="234"/>
                    </a:lnTo>
                    <a:lnTo>
                      <a:pt x="510" y="228"/>
                    </a:lnTo>
                    <a:lnTo>
                      <a:pt x="516" y="228"/>
                    </a:lnTo>
                    <a:lnTo>
                      <a:pt x="516" y="222"/>
                    </a:lnTo>
                    <a:lnTo>
                      <a:pt x="522" y="222"/>
                    </a:lnTo>
                    <a:lnTo>
                      <a:pt x="522" y="216"/>
                    </a:lnTo>
                    <a:lnTo>
                      <a:pt x="528" y="216"/>
                    </a:lnTo>
                    <a:lnTo>
                      <a:pt x="528" y="210"/>
                    </a:lnTo>
                    <a:lnTo>
                      <a:pt x="528" y="204"/>
                    </a:lnTo>
                    <a:lnTo>
                      <a:pt x="522" y="204"/>
                    </a:lnTo>
                    <a:lnTo>
                      <a:pt x="516" y="204"/>
                    </a:lnTo>
                    <a:lnTo>
                      <a:pt x="510" y="204"/>
                    </a:lnTo>
                    <a:lnTo>
                      <a:pt x="504" y="204"/>
                    </a:lnTo>
                    <a:lnTo>
                      <a:pt x="498" y="204"/>
                    </a:lnTo>
                    <a:lnTo>
                      <a:pt x="492" y="204"/>
                    </a:lnTo>
                    <a:lnTo>
                      <a:pt x="486" y="204"/>
                    </a:lnTo>
                    <a:lnTo>
                      <a:pt x="480" y="204"/>
                    </a:lnTo>
                    <a:lnTo>
                      <a:pt x="480" y="210"/>
                    </a:lnTo>
                    <a:lnTo>
                      <a:pt x="474" y="210"/>
                    </a:lnTo>
                    <a:lnTo>
                      <a:pt x="474" y="216"/>
                    </a:lnTo>
                    <a:lnTo>
                      <a:pt x="468" y="216"/>
                    </a:lnTo>
                    <a:lnTo>
                      <a:pt x="462" y="216"/>
                    </a:lnTo>
                    <a:lnTo>
                      <a:pt x="456" y="222"/>
                    </a:lnTo>
                    <a:lnTo>
                      <a:pt x="450" y="216"/>
                    </a:lnTo>
                    <a:lnTo>
                      <a:pt x="444" y="216"/>
                    </a:lnTo>
                    <a:lnTo>
                      <a:pt x="438" y="216"/>
                    </a:lnTo>
                    <a:lnTo>
                      <a:pt x="438" y="222"/>
                    </a:lnTo>
                    <a:lnTo>
                      <a:pt x="432" y="222"/>
                    </a:lnTo>
                    <a:lnTo>
                      <a:pt x="426" y="222"/>
                    </a:lnTo>
                    <a:lnTo>
                      <a:pt x="420" y="222"/>
                    </a:lnTo>
                    <a:lnTo>
                      <a:pt x="420" y="228"/>
                    </a:lnTo>
                    <a:lnTo>
                      <a:pt x="414" y="228"/>
                    </a:lnTo>
                    <a:lnTo>
                      <a:pt x="408" y="228"/>
                    </a:lnTo>
                    <a:lnTo>
                      <a:pt x="402" y="228"/>
                    </a:lnTo>
                    <a:lnTo>
                      <a:pt x="402" y="234"/>
                    </a:lnTo>
                    <a:lnTo>
                      <a:pt x="396" y="234"/>
                    </a:lnTo>
                    <a:lnTo>
                      <a:pt x="390" y="234"/>
                    </a:lnTo>
                    <a:lnTo>
                      <a:pt x="390" y="240"/>
                    </a:lnTo>
                    <a:lnTo>
                      <a:pt x="384" y="240"/>
                    </a:lnTo>
                    <a:lnTo>
                      <a:pt x="378" y="246"/>
                    </a:lnTo>
                    <a:lnTo>
                      <a:pt x="372" y="246"/>
                    </a:lnTo>
                    <a:lnTo>
                      <a:pt x="366" y="246"/>
                    </a:lnTo>
                    <a:lnTo>
                      <a:pt x="366" y="252"/>
                    </a:lnTo>
                    <a:lnTo>
                      <a:pt x="360" y="252"/>
                    </a:lnTo>
                    <a:lnTo>
                      <a:pt x="354" y="252"/>
                    </a:lnTo>
                    <a:lnTo>
                      <a:pt x="354" y="258"/>
                    </a:lnTo>
                    <a:lnTo>
                      <a:pt x="348" y="258"/>
                    </a:lnTo>
                    <a:lnTo>
                      <a:pt x="342" y="258"/>
                    </a:lnTo>
                    <a:lnTo>
                      <a:pt x="342" y="252"/>
                    </a:lnTo>
                    <a:lnTo>
                      <a:pt x="342" y="258"/>
                    </a:lnTo>
                    <a:lnTo>
                      <a:pt x="336" y="258"/>
                    </a:lnTo>
                    <a:lnTo>
                      <a:pt x="330" y="258"/>
                    </a:lnTo>
                    <a:lnTo>
                      <a:pt x="330" y="252"/>
                    </a:lnTo>
                    <a:lnTo>
                      <a:pt x="324" y="252"/>
                    </a:lnTo>
                    <a:lnTo>
                      <a:pt x="324" y="246"/>
                    </a:lnTo>
                    <a:lnTo>
                      <a:pt x="324" y="252"/>
                    </a:lnTo>
                    <a:lnTo>
                      <a:pt x="318" y="252"/>
                    </a:lnTo>
                    <a:lnTo>
                      <a:pt x="324" y="252"/>
                    </a:lnTo>
                    <a:lnTo>
                      <a:pt x="318" y="252"/>
                    </a:lnTo>
                    <a:lnTo>
                      <a:pt x="318" y="258"/>
                    </a:lnTo>
                    <a:lnTo>
                      <a:pt x="324" y="258"/>
                    </a:lnTo>
                    <a:lnTo>
                      <a:pt x="324" y="264"/>
                    </a:lnTo>
                    <a:lnTo>
                      <a:pt x="318" y="264"/>
                    </a:lnTo>
                    <a:lnTo>
                      <a:pt x="318" y="270"/>
                    </a:lnTo>
                    <a:lnTo>
                      <a:pt x="318" y="264"/>
                    </a:lnTo>
                    <a:lnTo>
                      <a:pt x="318" y="270"/>
                    </a:lnTo>
                    <a:lnTo>
                      <a:pt x="312" y="270"/>
                    </a:lnTo>
                    <a:lnTo>
                      <a:pt x="312" y="276"/>
                    </a:lnTo>
                    <a:lnTo>
                      <a:pt x="306" y="276"/>
                    </a:lnTo>
                    <a:lnTo>
                      <a:pt x="306" y="282"/>
                    </a:lnTo>
                    <a:lnTo>
                      <a:pt x="300" y="282"/>
                    </a:lnTo>
                    <a:lnTo>
                      <a:pt x="300" y="288"/>
                    </a:lnTo>
                    <a:lnTo>
                      <a:pt x="294" y="288"/>
                    </a:lnTo>
                    <a:lnTo>
                      <a:pt x="294" y="294"/>
                    </a:lnTo>
                    <a:lnTo>
                      <a:pt x="288" y="294"/>
                    </a:lnTo>
                    <a:lnTo>
                      <a:pt x="288" y="300"/>
                    </a:lnTo>
                    <a:lnTo>
                      <a:pt x="282" y="300"/>
                    </a:lnTo>
                    <a:lnTo>
                      <a:pt x="282" y="306"/>
                    </a:lnTo>
                    <a:lnTo>
                      <a:pt x="276" y="306"/>
                    </a:lnTo>
                    <a:lnTo>
                      <a:pt x="276" y="312"/>
                    </a:lnTo>
                    <a:lnTo>
                      <a:pt x="270" y="312"/>
                    </a:lnTo>
                    <a:lnTo>
                      <a:pt x="270" y="318"/>
                    </a:lnTo>
                    <a:lnTo>
                      <a:pt x="276" y="318"/>
                    </a:lnTo>
                    <a:lnTo>
                      <a:pt x="276" y="324"/>
                    </a:lnTo>
                    <a:lnTo>
                      <a:pt x="270" y="324"/>
                    </a:lnTo>
                    <a:lnTo>
                      <a:pt x="270" y="330"/>
                    </a:lnTo>
                    <a:lnTo>
                      <a:pt x="270" y="324"/>
                    </a:lnTo>
                    <a:lnTo>
                      <a:pt x="270" y="330"/>
                    </a:lnTo>
                    <a:lnTo>
                      <a:pt x="270" y="324"/>
                    </a:lnTo>
                    <a:lnTo>
                      <a:pt x="264" y="324"/>
                    </a:lnTo>
                    <a:lnTo>
                      <a:pt x="264" y="330"/>
                    </a:lnTo>
                    <a:lnTo>
                      <a:pt x="258" y="330"/>
                    </a:lnTo>
                    <a:lnTo>
                      <a:pt x="258" y="336"/>
                    </a:lnTo>
                    <a:lnTo>
                      <a:pt x="264" y="336"/>
                    </a:lnTo>
                    <a:lnTo>
                      <a:pt x="258" y="342"/>
                    </a:lnTo>
                    <a:lnTo>
                      <a:pt x="252" y="342"/>
                    </a:lnTo>
                    <a:lnTo>
                      <a:pt x="246" y="342"/>
                    </a:lnTo>
                    <a:lnTo>
                      <a:pt x="240" y="348"/>
                    </a:lnTo>
                    <a:lnTo>
                      <a:pt x="234" y="348"/>
                    </a:lnTo>
                    <a:lnTo>
                      <a:pt x="228" y="348"/>
                    </a:lnTo>
                    <a:lnTo>
                      <a:pt x="228" y="342"/>
                    </a:lnTo>
                    <a:lnTo>
                      <a:pt x="228" y="336"/>
                    </a:lnTo>
                    <a:lnTo>
                      <a:pt x="228" y="342"/>
                    </a:lnTo>
                    <a:lnTo>
                      <a:pt x="222" y="342"/>
                    </a:lnTo>
                    <a:lnTo>
                      <a:pt x="216" y="342"/>
                    </a:lnTo>
                    <a:lnTo>
                      <a:pt x="210" y="342"/>
                    </a:lnTo>
                    <a:lnTo>
                      <a:pt x="210" y="348"/>
                    </a:lnTo>
                    <a:lnTo>
                      <a:pt x="210" y="342"/>
                    </a:lnTo>
                    <a:lnTo>
                      <a:pt x="204" y="342"/>
                    </a:lnTo>
                    <a:lnTo>
                      <a:pt x="204" y="348"/>
                    </a:lnTo>
                    <a:lnTo>
                      <a:pt x="198" y="348"/>
                    </a:lnTo>
                    <a:lnTo>
                      <a:pt x="198" y="342"/>
                    </a:lnTo>
                    <a:lnTo>
                      <a:pt x="192" y="342"/>
                    </a:lnTo>
                    <a:lnTo>
                      <a:pt x="192" y="348"/>
                    </a:lnTo>
                    <a:lnTo>
                      <a:pt x="192" y="342"/>
                    </a:lnTo>
                    <a:lnTo>
                      <a:pt x="186" y="342"/>
                    </a:lnTo>
                    <a:lnTo>
                      <a:pt x="186" y="348"/>
                    </a:lnTo>
                    <a:lnTo>
                      <a:pt x="180" y="348"/>
                    </a:lnTo>
                    <a:lnTo>
                      <a:pt x="174" y="348"/>
                    </a:lnTo>
                    <a:lnTo>
                      <a:pt x="168" y="342"/>
                    </a:lnTo>
                    <a:lnTo>
                      <a:pt x="162" y="336"/>
                    </a:lnTo>
                    <a:lnTo>
                      <a:pt x="156" y="336"/>
                    </a:lnTo>
                    <a:lnTo>
                      <a:pt x="150" y="330"/>
                    </a:lnTo>
                    <a:lnTo>
                      <a:pt x="144" y="336"/>
                    </a:lnTo>
                    <a:lnTo>
                      <a:pt x="144" y="330"/>
                    </a:lnTo>
                    <a:lnTo>
                      <a:pt x="138" y="330"/>
                    </a:lnTo>
                    <a:lnTo>
                      <a:pt x="138" y="336"/>
                    </a:lnTo>
                    <a:lnTo>
                      <a:pt x="132" y="336"/>
                    </a:lnTo>
                    <a:lnTo>
                      <a:pt x="132" y="342"/>
                    </a:lnTo>
                    <a:lnTo>
                      <a:pt x="126" y="342"/>
                    </a:lnTo>
                    <a:lnTo>
                      <a:pt x="120" y="342"/>
                    </a:lnTo>
                    <a:lnTo>
                      <a:pt x="114" y="342"/>
                    </a:lnTo>
                    <a:lnTo>
                      <a:pt x="108" y="342"/>
                    </a:lnTo>
                    <a:lnTo>
                      <a:pt x="102" y="342"/>
                    </a:lnTo>
                    <a:lnTo>
                      <a:pt x="96" y="342"/>
                    </a:lnTo>
                    <a:lnTo>
                      <a:pt x="90" y="348"/>
                    </a:lnTo>
                    <a:lnTo>
                      <a:pt x="90" y="342"/>
                    </a:lnTo>
                    <a:lnTo>
                      <a:pt x="84" y="342"/>
                    </a:lnTo>
                    <a:lnTo>
                      <a:pt x="84" y="348"/>
                    </a:lnTo>
                    <a:lnTo>
                      <a:pt x="78" y="348"/>
                    </a:lnTo>
                    <a:lnTo>
                      <a:pt x="72" y="348"/>
                    </a:lnTo>
                    <a:lnTo>
                      <a:pt x="66" y="348"/>
                    </a:lnTo>
                    <a:lnTo>
                      <a:pt x="66" y="342"/>
                    </a:lnTo>
                    <a:lnTo>
                      <a:pt x="66" y="336"/>
                    </a:lnTo>
                    <a:lnTo>
                      <a:pt x="66" y="330"/>
                    </a:lnTo>
                    <a:lnTo>
                      <a:pt x="60" y="330"/>
                    </a:lnTo>
                    <a:lnTo>
                      <a:pt x="60" y="324"/>
                    </a:lnTo>
                    <a:lnTo>
                      <a:pt x="54" y="324"/>
                    </a:lnTo>
                    <a:lnTo>
                      <a:pt x="54" y="318"/>
                    </a:lnTo>
                    <a:lnTo>
                      <a:pt x="60" y="318"/>
                    </a:lnTo>
                    <a:lnTo>
                      <a:pt x="60" y="312"/>
                    </a:lnTo>
                    <a:lnTo>
                      <a:pt x="54" y="312"/>
                    </a:lnTo>
                    <a:lnTo>
                      <a:pt x="60" y="312"/>
                    </a:lnTo>
                    <a:lnTo>
                      <a:pt x="54" y="312"/>
                    </a:lnTo>
                    <a:lnTo>
                      <a:pt x="54" y="306"/>
                    </a:lnTo>
                    <a:lnTo>
                      <a:pt x="60" y="306"/>
                    </a:lnTo>
                    <a:lnTo>
                      <a:pt x="66" y="306"/>
                    </a:lnTo>
                    <a:lnTo>
                      <a:pt x="66" y="300"/>
                    </a:lnTo>
                    <a:lnTo>
                      <a:pt x="72" y="300"/>
                    </a:lnTo>
                    <a:lnTo>
                      <a:pt x="72" y="294"/>
                    </a:lnTo>
                    <a:lnTo>
                      <a:pt x="66" y="294"/>
                    </a:lnTo>
                    <a:lnTo>
                      <a:pt x="66" y="288"/>
                    </a:lnTo>
                    <a:lnTo>
                      <a:pt x="60" y="288"/>
                    </a:lnTo>
                    <a:lnTo>
                      <a:pt x="60" y="282"/>
                    </a:lnTo>
                    <a:lnTo>
                      <a:pt x="60" y="276"/>
                    </a:lnTo>
                    <a:lnTo>
                      <a:pt x="60" y="270"/>
                    </a:lnTo>
                    <a:lnTo>
                      <a:pt x="54" y="270"/>
                    </a:lnTo>
                    <a:lnTo>
                      <a:pt x="48" y="270"/>
                    </a:lnTo>
                    <a:lnTo>
                      <a:pt x="42" y="270"/>
                    </a:lnTo>
                    <a:lnTo>
                      <a:pt x="36" y="270"/>
                    </a:lnTo>
                    <a:lnTo>
                      <a:pt x="30" y="270"/>
                    </a:lnTo>
                    <a:lnTo>
                      <a:pt x="24" y="270"/>
                    </a:lnTo>
                    <a:lnTo>
                      <a:pt x="18" y="270"/>
                    </a:lnTo>
                    <a:lnTo>
                      <a:pt x="12" y="264"/>
                    </a:lnTo>
                    <a:lnTo>
                      <a:pt x="6" y="258"/>
                    </a:lnTo>
                    <a:lnTo>
                      <a:pt x="6" y="264"/>
                    </a:lnTo>
                    <a:lnTo>
                      <a:pt x="6" y="258"/>
                    </a:lnTo>
                    <a:lnTo>
                      <a:pt x="6" y="252"/>
                    </a:lnTo>
                    <a:lnTo>
                      <a:pt x="6" y="246"/>
                    </a:lnTo>
                    <a:lnTo>
                      <a:pt x="6" y="240"/>
                    </a:lnTo>
                    <a:lnTo>
                      <a:pt x="12" y="240"/>
                    </a:lnTo>
                    <a:lnTo>
                      <a:pt x="12" y="234"/>
                    </a:lnTo>
                    <a:lnTo>
                      <a:pt x="12" y="228"/>
                    </a:lnTo>
                    <a:lnTo>
                      <a:pt x="12" y="222"/>
                    </a:lnTo>
                    <a:lnTo>
                      <a:pt x="6" y="222"/>
                    </a:lnTo>
                    <a:lnTo>
                      <a:pt x="0" y="222"/>
                    </a:lnTo>
                    <a:lnTo>
                      <a:pt x="6" y="222"/>
                    </a:lnTo>
                    <a:lnTo>
                      <a:pt x="6" y="216"/>
                    </a:lnTo>
                    <a:lnTo>
                      <a:pt x="12" y="216"/>
                    </a:lnTo>
                    <a:lnTo>
                      <a:pt x="12" y="222"/>
                    </a:lnTo>
                    <a:lnTo>
                      <a:pt x="18" y="222"/>
                    </a:lnTo>
                    <a:lnTo>
                      <a:pt x="18" y="228"/>
                    </a:lnTo>
                    <a:lnTo>
                      <a:pt x="24" y="228"/>
                    </a:lnTo>
                    <a:lnTo>
                      <a:pt x="30" y="228"/>
                    </a:lnTo>
                    <a:lnTo>
                      <a:pt x="36" y="228"/>
                    </a:lnTo>
                    <a:lnTo>
                      <a:pt x="36" y="234"/>
                    </a:lnTo>
                    <a:lnTo>
                      <a:pt x="42" y="234"/>
                    </a:lnTo>
                    <a:lnTo>
                      <a:pt x="48" y="234"/>
                    </a:lnTo>
                    <a:lnTo>
                      <a:pt x="54" y="234"/>
                    </a:lnTo>
                    <a:lnTo>
                      <a:pt x="60" y="234"/>
                    </a:lnTo>
                    <a:lnTo>
                      <a:pt x="66" y="234"/>
                    </a:lnTo>
                    <a:lnTo>
                      <a:pt x="66" y="228"/>
                    </a:lnTo>
                    <a:lnTo>
                      <a:pt x="72" y="228"/>
                    </a:lnTo>
                    <a:lnTo>
                      <a:pt x="72" y="222"/>
                    </a:lnTo>
                    <a:lnTo>
                      <a:pt x="78" y="222"/>
                    </a:lnTo>
                    <a:lnTo>
                      <a:pt x="84" y="222"/>
                    </a:lnTo>
                    <a:lnTo>
                      <a:pt x="84" y="216"/>
                    </a:lnTo>
                    <a:lnTo>
                      <a:pt x="90" y="216"/>
                    </a:lnTo>
                    <a:lnTo>
                      <a:pt x="90" y="222"/>
                    </a:lnTo>
                    <a:lnTo>
                      <a:pt x="90" y="228"/>
                    </a:lnTo>
                    <a:lnTo>
                      <a:pt x="96" y="228"/>
                    </a:lnTo>
                    <a:lnTo>
                      <a:pt x="96" y="222"/>
                    </a:lnTo>
                    <a:lnTo>
                      <a:pt x="102" y="222"/>
                    </a:lnTo>
                    <a:lnTo>
                      <a:pt x="102" y="228"/>
                    </a:lnTo>
                    <a:lnTo>
                      <a:pt x="102" y="222"/>
                    </a:lnTo>
                    <a:lnTo>
                      <a:pt x="108" y="222"/>
                    </a:lnTo>
                    <a:lnTo>
                      <a:pt x="108" y="216"/>
                    </a:lnTo>
                    <a:lnTo>
                      <a:pt x="108" y="222"/>
                    </a:lnTo>
                    <a:lnTo>
                      <a:pt x="114" y="222"/>
                    </a:lnTo>
                    <a:lnTo>
                      <a:pt x="114" y="216"/>
                    </a:lnTo>
                    <a:lnTo>
                      <a:pt x="120" y="216"/>
                    </a:lnTo>
                    <a:lnTo>
                      <a:pt x="126" y="216"/>
                    </a:lnTo>
                    <a:lnTo>
                      <a:pt x="126" y="210"/>
                    </a:lnTo>
                    <a:lnTo>
                      <a:pt x="132" y="210"/>
                    </a:lnTo>
                    <a:lnTo>
                      <a:pt x="138" y="210"/>
                    </a:lnTo>
                    <a:lnTo>
                      <a:pt x="138" y="204"/>
                    </a:lnTo>
                    <a:lnTo>
                      <a:pt x="144" y="204"/>
                    </a:lnTo>
                    <a:lnTo>
                      <a:pt x="144" y="198"/>
                    </a:lnTo>
                    <a:lnTo>
                      <a:pt x="138" y="192"/>
                    </a:lnTo>
                    <a:lnTo>
                      <a:pt x="138" y="186"/>
                    </a:lnTo>
                    <a:lnTo>
                      <a:pt x="132" y="186"/>
                    </a:lnTo>
                    <a:lnTo>
                      <a:pt x="138" y="186"/>
                    </a:lnTo>
                    <a:lnTo>
                      <a:pt x="138" y="180"/>
                    </a:lnTo>
                    <a:lnTo>
                      <a:pt x="144" y="180"/>
                    </a:lnTo>
                    <a:lnTo>
                      <a:pt x="144" y="174"/>
                    </a:lnTo>
                    <a:lnTo>
                      <a:pt x="150" y="174"/>
                    </a:lnTo>
                    <a:lnTo>
                      <a:pt x="156" y="174"/>
                    </a:lnTo>
                    <a:lnTo>
                      <a:pt x="162" y="174"/>
                    </a:lnTo>
                    <a:lnTo>
                      <a:pt x="162" y="168"/>
                    </a:lnTo>
                    <a:lnTo>
                      <a:pt x="168" y="168"/>
                    </a:lnTo>
                    <a:lnTo>
                      <a:pt x="168" y="162"/>
                    </a:lnTo>
                    <a:lnTo>
                      <a:pt x="174" y="162"/>
                    </a:lnTo>
                    <a:lnTo>
                      <a:pt x="174" y="156"/>
                    </a:lnTo>
                    <a:lnTo>
                      <a:pt x="180" y="156"/>
                    </a:lnTo>
                    <a:lnTo>
                      <a:pt x="186" y="156"/>
                    </a:lnTo>
                    <a:lnTo>
                      <a:pt x="192" y="156"/>
                    </a:lnTo>
                    <a:lnTo>
                      <a:pt x="198" y="156"/>
                    </a:lnTo>
                    <a:lnTo>
                      <a:pt x="198" y="150"/>
                    </a:lnTo>
                    <a:lnTo>
                      <a:pt x="204" y="150"/>
                    </a:lnTo>
                    <a:lnTo>
                      <a:pt x="204" y="144"/>
                    </a:lnTo>
                    <a:lnTo>
                      <a:pt x="204" y="138"/>
                    </a:lnTo>
                    <a:lnTo>
                      <a:pt x="204" y="132"/>
                    </a:lnTo>
                    <a:lnTo>
                      <a:pt x="198" y="132"/>
                    </a:lnTo>
                    <a:lnTo>
                      <a:pt x="198" y="126"/>
                    </a:lnTo>
                    <a:lnTo>
                      <a:pt x="204" y="126"/>
                    </a:lnTo>
                    <a:lnTo>
                      <a:pt x="198" y="126"/>
                    </a:lnTo>
                    <a:lnTo>
                      <a:pt x="204" y="126"/>
                    </a:lnTo>
                    <a:lnTo>
                      <a:pt x="204" y="120"/>
                    </a:lnTo>
                    <a:lnTo>
                      <a:pt x="204" y="114"/>
                    </a:lnTo>
                    <a:lnTo>
                      <a:pt x="210" y="114"/>
                    </a:lnTo>
                    <a:lnTo>
                      <a:pt x="216" y="108"/>
                    </a:lnTo>
                    <a:lnTo>
                      <a:pt x="222" y="108"/>
                    </a:lnTo>
                    <a:lnTo>
                      <a:pt x="228" y="108"/>
                    </a:lnTo>
                    <a:lnTo>
                      <a:pt x="234" y="108"/>
                    </a:lnTo>
                    <a:lnTo>
                      <a:pt x="240" y="108"/>
                    </a:lnTo>
                    <a:lnTo>
                      <a:pt x="246" y="108"/>
                    </a:lnTo>
                    <a:lnTo>
                      <a:pt x="252" y="108"/>
                    </a:lnTo>
                    <a:lnTo>
                      <a:pt x="258" y="108"/>
                    </a:lnTo>
                    <a:lnTo>
                      <a:pt x="258" y="102"/>
                    </a:lnTo>
                    <a:lnTo>
                      <a:pt x="258" y="108"/>
                    </a:lnTo>
                    <a:lnTo>
                      <a:pt x="264" y="108"/>
                    </a:lnTo>
                    <a:lnTo>
                      <a:pt x="264" y="102"/>
                    </a:lnTo>
                    <a:lnTo>
                      <a:pt x="270" y="102"/>
                    </a:lnTo>
                    <a:lnTo>
                      <a:pt x="270" y="96"/>
                    </a:lnTo>
                    <a:lnTo>
                      <a:pt x="276" y="96"/>
                    </a:lnTo>
                    <a:lnTo>
                      <a:pt x="282" y="96"/>
                    </a:lnTo>
                    <a:lnTo>
                      <a:pt x="288" y="96"/>
                    </a:lnTo>
                    <a:lnTo>
                      <a:pt x="288" y="90"/>
                    </a:lnTo>
                    <a:lnTo>
                      <a:pt x="288" y="84"/>
                    </a:lnTo>
                    <a:lnTo>
                      <a:pt x="294" y="84"/>
                    </a:lnTo>
                    <a:lnTo>
                      <a:pt x="300" y="84"/>
                    </a:lnTo>
                    <a:lnTo>
                      <a:pt x="300" y="78"/>
                    </a:lnTo>
                    <a:lnTo>
                      <a:pt x="300" y="72"/>
                    </a:lnTo>
                    <a:lnTo>
                      <a:pt x="300" y="66"/>
                    </a:lnTo>
                    <a:lnTo>
                      <a:pt x="306" y="66"/>
                    </a:lnTo>
                    <a:lnTo>
                      <a:pt x="306" y="72"/>
                    </a:lnTo>
                    <a:lnTo>
                      <a:pt x="312" y="72"/>
                    </a:lnTo>
                    <a:lnTo>
                      <a:pt x="312" y="66"/>
                    </a:lnTo>
                    <a:lnTo>
                      <a:pt x="312" y="60"/>
                    </a:lnTo>
                    <a:lnTo>
                      <a:pt x="318" y="60"/>
                    </a:lnTo>
                    <a:lnTo>
                      <a:pt x="318" y="54"/>
                    </a:lnTo>
                    <a:lnTo>
                      <a:pt x="318" y="48"/>
                    </a:lnTo>
                    <a:lnTo>
                      <a:pt x="324" y="48"/>
                    </a:lnTo>
                    <a:lnTo>
                      <a:pt x="330" y="48"/>
                    </a:lnTo>
                    <a:lnTo>
                      <a:pt x="330" y="42"/>
                    </a:lnTo>
                    <a:lnTo>
                      <a:pt x="336" y="42"/>
                    </a:lnTo>
                    <a:lnTo>
                      <a:pt x="342" y="42"/>
                    </a:lnTo>
                    <a:lnTo>
                      <a:pt x="342" y="36"/>
                    </a:lnTo>
                    <a:lnTo>
                      <a:pt x="348" y="36"/>
                    </a:lnTo>
                    <a:lnTo>
                      <a:pt x="354" y="36"/>
                    </a:lnTo>
                    <a:lnTo>
                      <a:pt x="360" y="36"/>
                    </a:lnTo>
                    <a:lnTo>
                      <a:pt x="360" y="30"/>
                    </a:lnTo>
                    <a:lnTo>
                      <a:pt x="366" y="30"/>
                    </a:lnTo>
                    <a:lnTo>
                      <a:pt x="366" y="24"/>
                    </a:lnTo>
                    <a:lnTo>
                      <a:pt x="372" y="24"/>
                    </a:lnTo>
                    <a:lnTo>
                      <a:pt x="378" y="18"/>
                    </a:lnTo>
                    <a:lnTo>
                      <a:pt x="378" y="24"/>
                    </a:lnTo>
                    <a:lnTo>
                      <a:pt x="384" y="24"/>
                    </a:lnTo>
                    <a:lnTo>
                      <a:pt x="384" y="30"/>
                    </a:lnTo>
                    <a:lnTo>
                      <a:pt x="384" y="36"/>
                    </a:lnTo>
                    <a:lnTo>
                      <a:pt x="390" y="36"/>
                    </a:lnTo>
                    <a:lnTo>
                      <a:pt x="390" y="42"/>
                    </a:lnTo>
                    <a:lnTo>
                      <a:pt x="396" y="42"/>
                    </a:lnTo>
                    <a:lnTo>
                      <a:pt x="396" y="36"/>
                    </a:lnTo>
                    <a:lnTo>
                      <a:pt x="402" y="42"/>
                    </a:lnTo>
                    <a:lnTo>
                      <a:pt x="408" y="42"/>
                    </a:lnTo>
                    <a:lnTo>
                      <a:pt x="414" y="48"/>
                    </a:lnTo>
                    <a:lnTo>
                      <a:pt x="414" y="42"/>
                    </a:lnTo>
                    <a:lnTo>
                      <a:pt x="414" y="36"/>
                    </a:lnTo>
                    <a:lnTo>
                      <a:pt x="414" y="42"/>
                    </a:lnTo>
                    <a:lnTo>
                      <a:pt x="420" y="42"/>
                    </a:lnTo>
                    <a:lnTo>
                      <a:pt x="426" y="42"/>
                    </a:lnTo>
                    <a:lnTo>
                      <a:pt x="426" y="48"/>
                    </a:lnTo>
                    <a:lnTo>
                      <a:pt x="426" y="54"/>
                    </a:lnTo>
                    <a:lnTo>
                      <a:pt x="432" y="54"/>
                    </a:lnTo>
                    <a:lnTo>
                      <a:pt x="432" y="48"/>
                    </a:lnTo>
                    <a:lnTo>
                      <a:pt x="438" y="48"/>
                    </a:lnTo>
                    <a:lnTo>
                      <a:pt x="444" y="48"/>
                    </a:lnTo>
                    <a:lnTo>
                      <a:pt x="444" y="54"/>
                    </a:lnTo>
                    <a:lnTo>
                      <a:pt x="444" y="48"/>
                    </a:lnTo>
                    <a:lnTo>
                      <a:pt x="450" y="48"/>
                    </a:lnTo>
                    <a:lnTo>
                      <a:pt x="450" y="42"/>
                    </a:lnTo>
                    <a:lnTo>
                      <a:pt x="456" y="42"/>
                    </a:lnTo>
                    <a:lnTo>
                      <a:pt x="456" y="48"/>
                    </a:lnTo>
                    <a:lnTo>
                      <a:pt x="456" y="42"/>
                    </a:lnTo>
                    <a:lnTo>
                      <a:pt x="462" y="42"/>
                    </a:lnTo>
                    <a:lnTo>
                      <a:pt x="462" y="48"/>
                    </a:lnTo>
                    <a:lnTo>
                      <a:pt x="462" y="42"/>
                    </a:lnTo>
                    <a:lnTo>
                      <a:pt x="462" y="36"/>
                    </a:lnTo>
                    <a:lnTo>
                      <a:pt x="468" y="36"/>
                    </a:lnTo>
                    <a:lnTo>
                      <a:pt x="468" y="42"/>
                    </a:lnTo>
                    <a:lnTo>
                      <a:pt x="474" y="42"/>
                    </a:lnTo>
                    <a:lnTo>
                      <a:pt x="474" y="48"/>
                    </a:lnTo>
                    <a:lnTo>
                      <a:pt x="474" y="42"/>
                    </a:lnTo>
                    <a:lnTo>
                      <a:pt x="474" y="36"/>
                    </a:lnTo>
                    <a:lnTo>
                      <a:pt x="480" y="36"/>
                    </a:lnTo>
                    <a:lnTo>
                      <a:pt x="480" y="42"/>
                    </a:lnTo>
                    <a:lnTo>
                      <a:pt x="480" y="36"/>
                    </a:lnTo>
                    <a:lnTo>
                      <a:pt x="486" y="36"/>
                    </a:lnTo>
                    <a:lnTo>
                      <a:pt x="486" y="30"/>
                    </a:lnTo>
                    <a:lnTo>
                      <a:pt x="492" y="36"/>
                    </a:lnTo>
                    <a:lnTo>
                      <a:pt x="492" y="30"/>
                    </a:lnTo>
                    <a:lnTo>
                      <a:pt x="498" y="30"/>
                    </a:lnTo>
                    <a:lnTo>
                      <a:pt x="498" y="36"/>
                    </a:lnTo>
                    <a:lnTo>
                      <a:pt x="504" y="36"/>
                    </a:lnTo>
                    <a:lnTo>
                      <a:pt x="504" y="30"/>
                    </a:lnTo>
                    <a:lnTo>
                      <a:pt x="498" y="30"/>
                    </a:lnTo>
                    <a:lnTo>
                      <a:pt x="504" y="30"/>
                    </a:lnTo>
                    <a:lnTo>
                      <a:pt x="504" y="24"/>
                    </a:lnTo>
                    <a:lnTo>
                      <a:pt x="504" y="18"/>
                    </a:lnTo>
                    <a:lnTo>
                      <a:pt x="510" y="18"/>
                    </a:lnTo>
                    <a:lnTo>
                      <a:pt x="516" y="18"/>
                    </a:lnTo>
                    <a:lnTo>
                      <a:pt x="522" y="18"/>
                    </a:lnTo>
                    <a:lnTo>
                      <a:pt x="528" y="12"/>
                    </a:lnTo>
                    <a:lnTo>
                      <a:pt x="534" y="12"/>
                    </a:lnTo>
                    <a:lnTo>
                      <a:pt x="534" y="6"/>
                    </a:lnTo>
                    <a:lnTo>
                      <a:pt x="540" y="6"/>
                    </a:lnTo>
                    <a:lnTo>
                      <a:pt x="540" y="0"/>
                    </a:lnTo>
                    <a:lnTo>
                      <a:pt x="546" y="0"/>
                    </a:lnTo>
                    <a:lnTo>
                      <a:pt x="546" y="6"/>
                    </a:lnTo>
                    <a:lnTo>
                      <a:pt x="552" y="12"/>
                    </a:lnTo>
                    <a:lnTo>
                      <a:pt x="558" y="18"/>
                    </a:lnTo>
                    <a:lnTo>
                      <a:pt x="558" y="24"/>
                    </a:lnTo>
                    <a:lnTo>
                      <a:pt x="558" y="30"/>
                    </a:lnTo>
                    <a:lnTo>
                      <a:pt x="564" y="30"/>
                    </a:lnTo>
                    <a:lnTo>
                      <a:pt x="570" y="30"/>
                    </a:lnTo>
                    <a:lnTo>
                      <a:pt x="570" y="24"/>
                    </a:lnTo>
                    <a:lnTo>
                      <a:pt x="576" y="24"/>
                    </a:lnTo>
                    <a:lnTo>
                      <a:pt x="582" y="30"/>
                    </a:lnTo>
                    <a:lnTo>
                      <a:pt x="576" y="30"/>
                    </a:lnTo>
                    <a:lnTo>
                      <a:pt x="576" y="36"/>
                    </a:lnTo>
                    <a:lnTo>
                      <a:pt x="576" y="42"/>
                    </a:lnTo>
                    <a:lnTo>
                      <a:pt x="570" y="42"/>
                    </a:lnTo>
                    <a:lnTo>
                      <a:pt x="564" y="42"/>
                    </a:lnTo>
                    <a:lnTo>
                      <a:pt x="558" y="42"/>
                    </a:lnTo>
                    <a:lnTo>
                      <a:pt x="558" y="48"/>
                    </a:lnTo>
                    <a:lnTo>
                      <a:pt x="558" y="54"/>
                    </a:lnTo>
                    <a:lnTo>
                      <a:pt x="552" y="54"/>
                    </a:lnTo>
                    <a:lnTo>
                      <a:pt x="546" y="54"/>
                    </a:lnTo>
                    <a:lnTo>
                      <a:pt x="552" y="54"/>
                    </a:lnTo>
                    <a:lnTo>
                      <a:pt x="552" y="60"/>
                    </a:lnTo>
                    <a:lnTo>
                      <a:pt x="552" y="66"/>
                    </a:lnTo>
                    <a:lnTo>
                      <a:pt x="558" y="66"/>
                    </a:lnTo>
                    <a:lnTo>
                      <a:pt x="558" y="72"/>
                    </a:lnTo>
                    <a:lnTo>
                      <a:pt x="552" y="72"/>
                    </a:lnTo>
                    <a:lnTo>
                      <a:pt x="552" y="78"/>
                    </a:lnTo>
                    <a:lnTo>
                      <a:pt x="558" y="78"/>
                    </a:lnTo>
                    <a:lnTo>
                      <a:pt x="558" y="72"/>
                    </a:lnTo>
                    <a:lnTo>
                      <a:pt x="564" y="72"/>
                    </a:lnTo>
                    <a:lnTo>
                      <a:pt x="564" y="66"/>
                    </a:lnTo>
                    <a:lnTo>
                      <a:pt x="570" y="66"/>
                    </a:lnTo>
                    <a:lnTo>
                      <a:pt x="564" y="66"/>
                    </a:lnTo>
                    <a:lnTo>
                      <a:pt x="570" y="66"/>
                    </a:lnTo>
                    <a:lnTo>
                      <a:pt x="564" y="66"/>
                    </a:lnTo>
                    <a:lnTo>
                      <a:pt x="570" y="66"/>
                    </a:lnTo>
                    <a:lnTo>
                      <a:pt x="564" y="66"/>
                    </a:lnTo>
                    <a:lnTo>
                      <a:pt x="570" y="66"/>
                    </a:lnTo>
                    <a:lnTo>
                      <a:pt x="564" y="66"/>
                    </a:lnTo>
                    <a:lnTo>
                      <a:pt x="570" y="66"/>
                    </a:lnTo>
                    <a:lnTo>
                      <a:pt x="570" y="60"/>
                    </a:lnTo>
                    <a:lnTo>
                      <a:pt x="576" y="60"/>
                    </a:lnTo>
                    <a:lnTo>
                      <a:pt x="582" y="60"/>
                    </a:lnTo>
                    <a:lnTo>
                      <a:pt x="588" y="60"/>
                    </a:lnTo>
                    <a:lnTo>
                      <a:pt x="588" y="54"/>
                    </a:lnTo>
                    <a:lnTo>
                      <a:pt x="594" y="54"/>
                    </a:lnTo>
                    <a:lnTo>
                      <a:pt x="594" y="60"/>
                    </a:lnTo>
                    <a:lnTo>
                      <a:pt x="588" y="66"/>
                    </a:lnTo>
                    <a:lnTo>
                      <a:pt x="594" y="66"/>
                    </a:lnTo>
                    <a:lnTo>
                      <a:pt x="594" y="72"/>
                    </a:lnTo>
                    <a:lnTo>
                      <a:pt x="594" y="78"/>
                    </a:lnTo>
                    <a:lnTo>
                      <a:pt x="600" y="78"/>
                    </a:lnTo>
                    <a:lnTo>
                      <a:pt x="600" y="84"/>
                    </a:lnTo>
                    <a:lnTo>
                      <a:pt x="600" y="90"/>
                    </a:lnTo>
                    <a:lnTo>
                      <a:pt x="606" y="90"/>
                    </a:lnTo>
                    <a:lnTo>
                      <a:pt x="606" y="96"/>
                    </a:lnTo>
                    <a:lnTo>
                      <a:pt x="606" y="102"/>
                    </a:lnTo>
                    <a:lnTo>
                      <a:pt x="600" y="102"/>
                    </a:lnTo>
                    <a:lnTo>
                      <a:pt x="594" y="102"/>
                    </a:lnTo>
                    <a:lnTo>
                      <a:pt x="594" y="108"/>
                    </a:lnTo>
                    <a:lnTo>
                      <a:pt x="588" y="108"/>
                    </a:lnTo>
                    <a:lnTo>
                      <a:pt x="594" y="114"/>
                    </a:lnTo>
                    <a:lnTo>
                      <a:pt x="588" y="114"/>
                    </a:lnTo>
                    <a:lnTo>
                      <a:pt x="582" y="114"/>
                    </a:lnTo>
                    <a:lnTo>
                      <a:pt x="582" y="120"/>
                    </a:lnTo>
                    <a:lnTo>
                      <a:pt x="582" y="126"/>
                    </a:lnTo>
                    <a:lnTo>
                      <a:pt x="576" y="126"/>
                    </a:lnTo>
                    <a:lnTo>
                      <a:pt x="570" y="126"/>
                    </a:lnTo>
                    <a:lnTo>
                      <a:pt x="570" y="132"/>
                    </a:lnTo>
                    <a:lnTo>
                      <a:pt x="576" y="132"/>
                    </a:lnTo>
                    <a:lnTo>
                      <a:pt x="576" y="138"/>
                    </a:lnTo>
                    <a:lnTo>
                      <a:pt x="570" y="138"/>
                    </a:lnTo>
                    <a:lnTo>
                      <a:pt x="570" y="144"/>
                    </a:lnTo>
                    <a:lnTo>
                      <a:pt x="564" y="144"/>
                    </a:lnTo>
                    <a:lnTo>
                      <a:pt x="570" y="144"/>
                    </a:lnTo>
                    <a:lnTo>
                      <a:pt x="570" y="150"/>
                    </a:lnTo>
                    <a:lnTo>
                      <a:pt x="576" y="150"/>
                    </a:lnTo>
                    <a:lnTo>
                      <a:pt x="582" y="150"/>
                    </a:lnTo>
                    <a:lnTo>
                      <a:pt x="582" y="156"/>
                    </a:lnTo>
                    <a:lnTo>
                      <a:pt x="582" y="150"/>
                    </a:lnTo>
                    <a:lnTo>
                      <a:pt x="588" y="150"/>
                    </a:lnTo>
                    <a:lnTo>
                      <a:pt x="588" y="144"/>
                    </a:lnTo>
                    <a:lnTo>
                      <a:pt x="594" y="144"/>
                    </a:lnTo>
                    <a:lnTo>
                      <a:pt x="600" y="144"/>
                    </a:lnTo>
                    <a:lnTo>
                      <a:pt x="600" y="138"/>
                    </a:lnTo>
                    <a:lnTo>
                      <a:pt x="606" y="138"/>
                    </a:lnTo>
                    <a:lnTo>
                      <a:pt x="612" y="138"/>
                    </a:lnTo>
                    <a:lnTo>
                      <a:pt x="618" y="138"/>
                    </a:lnTo>
                    <a:lnTo>
                      <a:pt x="618" y="144"/>
                    </a:lnTo>
                    <a:lnTo>
                      <a:pt x="624" y="144"/>
                    </a:lnTo>
                    <a:lnTo>
                      <a:pt x="624" y="150"/>
                    </a:lnTo>
                    <a:lnTo>
                      <a:pt x="630" y="150"/>
                    </a:lnTo>
                    <a:lnTo>
                      <a:pt x="636" y="150"/>
                    </a:lnTo>
                    <a:lnTo>
                      <a:pt x="642" y="150"/>
                    </a:lnTo>
                    <a:lnTo>
                      <a:pt x="642" y="156"/>
                    </a:lnTo>
                    <a:lnTo>
                      <a:pt x="648" y="156"/>
                    </a:lnTo>
                    <a:lnTo>
                      <a:pt x="654" y="156"/>
                    </a:lnTo>
                    <a:lnTo>
                      <a:pt x="660" y="156"/>
                    </a:lnTo>
                    <a:lnTo>
                      <a:pt x="660" y="150"/>
                    </a:lnTo>
                    <a:lnTo>
                      <a:pt x="666" y="150"/>
                    </a:lnTo>
                    <a:lnTo>
                      <a:pt x="666" y="156"/>
                    </a:lnTo>
                    <a:lnTo>
                      <a:pt x="672" y="162"/>
                    </a:lnTo>
                    <a:lnTo>
                      <a:pt x="678" y="162"/>
                    </a:lnTo>
                    <a:lnTo>
                      <a:pt x="684" y="162"/>
                    </a:lnTo>
                    <a:lnTo>
                      <a:pt x="684" y="168"/>
                    </a:lnTo>
                    <a:lnTo>
                      <a:pt x="690" y="168"/>
                    </a:lnTo>
                    <a:lnTo>
                      <a:pt x="696" y="168"/>
                    </a:lnTo>
                    <a:lnTo>
                      <a:pt x="696" y="174"/>
                    </a:lnTo>
                    <a:lnTo>
                      <a:pt x="690" y="174"/>
                    </a:lnTo>
                    <a:lnTo>
                      <a:pt x="690" y="180"/>
                    </a:lnTo>
                    <a:lnTo>
                      <a:pt x="690" y="186"/>
                    </a:lnTo>
                    <a:lnTo>
                      <a:pt x="684" y="186"/>
                    </a:lnTo>
                    <a:lnTo>
                      <a:pt x="684" y="192"/>
                    </a:lnTo>
                    <a:lnTo>
                      <a:pt x="690" y="192"/>
                    </a:lnTo>
                    <a:lnTo>
                      <a:pt x="696" y="192"/>
                    </a:lnTo>
                    <a:lnTo>
                      <a:pt x="690" y="192"/>
                    </a:lnTo>
                    <a:lnTo>
                      <a:pt x="696" y="198"/>
                    </a:lnTo>
                    <a:lnTo>
                      <a:pt x="696" y="204"/>
                    </a:lnTo>
                    <a:lnTo>
                      <a:pt x="690" y="204"/>
                    </a:lnTo>
                    <a:lnTo>
                      <a:pt x="696" y="210"/>
                    </a:lnTo>
                    <a:lnTo>
                      <a:pt x="690" y="210"/>
                    </a:lnTo>
                    <a:lnTo>
                      <a:pt x="696" y="210"/>
                    </a:lnTo>
                    <a:lnTo>
                      <a:pt x="696" y="216"/>
                    </a:lnTo>
                    <a:lnTo>
                      <a:pt x="690" y="216"/>
                    </a:lnTo>
                    <a:lnTo>
                      <a:pt x="696" y="216"/>
                    </a:lnTo>
                    <a:lnTo>
                      <a:pt x="690" y="216"/>
                    </a:lnTo>
                    <a:lnTo>
                      <a:pt x="684" y="216"/>
                    </a:lnTo>
                    <a:lnTo>
                      <a:pt x="684" y="210"/>
                    </a:lnTo>
                    <a:lnTo>
                      <a:pt x="684" y="216"/>
                    </a:lnTo>
                    <a:lnTo>
                      <a:pt x="678" y="216"/>
                    </a:lnTo>
                    <a:lnTo>
                      <a:pt x="678" y="222"/>
                    </a:lnTo>
                    <a:lnTo>
                      <a:pt x="672" y="222"/>
                    </a:lnTo>
                    <a:lnTo>
                      <a:pt x="666" y="222"/>
                    </a:lnTo>
                    <a:lnTo>
                      <a:pt x="666" y="228"/>
                    </a:lnTo>
                    <a:lnTo>
                      <a:pt x="660" y="228"/>
                    </a:lnTo>
                    <a:lnTo>
                      <a:pt x="660" y="234"/>
                    </a:lnTo>
                    <a:lnTo>
                      <a:pt x="660" y="240"/>
                    </a:lnTo>
                    <a:lnTo>
                      <a:pt x="660" y="234"/>
                    </a:lnTo>
                    <a:lnTo>
                      <a:pt x="654" y="234"/>
                    </a:lnTo>
                    <a:lnTo>
                      <a:pt x="648" y="234"/>
                    </a:lnTo>
                    <a:lnTo>
                      <a:pt x="648" y="240"/>
                    </a:lnTo>
                    <a:lnTo>
                      <a:pt x="648" y="246"/>
                    </a:lnTo>
                    <a:lnTo>
                      <a:pt x="642" y="246"/>
                    </a:lnTo>
                    <a:lnTo>
                      <a:pt x="642" y="252"/>
                    </a:lnTo>
                    <a:lnTo>
                      <a:pt x="636" y="252"/>
                    </a:lnTo>
                    <a:lnTo>
                      <a:pt x="636" y="258"/>
                    </a:lnTo>
                    <a:lnTo>
                      <a:pt x="642" y="258"/>
                    </a:lnTo>
                    <a:lnTo>
                      <a:pt x="642" y="264"/>
                    </a:lnTo>
                    <a:lnTo>
                      <a:pt x="642" y="270"/>
                    </a:lnTo>
                    <a:lnTo>
                      <a:pt x="642" y="276"/>
                    </a:lnTo>
                    <a:lnTo>
                      <a:pt x="648" y="282"/>
                    </a:lnTo>
                    <a:lnTo>
                      <a:pt x="648" y="288"/>
                    </a:lnTo>
                    <a:lnTo>
                      <a:pt x="648" y="294"/>
                    </a:lnTo>
                    <a:lnTo>
                      <a:pt x="654" y="294"/>
                    </a:lnTo>
                    <a:lnTo>
                      <a:pt x="660" y="294"/>
                    </a:lnTo>
                    <a:lnTo>
                      <a:pt x="660" y="300"/>
                    </a:lnTo>
                    <a:lnTo>
                      <a:pt x="666" y="306"/>
                    </a:lnTo>
                    <a:lnTo>
                      <a:pt x="666" y="312"/>
                    </a:lnTo>
                    <a:lnTo>
                      <a:pt x="672" y="312"/>
                    </a:lnTo>
                    <a:lnTo>
                      <a:pt x="672" y="318"/>
                    </a:lnTo>
                    <a:lnTo>
                      <a:pt x="672" y="324"/>
                    </a:lnTo>
                    <a:lnTo>
                      <a:pt x="666" y="324"/>
                    </a:lnTo>
                    <a:lnTo>
                      <a:pt x="666" y="318"/>
                    </a:lnTo>
                    <a:lnTo>
                      <a:pt x="660" y="318"/>
                    </a:lnTo>
                    <a:lnTo>
                      <a:pt x="654" y="318"/>
                    </a:lnTo>
                    <a:lnTo>
                      <a:pt x="654" y="312"/>
                    </a:lnTo>
                    <a:lnTo>
                      <a:pt x="648" y="318"/>
                    </a:lnTo>
                    <a:lnTo>
                      <a:pt x="648" y="312"/>
                    </a:lnTo>
                    <a:lnTo>
                      <a:pt x="642" y="312"/>
                    </a:lnTo>
                    <a:lnTo>
                      <a:pt x="636" y="312"/>
                    </a:lnTo>
                    <a:lnTo>
                      <a:pt x="630" y="312"/>
                    </a:lnTo>
                    <a:lnTo>
                      <a:pt x="630" y="306"/>
                    </a:lnTo>
                    <a:lnTo>
                      <a:pt x="636" y="306"/>
                    </a:lnTo>
                    <a:lnTo>
                      <a:pt x="636" y="300"/>
                    </a:lnTo>
                    <a:lnTo>
                      <a:pt x="636" y="294"/>
                    </a:lnTo>
                    <a:lnTo>
                      <a:pt x="630" y="294"/>
                    </a:lnTo>
                    <a:lnTo>
                      <a:pt x="630" y="288"/>
                    </a:lnTo>
                    <a:lnTo>
                      <a:pt x="624" y="288"/>
                    </a:lnTo>
                    <a:lnTo>
                      <a:pt x="618" y="288"/>
                    </a:lnTo>
                    <a:lnTo>
                      <a:pt x="618" y="282"/>
                    </a:lnTo>
                    <a:lnTo>
                      <a:pt x="618" y="288"/>
                    </a:lnTo>
                    <a:lnTo>
                      <a:pt x="612" y="288"/>
                    </a:lnTo>
                    <a:lnTo>
                      <a:pt x="606" y="288"/>
                    </a:lnTo>
                    <a:lnTo>
                      <a:pt x="600" y="288"/>
                    </a:lnTo>
                    <a:lnTo>
                      <a:pt x="600" y="294"/>
                    </a:lnTo>
                    <a:lnTo>
                      <a:pt x="594" y="294"/>
                    </a:lnTo>
                    <a:lnTo>
                      <a:pt x="588" y="294"/>
                    </a:lnTo>
                    <a:lnTo>
                      <a:pt x="582" y="294"/>
                    </a:lnTo>
                    <a:lnTo>
                      <a:pt x="576" y="294"/>
                    </a:lnTo>
                    <a:lnTo>
                      <a:pt x="570" y="294"/>
                    </a:lnTo>
                    <a:lnTo>
                      <a:pt x="570" y="300"/>
                    </a:lnTo>
                    <a:lnTo>
                      <a:pt x="570" y="294"/>
                    </a:lnTo>
                    <a:lnTo>
                      <a:pt x="564" y="300"/>
                    </a:lnTo>
                    <a:lnTo>
                      <a:pt x="564" y="294"/>
                    </a:lnTo>
                    <a:lnTo>
                      <a:pt x="558" y="294"/>
                    </a:lnTo>
                    <a:lnTo>
                      <a:pt x="558" y="300"/>
                    </a:lnTo>
                    <a:lnTo>
                      <a:pt x="552" y="300"/>
                    </a:lnTo>
                    <a:lnTo>
                      <a:pt x="546" y="300"/>
                    </a:lnTo>
                    <a:lnTo>
                      <a:pt x="546" y="306"/>
                    </a:lnTo>
                    <a:lnTo>
                      <a:pt x="540" y="306"/>
                    </a:lnTo>
                    <a:lnTo>
                      <a:pt x="534" y="312"/>
                    </a:lnTo>
                    <a:lnTo>
                      <a:pt x="534" y="318"/>
                    </a:lnTo>
                    <a:lnTo>
                      <a:pt x="528" y="318"/>
                    </a:lnTo>
                    <a:lnTo>
                      <a:pt x="528" y="324"/>
                    </a:lnTo>
                    <a:lnTo>
                      <a:pt x="522" y="324"/>
                    </a:lnTo>
                    <a:lnTo>
                      <a:pt x="522" y="330"/>
                    </a:lnTo>
                    <a:lnTo>
                      <a:pt x="516" y="330"/>
                    </a:lnTo>
                    <a:lnTo>
                      <a:pt x="510" y="330"/>
                    </a:lnTo>
                    <a:lnTo>
                      <a:pt x="510" y="336"/>
                    </a:lnTo>
                    <a:lnTo>
                      <a:pt x="504" y="336"/>
                    </a:lnTo>
                    <a:lnTo>
                      <a:pt x="504" y="342"/>
                    </a:lnTo>
                    <a:lnTo>
                      <a:pt x="504" y="348"/>
                    </a:lnTo>
                    <a:lnTo>
                      <a:pt x="498" y="348"/>
                    </a:lnTo>
                    <a:lnTo>
                      <a:pt x="492" y="348"/>
                    </a:lnTo>
                    <a:lnTo>
                      <a:pt x="486" y="354"/>
                    </a:lnTo>
                    <a:lnTo>
                      <a:pt x="486" y="360"/>
                    </a:lnTo>
                    <a:lnTo>
                      <a:pt x="486" y="354"/>
                    </a:lnTo>
                    <a:lnTo>
                      <a:pt x="480" y="354"/>
                    </a:lnTo>
                    <a:lnTo>
                      <a:pt x="480" y="360"/>
                    </a:lnTo>
                    <a:lnTo>
                      <a:pt x="474" y="360"/>
                    </a:lnTo>
                    <a:lnTo>
                      <a:pt x="474" y="366"/>
                    </a:lnTo>
                    <a:lnTo>
                      <a:pt x="468" y="366"/>
                    </a:lnTo>
                    <a:lnTo>
                      <a:pt x="468" y="372"/>
                    </a:lnTo>
                    <a:lnTo>
                      <a:pt x="462" y="372"/>
                    </a:lnTo>
                    <a:lnTo>
                      <a:pt x="462" y="378"/>
                    </a:lnTo>
                    <a:lnTo>
                      <a:pt x="456" y="378"/>
                    </a:lnTo>
                    <a:lnTo>
                      <a:pt x="450" y="378"/>
                    </a:lnTo>
                    <a:lnTo>
                      <a:pt x="444" y="378"/>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US" sz="900" dirty="0">
                  <a:solidFill>
                    <a:srgbClr val="000000"/>
                  </a:solidFill>
                </a:endParaRPr>
              </a:p>
            </p:txBody>
          </p:sp>
          <p:sp>
            <p:nvSpPr>
              <p:cNvPr id="78" name="Freeform 90"/>
              <p:cNvSpPr>
                <a:spLocks/>
              </p:cNvSpPr>
              <p:nvPr/>
            </p:nvSpPr>
            <p:spPr bwMode="gray">
              <a:xfrm>
                <a:off x="5397927" y="2962537"/>
                <a:ext cx="455491" cy="183462"/>
              </a:xfrm>
              <a:custGeom>
                <a:avLst/>
                <a:gdLst>
                  <a:gd name="T0" fmla="*/ 6 w 354"/>
                  <a:gd name="T1" fmla="*/ 66 h 144"/>
                  <a:gd name="T2" fmla="*/ 24 w 354"/>
                  <a:gd name="T3" fmla="*/ 66 h 144"/>
                  <a:gd name="T4" fmla="*/ 12 w 354"/>
                  <a:gd name="T5" fmla="*/ 48 h 144"/>
                  <a:gd name="T6" fmla="*/ 12 w 354"/>
                  <a:gd name="T7" fmla="*/ 42 h 144"/>
                  <a:gd name="T8" fmla="*/ 18 w 354"/>
                  <a:gd name="T9" fmla="*/ 30 h 144"/>
                  <a:gd name="T10" fmla="*/ 36 w 354"/>
                  <a:gd name="T11" fmla="*/ 18 h 144"/>
                  <a:gd name="T12" fmla="*/ 60 w 354"/>
                  <a:gd name="T13" fmla="*/ 12 h 144"/>
                  <a:gd name="T14" fmla="*/ 84 w 354"/>
                  <a:gd name="T15" fmla="*/ 18 h 144"/>
                  <a:gd name="T16" fmla="*/ 96 w 354"/>
                  <a:gd name="T17" fmla="*/ 24 h 144"/>
                  <a:gd name="T18" fmla="*/ 108 w 354"/>
                  <a:gd name="T19" fmla="*/ 18 h 144"/>
                  <a:gd name="T20" fmla="*/ 126 w 354"/>
                  <a:gd name="T21" fmla="*/ 24 h 144"/>
                  <a:gd name="T22" fmla="*/ 138 w 354"/>
                  <a:gd name="T23" fmla="*/ 18 h 144"/>
                  <a:gd name="T24" fmla="*/ 138 w 354"/>
                  <a:gd name="T25" fmla="*/ 36 h 144"/>
                  <a:gd name="T26" fmla="*/ 150 w 354"/>
                  <a:gd name="T27" fmla="*/ 30 h 144"/>
                  <a:gd name="T28" fmla="*/ 156 w 354"/>
                  <a:gd name="T29" fmla="*/ 30 h 144"/>
                  <a:gd name="T30" fmla="*/ 168 w 354"/>
                  <a:gd name="T31" fmla="*/ 48 h 144"/>
                  <a:gd name="T32" fmla="*/ 180 w 354"/>
                  <a:gd name="T33" fmla="*/ 30 h 144"/>
                  <a:gd name="T34" fmla="*/ 198 w 354"/>
                  <a:gd name="T35" fmla="*/ 30 h 144"/>
                  <a:gd name="T36" fmla="*/ 198 w 354"/>
                  <a:gd name="T37" fmla="*/ 24 h 144"/>
                  <a:gd name="T38" fmla="*/ 204 w 354"/>
                  <a:gd name="T39" fmla="*/ 18 h 144"/>
                  <a:gd name="T40" fmla="*/ 216 w 354"/>
                  <a:gd name="T41" fmla="*/ 12 h 144"/>
                  <a:gd name="T42" fmla="*/ 222 w 354"/>
                  <a:gd name="T43" fmla="*/ 24 h 144"/>
                  <a:gd name="T44" fmla="*/ 234 w 354"/>
                  <a:gd name="T45" fmla="*/ 6 h 144"/>
                  <a:gd name="T46" fmla="*/ 246 w 354"/>
                  <a:gd name="T47" fmla="*/ 12 h 144"/>
                  <a:gd name="T48" fmla="*/ 264 w 354"/>
                  <a:gd name="T49" fmla="*/ 6 h 144"/>
                  <a:gd name="T50" fmla="*/ 288 w 354"/>
                  <a:gd name="T51" fmla="*/ 0 h 144"/>
                  <a:gd name="T52" fmla="*/ 288 w 354"/>
                  <a:gd name="T53" fmla="*/ 6 h 144"/>
                  <a:gd name="T54" fmla="*/ 294 w 354"/>
                  <a:gd name="T55" fmla="*/ 6 h 144"/>
                  <a:gd name="T56" fmla="*/ 282 w 354"/>
                  <a:gd name="T57" fmla="*/ 12 h 144"/>
                  <a:gd name="T58" fmla="*/ 288 w 354"/>
                  <a:gd name="T59" fmla="*/ 24 h 144"/>
                  <a:gd name="T60" fmla="*/ 276 w 354"/>
                  <a:gd name="T61" fmla="*/ 42 h 144"/>
                  <a:gd name="T62" fmla="*/ 294 w 354"/>
                  <a:gd name="T63" fmla="*/ 48 h 144"/>
                  <a:gd name="T64" fmla="*/ 312 w 354"/>
                  <a:gd name="T65" fmla="*/ 54 h 144"/>
                  <a:gd name="T66" fmla="*/ 330 w 354"/>
                  <a:gd name="T67" fmla="*/ 66 h 144"/>
                  <a:gd name="T68" fmla="*/ 336 w 354"/>
                  <a:gd name="T69" fmla="*/ 72 h 144"/>
                  <a:gd name="T70" fmla="*/ 330 w 354"/>
                  <a:gd name="T71" fmla="*/ 90 h 144"/>
                  <a:gd name="T72" fmla="*/ 336 w 354"/>
                  <a:gd name="T73" fmla="*/ 90 h 144"/>
                  <a:gd name="T74" fmla="*/ 354 w 354"/>
                  <a:gd name="T75" fmla="*/ 102 h 144"/>
                  <a:gd name="T76" fmla="*/ 354 w 354"/>
                  <a:gd name="T77" fmla="*/ 120 h 144"/>
                  <a:gd name="T78" fmla="*/ 348 w 354"/>
                  <a:gd name="T79" fmla="*/ 120 h 144"/>
                  <a:gd name="T80" fmla="*/ 330 w 354"/>
                  <a:gd name="T81" fmla="*/ 132 h 144"/>
                  <a:gd name="T82" fmla="*/ 312 w 354"/>
                  <a:gd name="T83" fmla="*/ 144 h 144"/>
                  <a:gd name="T84" fmla="*/ 294 w 354"/>
                  <a:gd name="T85" fmla="*/ 132 h 144"/>
                  <a:gd name="T86" fmla="*/ 282 w 354"/>
                  <a:gd name="T87" fmla="*/ 126 h 144"/>
                  <a:gd name="T88" fmla="*/ 276 w 354"/>
                  <a:gd name="T89" fmla="*/ 126 h 144"/>
                  <a:gd name="T90" fmla="*/ 252 w 354"/>
                  <a:gd name="T91" fmla="*/ 120 h 144"/>
                  <a:gd name="T92" fmla="*/ 228 w 354"/>
                  <a:gd name="T93" fmla="*/ 126 h 144"/>
                  <a:gd name="T94" fmla="*/ 216 w 354"/>
                  <a:gd name="T95" fmla="*/ 120 h 144"/>
                  <a:gd name="T96" fmla="*/ 192 w 354"/>
                  <a:gd name="T97" fmla="*/ 126 h 144"/>
                  <a:gd name="T98" fmla="*/ 174 w 354"/>
                  <a:gd name="T99" fmla="*/ 114 h 144"/>
                  <a:gd name="T100" fmla="*/ 150 w 354"/>
                  <a:gd name="T101" fmla="*/ 120 h 144"/>
                  <a:gd name="T102" fmla="*/ 120 w 354"/>
                  <a:gd name="T103" fmla="*/ 120 h 144"/>
                  <a:gd name="T104" fmla="*/ 96 w 354"/>
                  <a:gd name="T105" fmla="*/ 120 h 144"/>
                  <a:gd name="T106" fmla="*/ 72 w 354"/>
                  <a:gd name="T107" fmla="*/ 126 h 144"/>
                  <a:gd name="T108" fmla="*/ 60 w 354"/>
                  <a:gd name="T109" fmla="*/ 120 h 144"/>
                  <a:gd name="T110" fmla="*/ 36 w 354"/>
                  <a:gd name="T111" fmla="*/ 114 h 144"/>
                  <a:gd name="T112" fmla="*/ 18 w 354"/>
                  <a:gd name="T113" fmla="*/ 102 h 144"/>
                  <a:gd name="T114" fmla="*/ 0 w 354"/>
                  <a:gd name="T115" fmla="*/ 10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4" h="144">
                    <a:moveTo>
                      <a:pt x="0" y="84"/>
                    </a:moveTo>
                    <a:lnTo>
                      <a:pt x="6" y="84"/>
                    </a:lnTo>
                    <a:lnTo>
                      <a:pt x="6" y="78"/>
                    </a:lnTo>
                    <a:lnTo>
                      <a:pt x="6" y="72"/>
                    </a:lnTo>
                    <a:lnTo>
                      <a:pt x="6" y="66"/>
                    </a:lnTo>
                    <a:lnTo>
                      <a:pt x="12" y="66"/>
                    </a:lnTo>
                    <a:lnTo>
                      <a:pt x="12" y="72"/>
                    </a:lnTo>
                    <a:lnTo>
                      <a:pt x="18" y="72"/>
                    </a:lnTo>
                    <a:lnTo>
                      <a:pt x="18" y="66"/>
                    </a:lnTo>
                    <a:lnTo>
                      <a:pt x="24" y="66"/>
                    </a:lnTo>
                    <a:lnTo>
                      <a:pt x="18" y="66"/>
                    </a:lnTo>
                    <a:lnTo>
                      <a:pt x="18" y="60"/>
                    </a:lnTo>
                    <a:lnTo>
                      <a:pt x="12" y="60"/>
                    </a:lnTo>
                    <a:lnTo>
                      <a:pt x="12" y="54"/>
                    </a:lnTo>
                    <a:lnTo>
                      <a:pt x="12" y="48"/>
                    </a:lnTo>
                    <a:lnTo>
                      <a:pt x="6" y="48"/>
                    </a:lnTo>
                    <a:lnTo>
                      <a:pt x="12" y="48"/>
                    </a:lnTo>
                    <a:lnTo>
                      <a:pt x="12" y="42"/>
                    </a:lnTo>
                    <a:lnTo>
                      <a:pt x="18" y="42"/>
                    </a:lnTo>
                    <a:lnTo>
                      <a:pt x="12" y="42"/>
                    </a:lnTo>
                    <a:lnTo>
                      <a:pt x="18" y="42"/>
                    </a:lnTo>
                    <a:lnTo>
                      <a:pt x="18" y="36"/>
                    </a:lnTo>
                    <a:lnTo>
                      <a:pt x="12" y="36"/>
                    </a:lnTo>
                    <a:lnTo>
                      <a:pt x="18" y="36"/>
                    </a:lnTo>
                    <a:lnTo>
                      <a:pt x="18" y="30"/>
                    </a:lnTo>
                    <a:lnTo>
                      <a:pt x="24" y="30"/>
                    </a:lnTo>
                    <a:lnTo>
                      <a:pt x="24" y="24"/>
                    </a:lnTo>
                    <a:lnTo>
                      <a:pt x="30" y="24"/>
                    </a:lnTo>
                    <a:lnTo>
                      <a:pt x="30" y="18"/>
                    </a:lnTo>
                    <a:lnTo>
                      <a:pt x="36" y="18"/>
                    </a:lnTo>
                    <a:lnTo>
                      <a:pt x="42" y="18"/>
                    </a:lnTo>
                    <a:lnTo>
                      <a:pt x="48" y="18"/>
                    </a:lnTo>
                    <a:lnTo>
                      <a:pt x="54" y="18"/>
                    </a:lnTo>
                    <a:lnTo>
                      <a:pt x="54" y="12"/>
                    </a:lnTo>
                    <a:lnTo>
                      <a:pt x="60" y="12"/>
                    </a:lnTo>
                    <a:lnTo>
                      <a:pt x="66" y="12"/>
                    </a:lnTo>
                    <a:lnTo>
                      <a:pt x="72" y="12"/>
                    </a:lnTo>
                    <a:lnTo>
                      <a:pt x="78" y="12"/>
                    </a:lnTo>
                    <a:lnTo>
                      <a:pt x="84" y="12"/>
                    </a:lnTo>
                    <a:lnTo>
                      <a:pt x="84" y="18"/>
                    </a:lnTo>
                    <a:lnTo>
                      <a:pt x="84" y="24"/>
                    </a:lnTo>
                    <a:lnTo>
                      <a:pt x="84" y="18"/>
                    </a:lnTo>
                    <a:lnTo>
                      <a:pt x="90" y="18"/>
                    </a:lnTo>
                    <a:lnTo>
                      <a:pt x="96" y="18"/>
                    </a:lnTo>
                    <a:lnTo>
                      <a:pt x="96" y="24"/>
                    </a:lnTo>
                    <a:lnTo>
                      <a:pt x="96" y="18"/>
                    </a:lnTo>
                    <a:lnTo>
                      <a:pt x="102" y="18"/>
                    </a:lnTo>
                    <a:lnTo>
                      <a:pt x="102" y="24"/>
                    </a:lnTo>
                    <a:lnTo>
                      <a:pt x="102" y="18"/>
                    </a:lnTo>
                    <a:lnTo>
                      <a:pt x="108" y="18"/>
                    </a:lnTo>
                    <a:lnTo>
                      <a:pt x="114" y="24"/>
                    </a:lnTo>
                    <a:lnTo>
                      <a:pt x="120" y="24"/>
                    </a:lnTo>
                    <a:lnTo>
                      <a:pt x="126" y="24"/>
                    </a:lnTo>
                    <a:lnTo>
                      <a:pt x="126" y="18"/>
                    </a:lnTo>
                    <a:lnTo>
                      <a:pt x="126" y="24"/>
                    </a:lnTo>
                    <a:lnTo>
                      <a:pt x="126" y="18"/>
                    </a:lnTo>
                    <a:lnTo>
                      <a:pt x="132" y="18"/>
                    </a:lnTo>
                    <a:lnTo>
                      <a:pt x="132" y="24"/>
                    </a:lnTo>
                    <a:lnTo>
                      <a:pt x="132" y="18"/>
                    </a:lnTo>
                    <a:lnTo>
                      <a:pt x="138" y="18"/>
                    </a:lnTo>
                    <a:lnTo>
                      <a:pt x="138" y="24"/>
                    </a:lnTo>
                    <a:lnTo>
                      <a:pt x="144" y="24"/>
                    </a:lnTo>
                    <a:lnTo>
                      <a:pt x="144" y="30"/>
                    </a:lnTo>
                    <a:lnTo>
                      <a:pt x="138" y="30"/>
                    </a:lnTo>
                    <a:lnTo>
                      <a:pt x="138" y="36"/>
                    </a:lnTo>
                    <a:lnTo>
                      <a:pt x="144" y="36"/>
                    </a:lnTo>
                    <a:lnTo>
                      <a:pt x="144" y="30"/>
                    </a:lnTo>
                    <a:lnTo>
                      <a:pt x="150" y="30"/>
                    </a:lnTo>
                    <a:lnTo>
                      <a:pt x="150" y="36"/>
                    </a:lnTo>
                    <a:lnTo>
                      <a:pt x="150" y="30"/>
                    </a:lnTo>
                    <a:lnTo>
                      <a:pt x="150" y="36"/>
                    </a:lnTo>
                    <a:lnTo>
                      <a:pt x="144" y="36"/>
                    </a:lnTo>
                    <a:lnTo>
                      <a:pt x="150" y="36"/>
                    </a:lnTo>
                    <a:lnTo>
                      <a:pt x="156" y="36"/>
                    </a:lnTo>
                    <a:lnTo>
                      <a:pt x="156" y="30"/>
                    </a:lnTo>
                    <a:lnTo>
                      <a:pt x="162" y="30"/>
                    </a:lnTo>
                    <a:lnTo>
                      <a:pt x="162" y="36"/>
                    </a:lnTo>
                    <a:lnTo>
                      <a:pt x="162" y="42"/>
                    </a:lnTo>
                    <a:lnTo>
                      <a:pt x="162" y="48"/>
                    </a:lnTo>
                    <a:lnTo>
                      <a:pt x="168" y="48"/>
                    </a:lnTo>
                    <a:lnTo>
                      <a:pt x="174" y="48"/>
                    </a:lnTo>
                    <a:lnTo>
                      <a:pt x="174" y="42"/>
                    </a:lnTo>
                    <a:lnTo>
                      <a:pt x="174" y="36"/>
                    </a:lnTo>
                    <a:lnTo>
                      <a:pt x="180" y="36"/>
                    </a:lnTo>
                    <a:lnTo>
                      <a:pt x="180" y="30"/>
                    </a:lnTo>
                    <a:lnTo>
                      <a:pt x="180" y="36"/>
                    </a:lnTo>
                    <a:lnTo>
                      <a:pt x="180" y="30"/>
                    </a:lnTo>
                    <a:lnTo>
                      <a:pt x="186" y="30"/>
                    </a:lnTo>
                    <a:lnTo>
                      <a:pt x="192" y="30"/>
                    </a:lnTo>
                    <a:lnTo>
                      <a:pt x="198" y="30"/>
                    </a:lnTo>
                    <a:lnTo>
                      <a:pt x="204" y="30"/>
                    </a:lnTo>
                    <a:lnTo>
                      <a:pt x="204" y="24"/>
                    </a:lnTo>
                    <a:lnTo>
                      <a:pt x="204" y="30"/>
                    </a:lnTo>
                    <a:lnTo>
                      <a:pt x="198" y="30"/>
                    </a:lnTo>
                    <a:lnTo>
                      <a:pt x="198" y="24"/>
                    </a:lnTo>
                    <a:lnTo>
                      <a:pt x="204" y="24"/>
                    </a:lnTo>
                    <a:lnTo>
                      <a:pt x="204" y="18"/>
                    </a:lnTo>
                    <a:lnTo>
                      <a:pt x="204" y="24"/>
                    </a:lnTo>
                    <a:lnTo>
                      <a:pt x="198" y="24"/>
                    </a:lnTo>
                    <a:lnTo>
                      <a:pt x="204" y="18"/>
                    </a:lnTo>
                    <a:lnTo>
                      <a:pt x="204" y="12"/>
                    </a:lnTo>
                    <a:lnTo>
                      <a:pt x="210" y="12"/>
                    </a:lnTo>
                    <a:lnTo>
                      <a:pt x="210" y="6"/>
                    </a:lnTo>
                    <a:lnTo>
                      <a:pt x="216" y="6"/>
                    </a:lnTo>
                    <a:lnTo>
                      <a:pt x="216" y="12"/>
                    </a:lnTo>
                    <a:lnTo>
                      <a:pt x="216" y="18"/>
                    </a:lnTo>
                    <a:lnTo>
                      <a:pt x="210" y="18"/>
                    </a:lnTo>
                    <a:lnTo>
                      <a:pt x="216" y="18"/>
                    </a:lnTo>
                    <a:lnTo>
                      <a:pt x="216" y="24"/>
                    </a:lnTo>
                    <a:lnTo>
                      <a:pt x="222" y="24"/>
                    </a:lnTo>
                    <a:lnTo>
                      <a:pt x="222" y="18"/>
                    </a:lnTo>
                    <a:lnTo>
                      <a:pt x="228" y="18"/>
                    </a:lnTo>
                    <a:lnTo>
                      <a:pt x="228" y="12"/>
                    </a:lnTo>
                    <a:lnTo>
                      <a:pt x="228" y="6"/>
                    </a:lnTo>
                    <a:lnTo>
                      <a:pt x="234" y="6"/>
                    </a:lnTo>
                    <a:lnTo>
                      <a:pt x="234" y="0"/>
                    </a:lnTo>
                    <a:lnTo>
                      <a:pt x="240" y="0"/>
                    </a:lnTo>
                    <a:lnTo>
                      <a:pt x="246" y="0"/>
                    </a:lnTo>
                    <a:lnTo>
                      <a:pt x="246" y="6"/>
                    </a:lnTo>
                    <a:lnTo>
                      <a:pt x="246" y="12"/>
                    </a:lnTo>
                    <a:lnTo>
                      <a:pt x="252" y="12"/>
                    </a:lnTo>
                    <a:lnTo>
                      <a:pt x="258" y="6"/>
                    </a:lnTo>
                    <a:lnTo>
                      <a:pt x="258" y="0"/>
                    </a:lnTo>
                    <a:lnTo>
                      <a:pt x="264" y="0"/>
                    </a:lnTo>
                    <a:lnTo>
                      <a:pt x="264" y="6"/>
                    </a:lnTo>
                    <a:lnTo>
                      <a:pt x="264" y="0"/>
                    </a:lnTo>
                    <a:lnTo>
                      <a:pt x="270" y="0"/>
                    </a:lnTo>
                    <a:lnTo>
                      <a:pt x="276" y="0"/>
                    </a:lnTo>
                    <a:lnTo>
                      <a:pt x="282" y="0"/>
                    </a:lnTo>
                    <a:lnTo>
                      <a:pt x="288" y="0"/>
                    </a:lnTo>
                    <a:lnTo>
                      <a:pt x="288" y="6"/>
                    </a:lnTo>
                    <a:lnTo>
                      <a:pt x="288" y="0"/>
                    </a:lnTo>
                    <a:lnTo>
                      <a:pt x="288" y="6"/>
                    </a:lnTo>
                    <a:lnTo>
                      <a:pt x="288" y="0"/>
                    </a:lnTo>
                    <a:lnTo>
                      <a:pt x="288" y="6"/>
                    </a:lnTo>
                    <a:lnTo>
                      <a:pt x="288" y="0"/>
                    </a:lnTo>
                    <a:lnTo>
                      <a:pt x="288" y="6"/>
                    </a:lnTo>
                    <a:lnTo>
                      <a:pt x="288" y="0"/>
                    </a:lnTo>
                    <a:lnTo>
                      <a:pt x="294" y="0"/>
                    </a:lnTo>
                    <a:lnTo>
                      <a:pt x="294" y="6"/>
                    </a:lnTo>
                    <a:lnTo>
                      <a:pt x="288" y="6"/>
                    </a:lnTo>
                    <a:lnTo>
                      <a:pt x="294" y="6"/>
                    </a:lnTo>
                    <a:lnTo>
                      <a:pt x="288" y="6"/>
                    </a:lnTo>
                    <a:lnTo>
                      <a:pt x="288" y="12"/>
                    </a:lnTo>
                    <a:lnTo>
                      <a:pt x="282" y="12"/>
                    </a:lnTo>
                    <a:lnTo>
                      <a:pt x="282" y="18"/>
                    </a:lnTo>
                    <a:lnTo>
                      <a:pt x="276" y="18"/>
                    </a:lnTo>
                    <a:lnTo>
                      <a:pt x="276" y="24"/>
                    </a:lnTo>
                    <a:lnTo>
                      <a:pt x="282" y="24"/>
                    </a:lnTo>
                    <a:lnTo>
                      <a:pt x="288" y="24"/>
                    </a:lnTo>
                    <a:lnTo>
                      <a:pt x="282" y="24"/>
                    </a:lnTo>
                    <a:lnTo>
                      <a:pt x="282" y="30"/>
                    </a:lnTo>
                    <a:lnTo>
                      <a:pt x="282" y="36"/>
                    </a:lnTo>
                    <a:lnTo>
                      <a:pt x="276" y="36"/>
                    </a:lnTo>
                    <a:lnTo>
                      <a:pt x="276" y="42"/>
                    </a:lnTo>
                    <a:lnTo>
                      <a:pt x="282" y="48"/>
                    </a:lnTo>
                    <a:lnTo>
                      <a:pt x="282" y="54"/>
                    </a:lnTo>
                    <a:lnTo>
                      <a:pt x="282" y="48"/>
                    </a:lnTo>
                    <a:lnTo>
                      <a:pt x="288" y="48"/>
                    </a:lnTo>
                    <a:lnTo>
                      <a:pt x="294" y="48"/>
                    </a:lnTo>
                    <a:lnTo>
                      <a:pt x="300" y="48"/>
                    </a:lnTo>
                    <a:lnTo>
                      <a:pt x="306" y="42"/>
                    </a:lnTo>
                    <a:lnTo>
                      <a:pt x="312" y="42"/>
                    </a:lnTo>
                    <a:lnTo>
                      <a:pt x="312" y="48"/>
                    </a:lnTo>
                    <a:lnTo>
                      <a:pt x="312" y="54"/>
                    </a:lnTo>
                    <a:lnTo>
                      <a:pt x="318" y="54"/>
                    </a:lnTo>
                    <a:lnTo>
                      <a:pt x="324" y="54"/>
                    </a:lnTo>
                    <a:lnTo>
                      <a:pt x="324" y="60"/>
                    </a:lnTo>
                    <a:lnTo>
                      <a:pt x="330" y="60"/>
                    </a:lnTo>
                    <a:lnTo>
                      <a:pt x="330" y="66"/>
                    </a:lnTo>
                    <a:lnTo>
                      <a:pt x="336" y="66"/>
                    </a:lnTo>
                    <a:lnTo>
                      <a:pt x="342" y="60"/>
                    </a:lnTo>
                    <a:lnTo>
                      <a:pt x="342" y="66"/>
                    </a:lnTo>
                    <a:lnTo>
                      <a:pt x="336" y="66"/>
                    </a:lnTo>
                    <a:lnTo>
                      <a:pt x="336" y="72"/>
                    </a:lnTo>
                    <a:lnTo>
                      <a:pt x="336" y="78"/>
                    </a:lnTo>
                    <a:lnTo>
                      <a:pt x="330" y="78"/>
                    </a:lnTo>
                    <a:lnTo>
                      <a:pt x="324" y="84"/>
                    </a:lnTo>
                    <a:lnTo>
                      <a:pt x="330" y="84"/>
                    </a:lnTo>
                    <a:lnTo>
                      <a:pt x="330" y="90"/>
                    </a:lnTo>
                    <a:lnTo>
                      <a:pt x="336" y="90"/>
                    </a:lnTo>
                    <a:lnTo>
                      <a:pt x="336" y="84"/>
                    </a:lnTo>
                    <a:lnTo>
                      <a:pt x="336" y="90"/>
                    </a:lnTo>
                    <a:lnTo>
                      <a:pt x="336" y="84"/>
                    </a:lnTo>
                    <a:lnTo>
                      <a:pt x="336" y="90"/>
                    </a:lnTo>
                    <a:lnTo>
                      <a:pt x="342" y="90"/>
                    </a:lnTo>
                    <a:lnTo>
                      <a:pt x="342" y="96"/>
                    </a:lnTo>
                    <a:lnTo>
                      <a:pt x="348" y="96"/>
                    </a:lnTo>
                    <a:lnTo>
                      <a:pt x="348" y="102"/>
                    </a:lnTo>
                    <a:lnTo>
                      <a:pt x="354" y="102"/>
                    </a:lnTo>
                    <a:lnTo>
                      <a:pt x="354" y="108"/>
                    </a:lnTo>
                    <a:lnTo>
                      <a:pt x="348" y="108"/>
                    </a:lnTo>
                    <a:lnTo>
                      <a:pt x="348" y="114"/>
                    </a:lnTo>
                    <a:lnTo>
                      <a:pt x="354" y="114"/>
                    </a:lnTo>
                    <a:lnTo>
                      <a:pt x="354" y="120"/>
                    </a:lnTo>
                    <a:lnTo>
                      <a:pt x="354" y="114"/>
                    </a:lnTo>
                    <a:lnTo>
                      <a:pt x="348" y="114"/>
                    </a:lnTo>
                    <a:lnTo>
                      <a:pt x="348" y="120"/>
                    </a:lnTo>
                    <a:lnTo>
                      <a:pt x="348" y="114"/>
                    </a:lnTo>
                    <a:lnTo>
                      <a:pt x="348" y="120"/>
                    </a:lnTo>
                    <a:lnTo>
                      <a:pt x="342" y="120"/>
                    </a:lnTo>
                    <a:lnTo>
                      <a:pt x="336" y="120"/>
                    </a:lnTo>
                    <a:lnTo>
                      <a:pt x="336" y="126"/>
                    </a:lnTo>
                    <a:lnTo>
                      <a:pt x="330" y="126"/>
                    </a:lnTo>
                    <a:lnTo>
                      <a:pt x="330" y="132"/>
                    </a:lnTo>
                    <a:lnTo>
                      <a:pt x="324" y="132"/>
                    </a:lnTo>
                    <a:lnTo>
                      <a:pt x="318" y="132"/>
                    </a:lnTo>
                    <a:lnTo>
                      <a:pt x="318" y="138"/>
                    </a:lnTo>
                    <a:lnTo>
                      <a:pt x="312" y="138"/>
                    </a:lnTo>
                    <a:lnTo>
                      <a:pt x="312" y="144"/>
                    </a:lnTo>
                    <a:lnTo>
                      <a:pt x="306" y="144"/>
                    </a:lnTo>
                    <a:lnTo>
                      <a:pt x="306" y="138"/>
                    </a:lnTo>
                    <a:lnTo>
                      <a:pt x="300" y="138"/>
                    </a:lnTo>
                    <a:lnTo>
                      <a:pt x="300" y="132"/>
                    </a:lnTo>
                    <a:lnTo>
                      <a:pt x="294" y="132"/>
                    </a:lnTo>
                    <a:lnTo>
                      <a:pt x="294" y="138"/>
                    </a:lnTo>
                    <a:lnTo>
                      <a:pt x="294" y="132"/>
                    </a:lnTo>
                    <a:lnTo>
                      <a:pt x="288" y="132"/>
                    </a:lnTo>
                    <a:lnTo>
                      <a:pt x="282" y="132"/>
                    </a:lnTo>
                    <a:lnTo>
                      <a:pt x="282" y="126"/>
                    </a:lnTo>
                    <a:lnTo>
                      <a:pt x="282" y="132"/>
                    </a:lnTo>
                    <a:lnTo>
                      <a:pt x="288" y="132"/>
                    </a:lnTo>
                    <a:lnTo>
                      <a:pt x="288" y="126"/>
                    </a:lnTo>
                    <a:lnTo>
                      <a:pt x="282" y="126"/>
                    </a:lnTo>
                    <a:lnTo>
                      <a:pt x="276" y="126"/>
                    </a:lnTo>
                    <a:lnTo>
                      <a:pt x="276" y="120"/>
                    </a:lnTo>
                    <a:lnTo>
                      <a:pt x="270" y="120"/>
                    </a:lnTo>
                    <a:lnTo>
                      <a:pt x="264" y="120"/>
                    </a:lnTo>
                    <a:lnTo>
                      <a:pt x="258" y="120"/>
                    </a:lnTo>
                    <a:lnTo>
                      <a:pt x="252" y="120"/>
                    </a:lnTo>
                    <a:lnTo>
                      <a:pt x="246" y="120"/>
                    </a:lnTo>
                    <a:lnTo>
                      <a:pt x="240" y="120"/>
                    </a:lnTo>
                    <a:lnTo>
                      <a:pt x="234" y="120"/>
                    </a:lnTo>
                    <a:lnTo>
                      <a:pt x="228" y="120"/>
                    </a:lnTo>
                    <a:lnTo>
                      <a:pt x="228" y="126"/>
                    </a:lnTo>
                    <a:lnTo>
                      <a:pt x="222" y="126"/>
                    </a:lnTo>
                    <a:lnTo>
                      <a:pt x="216" y="126"/>
                    </a:lnTo>
                    <a:lnTo>
                      <a:pt x="210" y="126"/>
                    </a:lnTo>
                    <a:lnTo>
                      <a:pt x="210" y="120"/>
                    </a:lnTo>
                    <a:lnTo>
                      <a:pt x="216" y="120"/>
                    </a:lnTo>
                    <a:lnTo>
                      <a:pt x="210" y="120"/>
                    </a:lnTo>
                    <a:lnTo>
                      <a:pt x="204" y="120"/>
                    </a:lnTo>
                    <a:lnTo>
                      <a:pt x="204" y="126"/>
                    </a:lnTo>
                    <a:lnTo>
                      <a:pt x="198" y="126"/>
                    </a:lnTo>
                    <a:lnTo>
                      <a:pt x="192" y="126"/>
                    </a:lnTo>
                    <a:lnTo>
                      <a:pt x="192" y="120"/>
                    </a:lnTo>
                    <a:lnTo>
                      <a:pt x="186" y="120"/>
                    </a:lnTo>
                    <a:lnTo>
                      <a:pt x="180" y="120"/>
                    </a:lnTo>
                    <a:lnTo>
                      <a:pt x="174" y="120"/>
                    </a:lnTo>
                    <a:lnTo>
                      <a:pt x="174" y="114"/>
                    </a:lnTo>
                    <a:lnTo>
                      <a:pt x="168" y="114"/>
                    </a:lnTo>
                    <a:lnTo>
                      <a:pt x="168" y="120"/>
                    </a:lnTo>
                    <a:lnTo>
                      <a:pt x="162" y="120"/>
                    </a:lnTo>
                    <a:lnTo>
                      <a:pt x="156" y="120"/>
                    </a:lnTo>
                    <a:lnTo>
                      <a:pt x="150" y="120"/>
                    </a:lnTo>
                    <a:lnTo>
                      <a:pt x="144" y="120"/>
                    </a:lnTo>
                    <a:lnTo>
                      <a:pt x="138" y="120"/>
                    </a:lnTo>
                    <a:lnTo>
                      <a:pt x="132" y="120"/>
                    </a:lnTo>
                    <a:lnTo>
                      <a:pt x="126" y="120"/>
                    </a:lnTo>
                    <a:lnTo>
                      <a:pt x="120" y="120"/>
                    </a:lnTo>
                    <a:lnTo>
                      <a:pt x="114" y="120"/>
                    </a:lnTo>
                    <a:lnTo>
                      <a:pt x="108" y="120"/>
                    </a:lnTo>
                    <a:lnTo>
                      <a:pt x="108" y="126"/>
                    </a:lnTo>
                    <a:lnTo>
                      <a:pt x="102" y="120"/>
                    </a:lnTo>
                    <a:lnTo>
                      <a:pt x="96" y="120"/>
                    </a:lnTo>
                    <a:lnTo>
                      <a:pt x="90" y="120"/>
                    </a:lnTo>
                    <a:lnTo>
                      <a:pt x="84" y="120"/>
                    </a:lnTo>
                    <a:lnTo>
                      <a:pt x="78" y="120"/>
                    </a:lnTo>
                    <a:lnTo>
                      <a:pt x="78" y="126"/>
                    </a:lnTo>
                    <a:lnTo>
                      <a:pt x="72" y="126"/>
                    </a:lnTo>
                    <a:lnTo>
                      <a:pt x="72" y="120"/>
                    </a:lnTo>
                    <a:lnTo>
                      <a:pt x="72" y="126"/>
                    </a:lnTo>
                    <a:lnTo>
                      <a:pt x="72" y="120"/>
                    </a:lnTo>
                    <a:lnTo>
                      <a:pt x="66" y="120"/>
                    </a:lnTo>
                    <a:lnTo>
                      <a:pt x="60" y="120"/>
                    </a:lnTo>
                    <a:lnTo>
                      <a:pt x="54" y="120"/>
                    </a:lnTo>
                    <a:lnTo>
                      <a:pt x="48" y="120"/>
                    </a:lnTo>
                    <a:lnTo>
                      <a:pt x="48" y="114"/>
                    </a:lnTo>
                    <a:lnTo>
                      <a:pt x="42" y="114"/>
                    </a:lnTo>
                    <a:lnTo>
                      <a:pt x="36" y="114"/>
                    </a:lnTo>
                    <a:lnTo>
                      <a:pt x="30" y="114"/>
                    </a:lnTo>
                    <a:lnTo>
                      <a:pt x="30" y="108"/>
                    </a:lnTo>
                    <a:lnTo>
                      <a:pt x="24" y="108"/>
                    </a:lnTo>
                    <a:lnTo>
                      <a:pt x="18" y="108"/>
                    </a:lnTo>
                    <a:lnTo>
                      <a:pt x="18" y="102"/>
                    </a:lnTo>
                    <a:lnTo>
                      <a:pt x="12" y="102"/>
                    </a:lnTo>
                    <a:lnTo>
                      <a:pt x="6" y="102"/>
                    </a:lnTo>
                    <a:lnTo>
                      <a:pt x="6" y="108"/>
                    </a:lnTo>
                    <a:lnTo>
                      <a:pt x="0" y="108"/>
                    </a:lnTo>
                    <a:lnTo>
                      <a:pt x="0" y="102"/>
                    </a:lnTo>
                    <a:lnTo>
                      <a:pt x="0" y="96"/>
                    </a:lnTo>
                    <a:lnTo>
                      <a:pt x="0" y="90"/>
                    </a:lnTo>
                    <a:lnTo>
                      <a:pt x="0" y="84"/>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US" sz="800" dirty="0">
                  <a:solidFill>
                    <a:srgbClr val="000000"/>
                  </a:solidFill>
                </a:endParaRPr>
              </a:p>
            </p:txBody>
          </p:sp>
          <p:sp>
            <p:nvSpPr>
              <p:cNvPr id="79" name="Freeform 91"/>
              <p:cNvSpPr>
                <a:spLocks/>
              </p:cNvSpPr>
              <p:nvPr/>
            </p:nvSpPr>
            <p:spPr bwMode="gray">
              <a:xfrm>
                <a:off x="5374770" y="2641483"/>
                <a:ext cx="972742" cy="649756"/>
              </a:xfrm>
              <a:custGeom>
                <a:avLst/>
                <a:gdLst>
                  <a:gd name="T0" fmla="*/ 366 w 756"/>
                  <a:gd name="T1" fmla="*/ 366 h 510"/>
                  <a:gd name="T2" fmla="*/ 360 w 756"/>
                  <a:gd name="T3" fmla="*/ 348 h 510"/>
                  <a:gd name="T4" fmla="*/ 354 w 756"/>
                  <a:gd name="T5" fmla="*/ 324 h 510"/>
                  <a:gd name="T6" fmla="*/ 330 w 756"/>
                  <a:gd name="T7" fmla="*/ 294 h 510"/>
                  <a:gd name="T8" fmla="*/ 300 w 756"/>
                  <a:gd name="T9" fmla="*/ 276 h 510"/>
                  <a:gd name="T10" fmla="*/ 312 w 756"/>
                  <a:gd name="T11" fmla="*/ 252 h 510"/>
                  <a:gd name="T12" fmla="*/ 288 w 756"/>
                  <a:gd name="T13" fmla="*/ 252 h 510"/>
                  <a:gd name="T14" fmla="*/ 252 w 756"/>
                  <a:gd name="T15" fmla="*/ 258 h 510"/>
                  <a:gd name="T16" fmla="*/ 228 w 756"/>
                  <a:gd name="T17" fmla="*/ 258 h 510"/>
                  <a:gd name="T18" fmla="*/ 222 w 756"/>
                  <a:gd name="T19" fmla="*/ 282 h 510"/>
                  <a:gd name="T20" fmla="*/ 180 w 756"/>
                  <a:gd name="T21" fmla="*/ 300 h 510"/>
                  <a:gd name="T22" fmla="*/ 162 w 756"/>
                  <a:gd name="T23" fmla="*/ 282 h 510"/>
                  <a:gd name="T24" fmla="*/ 144 w 756"/>
                  <a:gd name="T25" fmla="*/ 276 h 510"/>
                  <a:gd name="T26" fmla="*/ 108 w 756"/>
                  <a:gd name="T27" fmla="*/ 270 h 510"/>
                  <a:gd name="T28" fmla="*/ 60 w 756"/>
                  <a:gd name="T29" fmla="*/ 270 h 510"/>
                  <a:gd name="T30" fmla="*/ 36 w 756"/>
                  <a:gd name="T31" fmla="*/ 294 h 510"/>
                  <a:gd name="T32" fmla="*/ 30 w 756"/>
                  <a:gd name="T33" fmla="*/ 324 h 510"/>
                  <a:gd name="T34" fmla="*/ 18 w 756"/>
                  <a:gd name="T35" fmla="*/ 324 h 510"/>
                  <a:gd name="T36" fmla="*/ 12 w 756"/>
                  <a:gd name="T37" fmla="*/ 282 h 510"/>
                  <a:gd name="T38" fmla="*/ 6 w 756"/>
                  <a:gd name="T39" fmla="*/ 240 h 510"/>
                  <a:gd name="T40" fmla="*/ 18 w 756"/>
                  <a:gd name="T41" fmla="*/ 210 h 510"/>
                  <a:gd name="T42" fmla="*/ 36 w 756"/>
                  <a:gd name="T43" fmla="*/ 168 h 510"/>
                  <a:gd name="T44" fmla="*/ 84 w 756"/>
                  <a:gd name="T45" fmla="*/ 144 h 510"/>
                  <a:gd name="T46" fmla="*/ 138 w 756"/>
                  <a:gd name="T47" fmla="*/ 162 h 510"/>
                  <a:gd name="T48" fmla="*/ 192 w 756"/>
                  <a:gd name="T49" fmla="*/ 162 h 510"/>
                  <a:gd name="T50" fmla="*/ 234 w 756"/>
                  <a:gd name="T51" fmla="*/ 156 h 510"/>
                  <a:gd name="T52" fmla="*/ 270 w 756"/>
                  <a:gd name="T53" fmla="*/ 144 h 510"/>
                  <a:gd name="T54" fmla="*/ 318 w 756"/>
                  <a:gd name="T55" fmla="*/ 138 h 510"/>
                  <a:gd name="T56" fmla="*/ 372 w 756"/>
                  <a:gd name="T57" fmla="*/ 126 h 510"/>
                  <a:gd name="T58" fmla="*/ 420 w 756"/>
                  <a:gd name="T59" fmla="*/ 144 h 510"/>
                  <a:gd name="T60" fmla="*/ 456 w 756"/>
                  <a:gd name="T61" fmla="*/ 144 h 510"/>
                  <a:gd name="T62" fmla="*/ 492 w 756"/>
                  <a:gd name="T63" fmla="*/ 120 h 510"/>
                  <a:gd name="T64" fmla="*/ 510 w 756"/>
                  <a:gd name="T65" fmla="*/ 90 h 510"/>
                  <a:gd name="T66" fmla="*/ 540 w 756"/>
                  <a:gd name="T67" fmla="*/ 60 h 510"/>
                  <a:gd name="T68" fmla="*/ 558 w 756"/>
                  <a:gd name="T69" fmla="*/ 54 h 510"/>
                  <a:gd name="T70" fmla="*/ 606 w 756"/>
                  <a:gd name="T71" fmla="*/ 36 h 510"/>
                  <a:gd name="T72" fmla="*/ 660 w 756"/>
                  <a:gd name="T73" fmla="*/ 18 h 510"/>
                  <a:gd name="T74" fmla="*/ 714 w 756"/>
                  <a:gd name="T75" fmla="*/ 0 h 510"/>
                  <a:gd name="T76" fmla="*/ 738 w 756"/>
                  <a:gd name="T77" fmla="*/ 24 h 510"/>
                  <a:gd name="T78" fmla="*/ 732 w 756"/>
                  <a:gd name="T79" fmla="*/ 48 h 510"/>
                  <a:gd name="T80" fmla="*/ 744 w 756"/>
                  <a:gd name="T81" fmla="*/ 72 h 510"/>
                  <a:gd name="T82" fmla="*/ 738 w 756"/>
                  <a:gd name="T83" fmla="*/ 90 h 510"/>
                  <a:gd name="T84" fmla="*/ 696 w 756"/>
                  <a:gd name="T85" fmla="*/ 96 h 510"/>
                  <a:gd name="T86" fmla="*/ 666 w 756"/>
                  <a:gd name="T87" fmla="*/ 126 h 510"/>
                  <a:gd name="T88" fmla="*/ 618 w 756"/>
                  <a:gd name="T89" fmla="*/ 138 h 510"/>
                  <a:gd name="T90" fmla="*/ 582 w 756"/>
                  <a:gd name="T91" fmla="*/ 174 h 510"/>
                  <a:gd name="T92" fmla="*/ 558 w 756"/>
                  <a:gd name="T93" fmla="*/ 198 h 510"/>
                  <a:gd name="T94" fmla="*/ 540 w 756"/>
                  <a:gd name="T95" fmla="*/ 210 h 510"/>
                  <a:gd name="T96" fmla="*/ 516 w 756"/>
                  <a:gd name="T97" fmla="*/ 258 h 510"/>
                  <a:gd name="T98" fmla="*/ 498 w 756"/>
                  <a:gd name="T99" fmla="*/ 282 h 510"/>
                  <a:gd name="T100" fmla="*/ 480 w 756"/>
                  <a:gd name="T101" fmla="*/ 288 h 510"/>
                  <a:gd name="T102" fmla="*/ 462 w 756"/>
                  <a:gd name="T103" fmla="*/ 306 h 510"/>
                  <a:gd name="T104" fmla="*/ 438 w 756"/>
                  <a:gd name="T105" fmla="*/ 330 h 510"/>
                  <a:gd name="T106" fmla="*/ 438 w 756"/>
                  <a:gd name="T107" fmla="*/ 366 h 510"/>
                  <a:gd name="T108" fmla="*/ 426 w 756"/>
                  <a:gd name="T109" fmla="*/ 402 h 510"/>
                  <a:gd name="T110" fmla="*/ 408 w 756"/>
                  <a:gd name="T111" fmla="*/ 420 h 510"/>
                  <a:gd name="T112" fmla="*/ 402 w 756"/>
                  <a:gd name="T113" fmla="*/ 474 h 510"/>
                  <a:gd name="T114" fmla="*/ 372 w 756"/>
                  <a:gd name="T115" fmla="*/ 468 h 510"/>
                  <a:gd name="T116" fmla="*/ 348 w 756"/>
                  <a:gd name="T117" fmla="*/ 498 h 510"/>
                  <a:gd name="T118" fmla="*/ 306 w 756"/>
                  <a:gd name="T119" fmla="*/ 486 h 510"/>
                  <a:gd name="T120" fmla="*/ 312 w 756"/>
                  <a:gd name="T121" fmla="*/ 432 h 510"/>
                  <a:gd name="T122" fmla="*/ 330 w 756"/>
                  <a:gd name="T123" fmla="*/ 414 h 5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56" h="510">
                    <a:moveTo>
                      <a:pt x="330" y="396"/>
                    </a:moveTo>
                    <a:lnTo>
                      <a:pt x="330" y="390"/>
                    </a:lnTo>
                    <a:lnTo>
                      <a:pt x="336" y="390"/>
                    </a:lnTo>
                    <a:lnTo>
                      <a:pt x="336" y="384"/>
                    </a:lnTo>
                    <a:lnTo>
                      <a:pt x="342" y="384"/>
                    </a:lnTo>
                    <a:lnTo>
                      <a:pt x="348" y="384"/>
                    </a:lnTo>
                    <a:lnTo>
                      <a:pt x="348" y="378"/>
                    </a:lnTo>
                    <a:lnTo>
                      <a:pt x="354" y="378"/>
                    </a:lnTo>
                    <a:lnTo>
                      <a:pt x="354" y="372"/>
                    </a:lnTo>
                    <a:lnTo>
                      <a:pt x="360" y="372"/>
                    </a:lnTo>
                    <a:lnTo>
                      <a:pt x="366" y="372"/>
                    </a:lnTo>
                    <a:lnTo>
                      <a:pt x="366" y="366"/>
                    </a:lnTo>
                    <a:lnTo>
                      <a:pt x="366" y="372"/>
                    </a:lnTo>
                    <a:lnTo>
                      <a:pt x="366" y="366"/>
                    </a:lnTo>
                    <a:lnTo>
                      <a:pt x="372" y="366"/>
                    </a:lnTo>
                    <a:lnTo>
                      <a:pt x="372" y="372"/>
                    </a:lnTo>
                    <a:lnTo>
                      <a:pt x="372" y="366"/>
                    </a:lnTo>
                    <a:lnTo>
                      <a:pt x="366" y="366"/>
                    </a:lnTo>
                    <a:lnTo>
                      <a:pt x="366" y="360"/>
                    </a:lnTo>
                    <a:lnTo>
                      <a:pt x="372" y="360"/>
                    </a:lnTo>
                    <a:lnTo>
                      <a:pt x="372" y="354"/>
                    </a:lnTo>
                    <a:lnTo>
                      <a:pt x="366" y="354"/>
                    </a:lnTo>
                    <a:lnTo>
                      <a:pt x="366" y="348"/>
                    </a:lnTo>
                    <a:lnTo>
                      <a:pt x="360" y="348"/>
                    </a:lnTo>
                    <a:lnTo>
                      <a:pt x="360" y="342"/>
                    </a:lnTo>
                    <a:lnTo>
                      <a:pt x="354" y="342"/>
                    </a:lnTo>
                    <a:lnTo>
                      <a:pt x="354" y="336"/>
                    </a:lnTo>
                    <a:lnTo>
                      <a:pt x="354" y="342"/>
                    </a:lnTo>
                    <a:lnTo>
                      <a:pt x="354" y="336"/>
                    </a:lnTo>
                    <a:lnTo>
                      <a:pt x="354" y="342"/>
                    </a:lnTo>
                    <a:lnTo>
                      <a:pt x="348" y="342"/>
                    </a:lnTo>
                    <a:lnTo>
                      <a:pt x="348" y="336"/>
                    </a:lnTo>
                    <a:lnTo>
                      <a:pt x="342" y="336"/>
                    </a:lnTo>
                    <a:lnTo>
                      <a:pt x="348" y="330"/>
                    </a:lnTo>
                    <a:lnTo>
                      <a:pt x="354" y="330"/>
                    </a:lnTo>
                    <a:lnTo>
                      <a:pt x="354" y="324"/>
                    </a:lnTo>
                    <a:lnTo>
                      <a:pt x="354" y="318"/>
                    </a:lnTo>
                    <a:lnTo>
                      <a:pt x="360" y="318"/>
                    </a:lnTo>
                    <a:lnTo>
                      <a:pt x="360" y="312"/>
                    </a:lnTo>
                    <a:lnTo>
                      <a:pt x="354" y="318"/>
                    </a:lnTo>
                    <a:lnTo>
                      <a:pt x="348" y="318"/>
                    </a:lnTo>
                    <a:lnTo>
                      <a:pt x="348" y="312"/>
                    </a:lnTo>
                    <a:lnTo>
                      <a:pt x="342" y="312"/>
                    </a:lnTo>
                    <a:lnTo>
                      <a:pt x="342" y="306"/>
                    </a:lnTo>
                    <a:lnTo>
                      <a:pt x="336" y="306"/>
                    </a:lnTo>
                    <a:lnTo>
                      <a:pt x="330" y="306"/>
                    </a:lnTo>
                    <a:lnTo>
                      <a:pt x="330" y="300"/>
                    </a:lnTo>
                    <a:lnTo>
                      <a:pt x="330" y="294"/>
                    </a:lnTo>
                    <a:lnTo>
                      <a:pt x="324" y="294"/>
                    </a:lnTo>
                    <a:lnTo>
                      <a:pt x="318" y="300"/>
                    </a:lnTo>
                    <a:lnTo>
                      <a:pt x="312" y="300"/>
                    </a:lnTo>
                    <a:lnTo>
                      <a:pt x="306" y="300"/>
                    </a:lnTo>
                    <a:lnTo>
                      <a:pt x="300" y="300"/>
                    </a:lnTo>
                    <a:lnTo>
                      <a:pt x="300" y="306"/>
                    </a:lnTo>
                    <a:lnTo>
                      <a:pt x="300" y="300"/>
                    </a:lnTo>
                    <a:lnTo>
                      <a:pt x="294" y="294"/>
                    </a:lnTo>
                    <a:lnTo>
                      <a:pt x="294" y="288"/>
                    </a:lnTo>
                    <a:lnTo>
                      <a:pt x="300" y="288"/>
                    </a:lnTo>
                    <a:lnTo>
                      <a:pt x="300" y="282"/>
                    </a:lnTo>
                    <a:lnTo>
                      <a:pt x="300" y="276"/>
                    </a:lnTo>
                    <a:lnTo>
                      <a:pt x="306" y="276"/>
                    </a:lnTo>
                    <a:lnTo>
                      <a:pt x="300" y="276"/>
                    </a:lnTo>
                    <a:lnTo>
                      <a:pt x="294" y="276"/>
                    </a:lnTo>
                    <a:lnTo>
                      <a:pt x="294" y="270"/>
                    </a:lnTo>
                    <a:lnTo>
                      <a:pt x="300" y="270"/>
                    </a:lnTo>
                    <a:lnTo>
                      <a:pt x="300" y="264"/>
                    </a:lnTo>
                    <a:lnTo>
                      <a:pt x="306" y="264"/>
                    </a:lnTo>
                    <a:lnTo>
                      <a:pt x="306" y="258"/>
                    </a:lnTo>
                    <a:lnTo>
                      <a:pt x="312" y="258"/>
                    </a:lnTo>
                    <a:lnTo>
                      <a:pt x="306" y="258"/>
                    </a:lnTo>
                    <a:lnTo>
                      <a:pt x="312" y="258"/>
                    </a:lnTo>
                    <a:lnTo>
                      <a:pt x="312" y="252"/>
                    </a:lnTo>
                    <a:lnTo>
                      <a:pt x="306" y="252"/>
                    </a:lnTo>
                    <a:lnTo>
                      <a:pt x="306" y="258"/>
                    </a:lnTo>
                    <a:lnTo>
                      <a:pt x="306" y="252"/>
                    </a:lnTo>
                    <a:lnTo>
                      <a:pt x="306" y="258"/>
                    </a:lnTo>
                    <a:lnTo>
                      <a:pt x="306" y="252"/>
                    </a:lnTo>
                    <a:lnTo>
                      <a:pt x="306" y="258"/>
                    </a:lnTo>
                    <a:lnTo>
                      <a:pt x="306" y="252"/>
                    </a:lnTo>
                    <a:lnTo>
                      <a:pt x="306" y="258"/>
                    </a:lnTo>
                    <a:lnTo>
                      <a:pt x="306" y="252"/>
                    </a:lnTo>
                    <a:lnTo>
                      <a:pt x="300" y="252"/>
                    </a:lnTo>
                    <a:lnTo>
                      <a:pt x="294" y="252"/>
                    </a:lnTo>
                    <a:lnTo>
                      <a:pt x="288" y="252"/>
                    </a:lnTo>
                    <a:lnTo>
                      <a:pt x="282" y="252"/>
                    </a:lnTo>
                    <a:lnTo>
                      <a:pt x="282" y="258"/>
                    </a:lnTo>
                    <a:lnTo>
                      <a:pt x="282" y="252"/>
                    </a:lnTo>
                    <a:lnTo>
                      <a:pt x="276" y="252"/>
                    </a:lnTo>
                    <a:lnTo>
                      <a:pt x="276" y="258"/>
                    </a:lnTo>
                    <a:lnTo>
                      <a:pt x="270" y="264"/>
                    </a:lnTo>
                    <a:lnTo>
                      <a:pt x="264" y="264"/>
                    </a:lnTo>
                    <a:lnTo>
                      <a:pt x="264" y="258"/>
                    </a:lnTo>
                    <a:lnTo>
                      <a:pt x="264" y="252"/>
                    </a:lnTo>
                    <a:lnTo>
                      <a:pt x="258" y="252"/>
                    </a:lnTo>
                    <a:lnTo>
                      <a:pt x="252" y="252"/>
                    </a:lnTo>
                    <a:lnTo>
                      <a:pt x="252" y="258"/>
                    </a:lnTo>
                    <a:lnTo>
                      <a:pt x="246" y="258"/>
                    </a:lnTo>
                    <a:lnTo>
                      <a:pt x="246" y="264"/>
                    </a:lnTo>
                    <a:lnTo>
                      <a:pt x="246" y="270"/>
                    </a:lnTo>
                    <a:lnTo>
                      <a:pt x="240" y="270"/>
                    </a:lnTo>
                    <a:lnTo>
                      <a:pt x="240" y="276"/>
                    </a:lnTo>
                    <a:lnTo>
                      <a:pt x="234" y="276"/>
                    </a:lnTo>
                    <a:lnTo>
                      <a:pt x="234" y="270"/>
                    </a:lnTo>
                    <a:lnTo>
                      <a:pt x="228" y="270"/>
                    </a:lnTo>
                    <a:lnTo>
                      <a:pt x="234" y="270"/>
                    </a:lnTo>
                    <a:lnTo>
                      <a:pt x="234" y="264"/>
                    </a:lnTo>
                    <a:lnTo>
                      <a:pt x="234" y="258"/>
                    </a:lnTo>
                    <a:lnTo>
                      <a:pt x="228" y="258"/>
                    </a:lnTo>
                    <a:lnTo>
                      <a:pt x="228" y="264"/>
                    </a:lnTo>
                    <a:lnTo>
                      <a:pt x="222" y="264"/>
                    </a:lnTo>
                    <a:lnTo>
                      <a:pt x="222" y="270"/>
                    </a:lnTo>
                    <a:lnTo>
                      <a:pt x="216" y="276"/>
                    </a:lnTo>
                    <a:lnTo>
                      <a:pt x="222" y="276"/>
                    </a:lnTo>
                    <a:lnTo>
                      <a:pt x="222" y="270"/>
                    </a:lnTo>
                    <a:lnTo>
                      <a:pt x="222" y="276"/>
                    </a:lnTo>
                    <a:lnTo>
                      <a:pt x="216" y="276"/>
                    </a:lnTo>
                    <a:lnTo>
                      <a:pt x="216" y="282"/>
                    </a:lnTo>
                    <a:lnTo>
                      <a:pt x="222" y="282"/>
                    </a:lnTo>
                    <a:lnTo>
                      <a:pt x="222" y="276"/>
                    </a:lnTo>
                    <a:lnTo>
                      <a:pt x="222" y="282"/>
                    </a:lnTo>
                    <a:lnTo>
                      <a:pt x="216" y="282"/>
                    </a:lnTo>
                    <a:lnTo>
                      <a:pt x="210" y="282"/>
                    </a:lnTo>
                    <a:lnTo>
                      <a:pt x="204" y="282"/>
                    </a:lnTo>
                    <a:lnTo>
                      <a:pt x="198" y="282"/>
                    </a:lnTo>
                    <a:lnTo>
                      <a:pt x="198" y="288"/>
                    </a:lnTo>
                    <a:lnTo>
                      <a:pt x="198" y="282"/>
                    </a:lnTo>
                    <a:lnTo>
                      <a:pt x="198" y="288"/>
                    </a:lnTo>
                    <a:lnTo>
                      <a:pt x="192" y="288"/>
                    </a:lnTo>
                    <a:lnTo>
                      <a:pt x="192" y="294"/>
                    </a:lnTo>
                    <a:lnTo>
                      <a:pt x="192" y="300"/>
                    </a:lnTo>
                    <a:lnTo>
                      <a:pt x="186" y="300"/>
                    </a:lnTo>
                    <a:lnTo>
                      <a:pt x="180" y="300"/>
                    </a:lnTo>
                    <a:lnTo>
                      <a:pt x="180" y="294"/>
                    </a:lnTo>
                    <a:lnTo>
                      <a:pt x="180" y="288"/>
                    </a:lnTo>
                    <a:lnTo>
                      <a:pt x="180" y="282"/>
                    </a:lnTo>
                    <a:lnTo>
                      <a:pt x="174" y="282"/>
                    </a:lnTo>
                    <a:lnTo>
                      <a:pt x="174" y="288"/>
                    </a:lnTo>
                    <a:lnTo>
                      <a:pt x="168" y="288"/>
                    </a:lnTo>
                    <a:lnTo>
                      <a:pt x="162" y="288"/>
                    </a:lnTo>
                    <a:lnTo>
                      <a:pt x="168" y="288"/>
                    </a:lnTo>
                    <a:lnTo>
                      <a:pt x="168" y="282"/>
                    </a:lnTo>
                    <a:lnTo>
                      <a:pt x="168" y="288"/>
                    </a:lnTo>
                    <a:lnTo>
                      <a:pt x="168" y="282"/>
                    </a:lnTo>
                    <a:lnTo>
                      <a:pt x="162" y="282"/>
                    </a:lnTo>
                    <a:lnTo>
                      <a:pt x="162" y="288"/>
                    </a:lnTo>
                    <a:lnTo>
                      <a:pt x="156" y="288"/>
                    </a:lnTo>
                    <a:lnTo>
                      <a:pt x="156" y="282"/>
                    </a:lnTo>
                    <a:lnTo>
                      <a:pt x="162" y="282"/>
                    </a:lnTo>
                    <a:lnTo>
                      <a:pt x="162" y="276"/>
                    </a:lnTo>
                    <a:lnTo>
                      <a:pt x="156" y="276"/>
                    </a:lnTo>
                    <a:lnTo>
                      <a:pt x="156" y="270"/>
                    </a:lnTo>
                    <a:lnTo>
                      <a:pt x="150" y="270"/>
                    </a:lnTo>
                    <a:lnTo>
                      <a:pt x="150" y="276"/>
                    </a:lnTo>
                    <a:lnTo>
                      <a:pt x="150" y="270"/>
                    </a:lnTo>
                    <a:lnTo>
                      <a:pt x="144" y="270"/>
                    </a:lnTo>
                    <a:lnTo>
                      <a:pt x="144" y="276"/>
                    </a:lnTo>
                    <a:lnTo>
                      <a:pt x="144" y="270"/>
                    </a:lnTo>
                    <a:lnTo>
                      <a:pt x="144" y="276"/>
                    </a:lnTo>
                    <a:lnTo>
                      <a:pt x="138" y="276"/>
                    </a:lnTo>
                    <a:lnTo>
                      <a:pt x="132" y="276"/>
                    </a:lnTo>
                    <a:lnTo>
                      <a:pt x="126" y="270"/>
                    </a:lnTo>
                    <a:lnTo>
                      <a:pt x="120" y="270"/>
                    </a:lnTo>
                    <a:lnTo>
                      <a:pt x="120" y="276"/>
                    </a:lnTo>
                    <a:lnTo>
                      <a:pt x="120" y="270"/>
                    </a:lnTo>
                    <a:lnTo>
                      <a:pt x="114" y="270"/>
                    </a:lnTo>
                    <a:lnTo>
                      <a:pt x="114" y="276"/>
                    </a:lnTo>
                    <a:lnTo>
                      <a:pt x="114" y="270"/>
                    </a:lnTo>
                    <a:lnTo>
                      <a:pt x="108" y="270"/>
                    </a:lnTo>
                    <a:lnTo>
                      <a:pt x="102" y="270"/>
                    </a:lnTo>
                    <a:lnTo>
                      <a:pt x="102" y="276"/>
                    </a:lnTo>
                    <a:lnTo>
                      <a:pt x="102" y="270"/>
                    </a:lnTo>
                    <a:lnTo>
                      <a:pt x="102" y="264"/>
                    </a:lnTo>
                    <a:lnTo>
                      <a:pt x="96" y="264"/>
                    </a:lnTo>
                    <a:lnTo>
                      <a:pt x="90" y="264"/>
                    </a:lnTo>
                    <a:lnTo>
                      <a:pt x="84" y="264"/>
                    </a:lnTo>
                    <a:lnTo>
                      <a:pt x="78" y="264"/>
                    </a:lnTo>
                    <a:lnTo>
                      <a:pt x="72" y="264"/>
                    </a:lnTo>
                    <a:lnTo>
                      <a:pt x="72" y="270"/>
                    </a:lnTo>
                    <a:lnTo>
                      <a:pt x="66" y="270"/>
                    </a:lnTo>
                    <a:lnTo>
                      <a:pt x="60" y="270"/>
                    </a:lnTo>
                    <a:lnTo>
                      <a:pt x="54" y="270"/>
                    </a:lnTo>
                    <a:lnTo>
                      <a:pt x="48" y="270"/>
                    </a:lnTo>
                    <a:lnTo>
                      <a:pt x="48" y="276"/>
                    </a:lnTo>
                    <a:lnTo>
                      <a:pt x="42" y="276"/>
                    </a:lnTo>
                    <a:lnTo>
                      <a:pt x="42" y="282"/>
                    </a:lnTo>
                    <a:lnTo>
                      <a:pt x="36" y="282"/>
                    </a:lnTo>
                    <a:lnTo>
                      <a:pt x="36" y="288"/>
                    </a:lnTo>
                    <a:lnTo>
                      <a:pt x="30" y="288"/>
                    </a:lnTo>
                    <a:lnTo>
                      <a:pt x="36" y="288"/>
                    </a:lnTo>
                    <a:lnTo>
                      <a:pt x="36" y="294"/>
                    </a:lnTo>
                    <a:lnTo>
                      <a:pt x="30" y="294"/>
                    </a:lnTo>
                    <a:lnTo>
                      <a:pt x="36" y="294"/>
                    </a:lnTo>
                    <a:lnTo>
                      <a:pt x="30" y="294"/>
                    </a:lnTo>
                    <a:lnTo>
                      <a:pt x="30" y="300"/>
                    </a:lnTo>
                    <a:lnTo>
                      <a:pt x="24" y="300"/>
                    </a:lnTo>
                    <a:lnTo>
                      <a:pt x="30" y="300"/>
                    </a:lnTo>
                    <a:lnTo>
                      <a:pt x="30" y="306"/>
                    </a:lnTo>
                    <a:lnTo>
                      <a:pt x="30" y="312"/>
                    </a:lnTo>
                    <a:lnTo>
                      <a:pt x="36" y="312"/>
                    </a:lnTo>
                    <a:lnTo>
                      <a:pt x="36" y="318"/>
                    </a:lnTo>
                    <a:lnTo>
                      <a:pt x="42" y="318"/>
                    </a:lnTo>
                    <a:lnTo>
                      <a:pt x="36" y="318"/>
                    </a:lnTo>
                    <a:lnTo>
                      <a:pt x="36" y="324"/>
                    </a:lnTo>
                    <a:lnTo>
                      <a:pt x="30" y="324"/>
                    </a:lnTo>
                    <a:lnTo>
                      <a:pt x="30" y="318"/>
                    </a:lnTo>
                    <a:lnTo>
                      <a:pt x="24" y="318"/>
                    </a:lnTo>
                    <a:lnTo>
                      <a:pt x="24" y="324"/>
                    </a:lnTo>
                    <a:lnTo>
                      <a:pt x="24" y="330"/>
                    </a:lnTo>
                    <a:lnTo>
                      <a:pt x="24" y="336"/>
                    </a:lnTo>
                    <a:lnTo>
                      <a:pt x="18" y="336"/>
                    </a:lnTo>
                    <a:lnTo>
                      <a:pt x="18" y="330"/>
                    </a:lnTo>
                    <a:lnTo>
                      <a:pt x="18" y="324"/>
                    </a:lnTo>
                    <a:lnTo>
                      <a:pt x="18" y="330"/>
                    </a:lnTo>
                    <a:lnTo>
                      <a:pt x="18" y="324"/>
                    </a:lnTo>
                    <a:lnTo>
                      <a:pt x="24" y="324"/>
                    </a:lnTo>
                    <a:lnTo>
                      <a:pt x="18" y="324"/>
                    </a:lnTo>
                    <a:lnTo>
                      <a:pt x="24" y="324"/>
                    </a:lnTo>
                    <a:lnTo>
                      <a:pt x="24" y="318"/>
                    </a:lnTo>
                    <a:lnTo>
                      <a:pt x="18" y="318"/>
                    </a:lnTo>
                    <a:lnTo>
                      <a:pt x="24" y="318"/>
                    </a:lnTo>
                    <a:lnTo>
                      <a:pt x="24" y="312"/>
                    </a:lnTo>
                    <a:lnTo>
                      <a:pt x="24" y="306"/>
                    </a:lnTo>
                    <a:lnTo>
                      <a:pt x="18" y="306"/>
                    </a:lnTo>
                    <a:lnTo>
                      <a:pt x="18" y="300"/>
                    </a:lnTo>
                    <a:lnTo>
                      <a:pt x="18" y="294"/>
                    </a:lnTo>
                    <a:lnTo>
                      <a:pt x="18" y="288"/>
                    </a:lnTo>
                    <a:lnTo>
                      <a:pt x="12" y="288"/>
                    </a:lnTo>
                    <a:lnTo>
                      <a:pt x="12" y="282"/>
                    </a:lnTo>
                    <a:lnTo>
                      <a:pt x="18" y="282"/>
                    </a:lnTo>
                    <a:lnTo>
                      <a:pt x="18" y="276"/>
                    </a:lnTo>
                    <a:lnTo>
                      <a:pt x="18" y="270"/>
                    </a:lnTo>
                    <a:lnTo>
                      <a:pt x="24" y="270"/>
                    </a:lnTo>
                    <a:lnTo>
                      <a:pt x="18" y="270"/>
                    </a:lnTo>
                    <a:lnTo>
                      <a:pt x="18" y="264"/>
                    </a:lnTo>
                    <a:lnTo>
                      <a:pt x="18" y="258"/>
                    </a:lnTo>
                    <a:lnTo>
                      <a:pt x="12" y="258"/>
                    </a:lnTo>
                    <a:lnTo>
                      <a:pt x="12" y="252"/>
                    </a:lnTo>
                    <a:lnTo>
                      <a:pt x="12" y="246"/>
                    </a:lnTo>
                    <a:lnTo>
                      <a:pt x="6" y="246"/>
                    </a:lnTo>
                    <a:lnTo>
                      <a:pt x="6" y="240"/>
                    </a:lnTo>
                    <a:lnTo>
                      <a:pt x="6" y="234"/>
                    </a:lnTo>
                    <a:lnTo>
                      <a:pt x="0" y="234"/>
                    </a:lnTo>
                    <a:lnTo>
                      <a:pt x="6" y="234"/>
                    </a:lnTo>
                    <a:lnTo>
                      <a:pt x="6" y="228"/>
                    </a:lnTo>
                    <a:lnTo>
                      <a:pt x="6" y="222"/>
                    </a:lnTo>
                    <a:lnTo>
                      <a:pt x="12" y="222"/>
                    </a:lnTo>
                    <a:lnTo>
                      <a:pt x="6" y="222"/>
                    </a:lnTo>
                    <a:lnTo>
                      <a:pt x="12" y="216"/>
                    </a:lnTo>
                    <a:lnTo>
                      <a:pt x="18" y="216"/>
                    </a:lnTo>
                    <a:lnTo>
                      <a:pt x="18" y="210"/>
                    </a:lnTo>
                    <a:lnTo>
                      <a:pt x="24" y="210"/>
                    </a:lnTo>
                    <a:lnTo>
                      <a:pt x="18" y="210"/>
                    </a:lnTo>
                    <a:lnTo>
                      <a:pt x="18" y="204"/>
                    </a:lnTo>
                    <a:lnTo>
                      <a:pt x="24" y="204"/>
                    </a:lnTo>
                    <a:lnTo>
                      <a:pt x="24" y="198"/>
                    </a:lnTo>
                    <a:lnTo>
                      <a:pt x="24" y="192"/>
                    </a:lnTo>
                    <a:lnTo>
                      <a:pt x="24" y="186"/>
                    </a:lnTo>
                    <a:lnTo>
                      <a:pt x="24" y="180"/>
                    </a:lnTo>
                    <a:lnTo>
                      <a:pt x="24" y="174"/>
                    </a:lnTo>
                    <a:lnTo>
                      <a:pt x="24" y="168"/>
                    </a:lnTo>
                    <a:lnTo>
                      <a:pt x="24" y="162"/>
                    </a:lnTo>
                    <a:lnTo>
                      <a:pt x="24" y="168"/>
                    </a:lnTo>
                    <a:lnTo>
                      <a:pt x="30" y="168"/>
                    </a:lnTo>
                    <a:lnTo>
                      <a:pt x="36" y="168"/>
                    </a:lnTo>
                    <a:lnTo>
                      <a:pt x="42" y="168"/>
                    </a:lnTo>
                    <a:lnTo>
                      <a:pt x="48" y="168"/>
                    </a:lnTo>
                    <a:lnTo>
                      <a:pt x="48" y="162"/>
                    </a:lnTo>
                    <a:lnTo>
                      <a:pt x="54" y="162"/>
                    </a:lnTo>
                    <a:lnTo>
                      <a:pt x="60" y="162"/>
                    </a:lnTo>
                    <a:lnTo>
                      <a:pt x="60" y="156"/>
                    </a:lnTo>
                    <a:lnTo>
                      <a:pt x="60" y="150"/>
                    </a:lnTo>
                    <a:lnTo>
                      <a:pt x="66" y="150"/>
                    </a:lnTo>
                    <a:lnTo>
                      <a:pt x="72" y="150"/>
                    </a:lnTo>
                    <a:lnTo>
                      <a:pt x="78" y="150"/>
                    </a:lnTo>
                    <a:lnTo>
                      <a:pt x="78" y="144"/>
                    </a:lnTo>
                    <a:lnTo>
                      <a:pt x="84" y="144"/>
                    </a:lnTo>
                    <a:lnTo>
                      <a:pt x="90" y="144"/>
                    </a:lnTo>
                    <a:lnTo>
                      <a:pt x="96" y="144"/>
                    </a:lnTo>
                    <a:lnTo>
                      <a:pt x="96" y="150"/>
                    </a:lnTo>
                    <a:lnTo>
                      <a:pt x="102" y="150"/>
                    </a:lnTo>
                    <a:lnTo>
                      <a:pt x="102" y="156"/>
                    </a:lnTo>
                    <a:lnTo>
                      <a:pt x="108" y="156"/>
                    </a:lnTo>
                    <a:lnTo>
                      <a:pt x="114" y="156"/>
                    </a:lnTo>
                    <a:lnTo>
                      <a:pt x="114" y="162"/>
                    </a:lnTo>
                    <a:lnTo>
                      <a:pt x="120" y="162"/>
                    </a:lnTo>
                    <a:lnTo>
                      <a:pt x="126" y="162"/>
                    </a:lnTo>
                    <a:lnTo>
                      <a:pt x="132" y="162"/>
                    </a:lnTo>
                    <a:lnTo>
                      <a:pt x="138" y="162"/>
                    </a:lnTo>
                    <a:lnTo>
                      <a:pt x="144" y="162"/>
                    </a:lnTo>
                    <a:lnTo>
                      <a:pt x="150" y="156"/>
                    </a:lnTo>
                    <a:lnTo>
                      <a:pt x="156" y="156"/>
                    </a:lnTo>
                    <a:lnTo>
                      <a:pt x="162" y="156"/>
                    </a:lnTo>
                    <a:lnTo>
                      <a:pt x="162" y="162"/>
                    </a:lnTo>
                    <a:lnTo>
                      <a:pt x="162" y="156"/>
                    </a:lnTo>
                    <a:lnTo>
                      <a:pt x="168" y="156"/>
                    </a:lnTo>
                    <a:lnTo>
                      <a:pt x="174" y="156"/>
                    </a:lnTo>
                    <a:lnTo>
                      <a:pt x="180" y="156"/>
                    </a:lnTo>
                    <a:lnTo>
                      <a:pt x="186" y="156"/>
                    </a:lnTo>
                    <a:lnTo>
                      <a:pt x="192" y="156"/>
                    </a:lnTo>
                    <a:lnTo>
                      <a:pt x="192" y="162"/>
                    </a:lnTo>
                    <a:lnTo>
                      <a:pt x="198" y="162"/>
                    </a:lnTo>
                    <a:lnTo>
                      <a:pt x="198" y="156"/>
                    </a:lnTo>
                    <a:lnTo>
                      <a:pt x="204" y="156"/>
                    </a:lnTo>
                    <a:lnTo>
                      <a:pt x="204" y="150"/>
                    </a:lnTo>
                    <a:lnTo>
                      <a:pt x="210" y="150"/>
                    </a:lnTo>
                    <a:lnTo>
                      <a:pt x="216" y="150"/>
                    </a:lnTo>
                    <a:lnTo>
                      <a:pt x="216" y="144"/>
                    </a:lnTo>
                    <a:lnTo>
                      <a:pt x="216" y="150"/>
                    </a:lnTo>
                    <a:lnTo>
                      <a:pt x="222" y="150"/>
                    </a:lnTo>
                    <a:lnTo>
                      <a:pt x="222" y="156"/>
                    </a:lnTo>
                    <a:lnTo>
                      <a:pt x="228" y="156"/>
                    </a:lnTo>
                    <a:lnTo>
                      <a:pt x="234" y="156"/>
                    </a:lnTo>
                    <a:lnTo>
                      <a:pt x="240" y="156"/>
                    </a:lnTo>
                    <a:lnTo>
                      <a:pt x="246" y="156"/>
                    </a:lnTo>
                    <a:lnTo>
                      <a:pt x="246" y="150"/>
                    </a:lnTo>
                    <a:lnTo>
                      <a:pt x="252" y="150"/>
                    </a:lnTo>
                    <a:lnTo>
                      <a:pt x="258" y="150"/>
                    </a:lnTo>
                    <a:lnTo>
                      <a:pt x="264" y="150"/>
                    </a:lnTo>
                    <a:lnTo>
                      <a:pt x="264" y="156"/>
                    </a:lnTo>
                    <a:lnTo>
                      <a:pt x="270" y="156"/>
                    </a:lnTo>
                    <a:lnTo>
                      <a:pt x="270" y="150"/>
                    </a:lnTo>
                    <a:lnTo>
                      <a:pt x="264" y="150"/>
                    </a:lnTo>
                    <a:lnTo>
                      <a:pt x="270" y="150"/>
                    </a:lnTo>
                    <a:lnTo>
                      <a:pt x="270" y="144"/>
                    </a:lnTo>
                    <a:lnTo>
                      <a:pt x="276" y="144"/>
                    </a:lnTo>
                    <a:lnTo>
                      <a:pt x="276" y="150"/>
                    </a:lnTo>
                    <a:lnTo>
                      <a:pt x="282" y="150"/>
                    </a:lnTo>
                    <a:lnTo>
                      <a:pt x="288" y="150"/>
                    </a:lnTo>
                    <a:lnTo>
                      <a:pt x="288" y="144"/>
                    </a:lnTo>
                    <a:lnTo>
                      <a:pt x="294" y="144"/>
                    </a:lnTo>
                    <a:lnTo>
                      <a:pt x="300" y="144"/>
                    </a:lnTo>
                    <a:lnTo>
                      <a:pt x="306" y="144"/>
                    </a:lnTo>
                    <a:lnTo>
                      <a:pt x="306" y="138"/>
                    </a:lnTo>
                    <a:lnTo>
                      <a:pt x="312" y="138"/>
                    </a:lnTo>
                    <a:lnTo>
                      <a:pt x="312" y="144"/>
                    </a:lnTo>
                    <a:lnTo>
                      <a:pt x="318" y="138"/>
                    </a:lnTo>
                    <a:lnTo>
                      <a:pt x="324" y="138"/>
                    </a:lnTo>
                    <a:lnTo>
                      <a:pt x="330" y="138"/>
                    </a:lnTo>
                    <a:lnTo>
                      <a:pt x="336" y="138"/>
                    </a:lnTo>
                    <a:lnTo>
                      <a:pt x="342" y="138"/>
                    </a:lnTo>
                    <a:lnTo>
                      <a:pt x="348" y="138"/>
                    </a:lnTo>
                    <a:lnTo>
                      <a:pt x="354" y="138"/>
                    </a:lnTo>
                    <a:lnTo>
                      <a:pt x="354" y="132"/>
                    </a:lnTo>
                    <a:lnTo>
                      <a:pt x="360" y="132"/>
                    </a:lnTo>
                    <a:lnTo>
                      <a:pt x="360" y="126"/>
                    </a:lnTo>
                    <a:lnTo>
                      <a:pt x="366" y="126"/>
                    </a:lnTo>
                    <a:lnTo>
                      <a:pt x="366" y="132"/>
                    </a:lnTo>
                    <a:lnTo>
                      <a:pt x="372" y="126"/>
                    </a:lnTo>
                    <a:lnTo>
                      <a:pt x="378" y="132"/>
                    </a:lnTo>
                    <a:lnTo>
                      <a:pt x="384" y="132"/>
                    </a:lnTo>
                    <a:lnTo>
                      <a:pt x="390" y="138"/>
                    </a:lnTo>
                    <a:lnTo>
                      <a:pt x="396" y="144"/>
                    </a:lnTo>
                    <a:lnTo>
                      <a:pt x="402" y="144"/>
                    </a:lnTo>
                    <a:lnTo>
                      <a:pt x="408" y="144"/>
                    </a:lnTo>
                    <a:lnTo>
                      <a:pt x="408" y="138"/>
                    </a:lnTo>
                    <a:lnTo>
                      <a:pt x="414" y="138"/>
                    </a:lnTo>
                    <a:lnTo>
                      <a:pt x="414" y="144"/>
                    </a:lnTo>
                    <a:lnTo>
                      <a:pt x="414" y="138"/>
                    </a:lnTo>
                    <a:lnTo>
                      <a:pt x="420" y="138"/>
                    </a:lnTo>
                    <a:lnTo>
                      <a:pt x="420" y="144"/>
                    </a:lnTo>
                    <a:lnTo>
                      <a:pt x="426" y="144"/>
                    </a:lnTo>
                    <a:lnTo>
                      <a:pt x="426" y="138"/>
                    </a:lnTo>
                    <a:lnTo>
                      <a:pt x="432" y="138"/>
                    </a:lnTo>
                    <a:lnTo>
                      <a:pt x="432" y="144"/>
                    </a:lnTo>
                    <a:lnTo>
                      <a:pt x="432" y="138"/>
                    </a:lnTo>
                    <a:lnTo>
                      <a:pt x="438" y="138"/>
                    </a:lnTo>
                    <a:lnTo>
                      <a:pt x="444" y="138"/>
                    </a:lnTo>
                    <a:lnTo>
                      <a:pt x="450" y="138"/>
                    </a:lnTo>
                    <a:lnTo>
                      <a:pt x="450" y="132"/>
                    </a:lnTo>
                    <a:lnTo>
                      <a:pt x="450" y="138"/>
                    </a:lnTo>
                    <a:lnTo>
                      <a:pt x="450" y="144"/>
                    </a:lnTo>
                    <a:lnTo>
                      <a:pt x="456" y="144"/>
                    </a:lnTo>
                    <a:lnTo>
                      <a:pt x="462" y="144"/>
                    </a:lnTo>
                    <a:lnTo>
                      <a:pt x="468" y="138"/>
                    </a:lnTo>
                    <a:lnTo>
                      <a:pt x="474" y="138"/>
                    </a:lnTo>
                    <a:lnTo>
                      <a:pt x="480" y="138"/>
                    </a:lnTo>
                    <a:lnTo>
                      <a:pt x="486" y="132"/>
                    </a:lnTo>
                    <a:lnTo>
                      <a:pt x="480" y="132"/>
                    </a:lnTo>
                    <a:lnTo>
                      <a:pt x="480" y="126"/>
                    </a:lnTo>
                    <a:lnTo>
                      <a:pt x="486" y="126"/>
                    </a:lnTo>
                    <a:lnTo>
                      <a:pt x="486" y="120"/>
                    </a:lnTo>
                    <a:lnTo>
                      <a:pt x="492" y="120"/>
                    </a:lnTo>
                    <a:lnTo>
                      <a:pt x="492" y="126"/>
                    </a:lnTo>
                    <a:lnTo>
                      <a:pt x="492" y="120"/>
                    </a:lnTo>
                    <a:lnTo>
                      <a:pt x="492" y="126"/>
                    </a:lnTo>
                    <a:lnTo>
                      <a:pt x="492" y="120"/>
                    </a:lnTo>
                    <a:lnTo>
                      <a:pt x="498" y="120"/>
                    </a:lnTo>
                    <a:lnTo>
                      <a:pt x="498" y="114"/>
                    </a:lnTo>
                    <a:lnTo>
                      <a:pt x="492" y="114"/>
                    </a:lnTo>
                    <a:lnTo>
                      <a:pt x="492" y="108"/>
                    </a:lnTo>
                    <a:lnTo>
                      <a:pt x="498" y="108"/>
                    </a:lnTo>
                    <a:lnTo>
                      <a:pt x="498" y="102"/>
                    </a:lnTo>
                    <a:lnTo>
                      <a:pt x="504" y="102"/>
                    </a:lnTo>
                    <a:lnTo>
                      <a:pt x="504" y="96"/>
                    </a:lnTo>
                    <a:lnTo>
                      <a:pt x="510" y="96"/>
                    </a:lnTo>
                    <a:lnTo>
                      <a:pt x="510" y="90"/>
                    </a:lnTo>
                    <a:lnTo>
                      <a:pt x="516" y="90"/>
                    </a:lnTo>
                    <a:lnTo>
                      <a:pt x="516" y="84"/>
                    </a:lnTo>
                    <a:lnTo>
                      <a:pt x="522" y="84"/>
                    </a:lnTo>
                    <a:lnTo>
                      <a:pt x="522" y="78"/>
                    </a:lnTo>
                    <a:lnTo>
                      <a:pt x="528" y="78"/>
                    </a:lnTo>
                    <a:lnTo>
                      <a:pt x="528" y="72"/>
                    </a:lnTo>
                    <a:lnTo>
                      <a:pt x="534" y="72"/>
                    </a:lnTo>
                    <a:lnTo>
                      <a:pt x="534" y="66"/>
                    </a:lnTo>
                    <a:lnTo>
                      <a:pt x="540" y="66"/>
                    </a:lnTo>
                    <a:lnTo>
                      <a:pt x="540" y="60"/>
                    </a:lnTo>
                    <a:lnTo>
                      <a:pt x="540" y="66"/>
                    </a:lnTo>
                    <a:lnTo>
                      <a:pt x="540" y="60"/>
                    </a:lnTo>
                    <a:lnTo>
                      <a:pt x="546" y="60"/>
                    </a:lnTo>
                    <a:lnTo>
                      <a:pt x="546" y="54"/>
                    </a:lnTo>
                    <a:lnTo>
                      <a:pt x="540" y="54"/>
                    </a:lnTo>
                    <a:lnTo>
                      <a:pt x="540" y="48"/>
                    </a:lnTo>
                    <a:lnTo>
                      <a:pt x="546" y="48"/>
                    </a:lnTo>
                    <a:lnTo>
                      <a:pt x="540" y="48"/>
                    </a:lnTo>
                    <a:lnTo>
                      <a:pt x="546" y="48"/>
                    </a:lnTo>
                    <a:lnTo>
                      <a:pt x="546" y="42"/>
                    </a:lnTo>
                    <a:lnTo>
                      <a:pt x="546" y="48"/>
                    </a:lnTo>
                    <a:lnTo>
                      <a:pt x="552" y="48"/>
                    </a:lnTo>
                    <a:lnTo>
                      <a:pt x="552" y="54"/>
                    </a:lnTo>
                    <a:lnTo>
                      <a:pt x="558" y="54"/>
                    </a:lnTo>
                    <a:lnTo>
                      <a:pt x="564" y="54"/>
                    </a:lnTo>
                    <a:lnTo>
                      <a:pt x="564" y="48"/>
                    </a:lnTo>
                    <a:lnTo>
                      <a:pt x="564" y="54"/>
                    </a:lnTo>
                    <a:lnTo>
                      <a:pt x="570" y="54"/>
                    </a:lnTo>
                    <a:lnTo>
                      <a:pt x="576" y="54"/>
                    </a:lnTo>
                    <a:lnTo>
                      <a:pt x="576" y="48"/>
                    </a:lnTo>
                    <a:lnTo>
                      <a:pt x="582" y="48"/>
                    </a:lnTo>
                    <a:lnTo>
                      <a:pt x="588" y="48"/>
                    </a:lnTo>
                    <a:lnTo>
                      <a:pt x="588" y="42"/>
                    </a:lnTo>
                    <a:lnTo>
                      <a:pt x="594" y="42"/>
                    </a:lnTo>
                    <a:lnTo>
                      <a:pt x="600" y="42"/>
                    </a:lnTo>
                    <a:lnTo>
                      <a:pt x="606" y="36"/>
                    </a:lnTo>
                    <a:lnTo>
                      <a:pt x="612" y="36"/>
                    </a:lnTo>
                    <a:lnTo>
                      <a:pt x="612" y="30"/>
                    </a:lnTo>
                    <a:lnTo>
                      <a:pt x="618" y="30"/>
                    </a:lnTo>
                    <a:lnTo>
                      <a:pt x="624" y="30"/>
                    </a:lnTo>
                    <a:lnTo>
                      <a:pt x="624" y="24"/>
                    </a:lnTo>
                    <a:lnTo>
                      <a:pt x="630" y="24"/>
                    </a:lnTo>
                    <a:lnTo>
                      <a:pt x="636" y="24"/>
                    </a:lnTo>
                    <a:lnTo>
                      <a:pt x="642" y="24"/>
                    </a:lnTo>
                    <a:lnTo>
                      <a:pt x="642" y="18"/>
                    </a:lnTo>
                    <a:lnTo>
                      <a:pt x="648" y="18"/>
                    </a:lnTo>
                    <a:lnTo>
                      <a:pt x="654" y="18"/>
                    </a:lnTo>
                    <a:lnTo>
                      <a:pt x="660" y="18"/>
                    </a:lnTo>
                    <a:lnTo>
                      <a:pt x="660" y="12"/>
                    </a:lnTo>
                    <a:lnTo>
                      <a:pt x="666" y="12"/>
                    </a:lnTo>
                    <a:lnTo>
                      <a:pt x="672" y="12"/>
                    </a:lnTo>
                    <a:lnTo>
                      <a:pt x="678" y="18"/>
                    </a:lnTo>
                    <a:lnTo>
                      <a:pt x="684" y="12"/>
                    </a:lnTo>
                    <a:lnTo>
                      <a:pt x="690" y="12"/>
                    </a:lnTo>
                    <a:lnTo>
                      <a:pt x="696" y="12"/>
                    </a:lnTo>
                    <a:lnTo>
                      <a:pt x="696" y="6"/>
                    </a:lnTo>
                    <a:lnTo>
                      <a:pt x="702" y="6"/>
                    </a:lnTo>
                    <a:lnTo>
                      <a:pt x="702" y="0"/>
                    </a:lnTo>
                    <a:lnTo>
                      <a:pt x="708" y="0"/>
                    </a:lnTo>
                    <a:lnTo>
                      <a:pt x="714" y="0"/>
                    </a:lnTo>
                    <a:lnTo>
                      <a:pt x="720" y="0"/>
                    </a:lnTo>
                    <a:lnTo>
                      <a:pt x="726" y="0"/>
                    </a:lnTo>
                    <a:lnTo>
                      <a:pt x="732" y="0"/>
                    </a:lnTo>
                    <a:lnTo>
                      <a:pt x="738" y="0"/>
                    </a:lnTo>
                    <a:lnTo>
                      <a:pt x="744" y="0"/>
                    </a:lnTo>
                    <a:lnTo>
                      <a:pt x="750" y="0"/>
                    </a:lnTo>
                    <a:lnTo>
                      <a:pt x="750" y="6"/>
                    </a:lnTo>
                    <a:lnTo>
                      <a:pt x="750" y="12"/>
                    </a:lnTo>
                    <a:lnTo>
                      <a:pt x="744" y="12"/>
                    </a:lnTo>
                    <a:lnTo>
                      <a:pt x="744" y="18"/>
                    </a:lnTo>
                    <a:lnTo>
                      <a:pt x="738" y="18"/>
                    </a:lnTo>
                    <a:lnTo>
                      <a:pt x="738" y="24"/>
                    </a:lnTo>
                    <a:lnTo>
                      <a:pt x="732" y="24"/>
                    </a:lnTo>
                    <a:lnTo>
                      <a:pt x="732" y="30"/>
                    </a:lnTo>
                    <a:lnTo>
                      <a:pt x="726" y="30"/>
                    </a:lnTo>
                    <a:lnTo>
                      <a:pt x="732" y="30"/>
                    </a:lnTo>
                    <a:lnTo>
                      <a:pt x="726" y="30"/>
                    </a:lnTo>
                    <a:lnTo>
                      <a:pt x="726" y="36"/>
                    </a:lnTo>
                    <a:lnTo>
                      <a:pt x="732" y="36"/>
                    </a:lnTo>
                    <a:lnTo>
                      <a:pt x="726" y="42"/>
                    </a:lnTo>
                    <a:lnTo>
                      <a:pt x="732" y="42"/>
                    </a:lnTo>
                    <a:lnTo>
                      <a:pt x="732" y="48"/>
                    </a:lnTo>
                    <a:lnTo>
                      <a:pt x="726" y="48"/>
                    </a:lnTo>
                    <a:lnTo>
                      <a:pt x="732" y="48"/>
                    </a:lnTo>
                    <a:lnTo>
                      <a:pt x="732" y="54"/>
                    </a:lnTo>
                    <a:lnTo>
                      <a:pt x="738" y="54"/>
                    </a:lnTo>
                    <a:lnTo>
                      <a:pt x="738" y="60"/>
                    </a:lnTo>
                    <a:lnTo>
                      <a:pt x="738" y="54"/>
                    </a:lnTo>
                    <a:lnTo>
                      <a:pt x="738" y="60"/>
                    </a:lnTo>
                    <a:lnTo>
                      <a:pt x="744" y="60"/>
                    </a:lnTo>
                    <a:lnTo>
                      <a:pt x="738" y="60"/>
                    </a:lnTo>
                    <a:lnTo>
                      <a:pt x="744" y="60"/>
                    </a:lnTo>
                    <a:lnTo>
                      <a:pt x="744" y="66"/>
                    </a:lnTo>
                    <a:lnTo>
                      <a:pt x="738" y="66"/>
                    </a:lnTo>
                    <a:lnTo>
                      <a:pt x="738" y="72"/>
                    </a:lnTo>
                    <a:lnTo>
                      <a:pt x="744" y="72"/>
                    </a:lnTo>
                    <a:lnTo>
                      <a:pt x="744" y="78"/>
                    </a:lnTo>
                    <a:lnTo>
                      <a:pt x="744" y="72"/>
                    </a:lnTo>
                    <a:lnTo>
                      <a:pt x="750" y="72"/>
                    </a:lnTo>
                    <a:lnTo>
                      <a:pt x="756" y="72"/>
                    </a:lnTo>
                    <a:lnTo>
                      <a:pt x="756" y="78"/>
                    </a:lnTo>
                    <a:lnTo>
                      <a:pt x="756" y="84"/>
                    </a:lnTo>
                    <a:lnTo>
                      <a:pt x="750" y="84"/>
                    </a:lnTo>
                    <a:lnTo>
                      <a:pt x="750" y="90"/>
                    </a:lnTo>
                    <a:lnTo>
                      <a:pt x="744" y="90"/>
                    </a:lnTo>
                    <a:lnTo>
                      <a:pt x="744" y="96"/>
                    </a:lnTo>
                    <a:lnTo>
                      <a:pt x="738" y="96"/>
                    </a:lnTo>
                    <a:lnTo>
                      <a:pt x="738" y="90"/>
                    </a:lnTo>
                    <a:lnTo>
                      <a:pt x="732" y="90"/>
                    </a:lnTo>
                    <a:lnTo>
                      <a:pt x="732" y="96"/>
                    </a:lnTo>
                    <a:lnTo>
                      <a:pt x="726" y="96"/>
                    </a:lnTo>
                    <a:lnTo>
                      <a:pt x="720" y="96"/>
                    </a:lnTo>
                    <a:lnTo>
                      <a:pt x="714" y="96"/>
                    </a:lnTo>
                    <a:lnTo>
                      <a:pt x="708" y="96"/>
                    </a:lnTo>
                    <a:lnTo>
                      <a:pt x="708" y="102"/>
                    </a:lnTo>
                    <a:lnTo>
                      <a:pt x="708" y="96"/>
                    </a:lnTo>
                    <a:lnTo>
                      <a:pt x="708" y="102"/>
                    </a:lnTo>
                    <a:lnTo>
                      <a:pt x="702" y="102"/>
                    </a:lnTo>
                    <a:lnTo>
                      <a:pt x="702" y="96"/>
                    </a:lnTo>
                    <a:lnTo>
                      <a:pt x="696" y="96"/>
                    </a:lnTo>
                    <a:lnTo>
                      <a:pt x="690" y="96"/>
                    </a:lnTo>
                    <a:lnTo>
                      <a:pt x="690" y="102"/>
                    </a:lnTo>
                    <a:lnTo>
                      <a:pt x="690" y="108"/>
                    </a:lnTo>
                    <a:lnTo>
                      <a:pt x="690" y="114"/>
                    </a:lnTo>
                    <a:lnTo>
                      <a:pt x="684" y="114"/>
                    </a:lnTo>
                    <a:lnTo>
                      <a:pt x="678" y="114"/>
                    </a:lnTo>
                    <a:lnTo>
                      <a:pt x="678" y="120"/>
                    </a:lnTo>
                    <a:lnTo>
                      <a:pt x="672" y="120"/>
                    </a:lnTo>
                    <a:lnTo>
                      <a:pt x="666" y="120"/>
                    </a:lnTo>
                    <a:lnTo>
                      <a:pt x="666" y="126"/>
                    </a:lnTo>
                    <a:lnTo>
                      <a:pt x="660" y="126"/>
                    </a:lnTo>
                    <a:lnTo>
                      <a:pt x="666" y="126"/>
                    </a:lnTo>
                    <a:lnTo>
                      <a:pt x="660" y="126"/>
                    </a:lnTo>
                    <a:lnTo>
                      <a:pt x="654" y="126"/>
                    </a:lnTo>
                    <a:lnTo>
                      <a:pt x="654" y="132"/>
                    </a:lnTo>
                    <a:lnTo>
                      <a:pt x="648" y="132"/>
                    </a:lnTo>
                    <a:lnTo>
                      <a:pt x="648" y="138"/>
                    </a:lnTo>
                    <a:lnTo>
                      <a:pt x="642" y="138"/>
                    </a:lnTo>
                    <a:lnTo>
                      <a:pt x="636" y="138"/>
                    </a:lnTo>
                    <a:lnTo>
                      <a:pt x="636" y="144"/>
                    </a:lnTo>
                    <a:lnTo>
                      <a:pt x="636" y="138"/>
                    </a:lnTo>
                    <a:lnTo>
                      <a:pt x="630" y="138"/>
                    </a:lnTo>
                    <a:lnTo>
                      <a:pt x="624" y="138"/>
                    </a:lnTo>
                    <a:lnTo>
                      <a:pt x="618" y="138"/>
                    </a:lnTo>
                    <a:lnTo>
                      <a:pt x="618" y="144"/>
                    </a:lnTo>
                    <a:lnTo>
                      <a:pt x="618" y="150"/>
                    </a:lnTo>
                    <a:lnTo>
                      <a:pt x="612" y="150"/>
                    </a:lnTo>
                    <a:lnTo>
                      <a:pt x="612" y="156"/>
                    </a:lnTo>
                    <a:lnTo>
                      <a:pt x="606" y="156"/>
                    </a:lnTo>
                    <a:lnTo>
                      <a:pt x="606" y="162"/>
                    </a:lnTo>
                    <a:lnTo>
                      <a:pt x="600" y="162"/>
                    </a:lnTo>
                    <a:lnTo>
                      <a:pt x="600" y="168"/>
                    </a:lnTo>
                    <a:lnTo>
                      <a:pt x="594" y="168"/>
                    </a:lnTo>
                    <a:lnTo>
                      <a:pt x="588" y="168"/>
                    </a:lnTo>
                    <a:lnTo>
                      <a:pt x="582" y="168"/>
                    </a:lnTo>
                    <a:lnTo>
                      <a:pt x="582" y="174"/>
                    </a:lnTo>
                    <a:lnTo>
                      <a:pt x="576" y="174"/>
                    </a:lnTo>
                    <a:lnTo>
                      <a:pt x="570" y="174"/>
                    </a:lnTo>
                    <a:lnTo>
                      <a:pt x="570" y="180"/>
                    </a:lnTo>
                    <a:lnTo>
                      <a:pt x="570" y="186"/>
                    </a:lnTo>
                    <a:lnTo>
                      <a:pt x="564" y="186"/>
                    </a:lnTo>
                    <a:lnTo>
                      <a:pt x="564" y="192"/>
                    </a:lnTo>
                    <a:lnTo>
                      <a:pt x="558" y="192"/>
                    </a:lnTo>
                    <a:lnTo>
                      <a:pt x="564" y="192"/>
                    </a:lnTo>
                    <a:lnTo>
                      <a:pt x="564" y="198"/>
                    </a:lnTo>
                    <a:lnTo>
                      <a:pt x="558" y="198"/>
                    </a:lnTo>
                    <a:lnTo>
                      <a:pt x="552" y="198"/>
                    </a:lnTo>
                    <a:lnTo>
                      <a:pt x="558" y="198"/>
                    </a:lnTo>
                    <a:lnTo>
                      <a:pt x="552" y="198"/>
                    </a:lnTo>
                    <a:lnTo>
                      <a:pt x="552" y="192"/>
                    </a:lnTo>
                    <a:lnTo>
                      <a:pt x="552" y="186"/>
                    </a:lnTo>
                    <a:lnTo>
                      <a:pt x="552" y="192"/>
                    </a:lnTo>
                    <a:lnTo>
                      <a:pt x="546" y="192"/>
                    </a:lnTo>
                    <a:lnTo>
                      <a:pt x="546" y="198"/>
                    </a:lnTo>
                    <a:lnTo>
                      <a:pt x="540" y="198"/>
                    </a:lnTo>
                    <a:lnTo>
                      <a:pt x="540" y="204"/>
                    </a:lnTo>
                    <a:lnTo>
                      <a:pt x="534" y="204"/>
                    </a:lnTo>
                    <a:lnTo>
                      <a:pt x="540" y="204"/>
                    </a:lnTo>
                    <a:lnTo>
                      <a:pt x="534" y="210"/>
                    </a:lnTo>
                    <a:lnTo>
                      <a:pt x="540" y="210"/>
                    </a:lnTo>
                    <a:lnTo>
                      <a:pt x="540" y="216"/>
                    </a:lnTo>
                    <a:lnTo>
                      <a:pt x="534" y="216"/>
                    </a:lnTo>
                    <a:lnTo>
                      <a:pt x="534" y="222"/>
                    </a:lnTo>
                    <a:lnTo>
                      <a:pt x="528" y="222"/>
                    </a:lnTo>
                    <a:lnTo>
                      <a:pt x="528" y="228"/>
                    </a:lnTo>
                    <a:lnTo>
                      <a:pt x="522" y="228"/>
                    </a:lnTo>
                    <a:lnTo>
                      <a:pt x="522" y="234"/>
                    </a:lnTo>
                    <a:lnTo>
                      <a:pt x="516" y="234"/>
                    </a:lnTo>
                    <a:lnTo>
                      <a:pt x="516" y="240"/>
                    </a:lnTo>
                    <a:lnTo>
                      <a:pt x="516" y="246"/>
                    </a:lnTo>
                    <a:lnTo>
                      <a:pt x="516" y="252"/>
                    </a:lnTo>
                    <a:lnTo>
                      <a:pt x="516" y="258"/>
                    </a:lnTo>
                    <a:lnTo>
                      <a:pt x="510" y="258"/>
                    </a:lnTo>
                    <a:lnTo>
                      <a:pt x="510" y="264"/>
                    </a:lnTo>
                    <a:lnTo>
                      <a:pt x="510" y="270"/>
                    </a:lnTo>
                    <a:lnTo>
                      <a:pt x="516" y="270"/>
                    </a:lnTo>
                    <a:lnTo>
                      <a:pt x="516" y="276"/>
                    </a:lnTo>
                    <a:lnTo>
                      <a:pt x="510" y="276"/>
                    </a:lnTo>
                    <a:lnTo>
                      <a:pt x="510" y="282"/>
                    </a:lnTo>
                    <a:lnTo>
                      <a:pt x="504" y="282"/>
                    </a:lnTo>
                    <a:lnTo>
                      <a:pt x="498" y="288"/>
                    </a:lnTo>
                    <a:lnTo>
                      <a:pt x="498" y="282"/>
                    </a:lnTo>
                    <a:lnTo>
                      <a:pt x="498" y="288"/>
                    </a:lnTo>
                    <a:lnTo>
                      <a:pt x="498" y="282"/>
                    </a:lnTo>
                    <a:lnTo>
                      <a:pt x="492" y="282"/>
                    </a:lnTo>
                    <a:lnTo>
                      <a:pt x="492" y="288"/>
                    </a:lnTo>
                    <a:lnTo>
                      <a:pt x="492" y="282"/>
                    </a:lnTo>
                    <a:lnTo>
                      <a:pt x="492" y="276"/>
                    </a:lnTo>
                    <a:lnTo>
                      <a:pt x="492" y="270"/>
                    </a:lnTo>
                    <a:lnTo>
                      <a:pt x="486" y="270"/>
                    </a:lnTo>
                    <a:lnTo>
                      <a:pt x="486" y="276"/>
                    </a:lnTo>
                    <a:lnTo>
                      <a:pt x="480" y="276"/>
                    </a:lnTo>
                    <a:lnTo>
                      <a:pt x="486" y="276"/>
                    </a:lnTo>
                    <a:lnTo>
                      <a:pt x="486" y="282"/>
                    </a:lnTo>
                    <a:lnTo>
                      <a:pt x="480" y="282"/>
                    </a:lnTo>
                    <a:lnTo>
                      <a:pt x="480" y="288"/>
                    </a:lnTo>
                    <a:lnTo>
                      <a:pt x="480" y="282"/>
                    </a:lnTo>
                    <a:lnTo>
                      <a:pt x="480" y="288"/>
                    </a:lnTo>
                    <a:lnTo>
                      <a:pt x="474" y="288"/>
                    </a:lnTo>
                    <a:lnTo>
                      <a:pt x="468" y="288"/>
                    </a:lnTo>
                    <a:lnTo>
                      <a:pt x="474" y="288"/>
                    </a:lnTo>
                    <a:lnTo>
                      <a:pt x="474" y="294"/>
                    </a:lnTo>
                    <a:lnTo>
                      <a:pt x="468" y="294"/>
                    </a:lnTo>
                    <a:lnTo>
                      <a:pt x="462" y="294"/>
                    </a:lnTo>
                    <a:lnTo>
                      <a:pt x="462" y="300"/>
                    </a:lnTo>
                    <a:lnTo>
                      <a:pt x="462" y="306"/>
                    </a:lnTo>
                    <a:lnTo>
                      <a:pt x="462" y="300"/>
                    </a:lnTo>
                    <a:lnTo>
                      <a:pt x="462" y="306"/>
                    </a:lnTo>
                    <a:lnTo>
                      <a:pt x="456" y="306"/>
                    </a:lnTo>
                    <a:lnTo>
                      <a:pt x="456" y="312"/>
                    </a:lnTo>
                    <a:lnTo>
                      <a:pt x="450" y="312"/>
                    </a:lnTo>
                    <a:lnTo>
                      <a:pt x="456" y="312"/>
                    </a:lnTo>
                    <a:lnTo>
                      <a:pt x="450" y="312"/>
                    </a:lnTo>
                    <a:lnTo>
                      <a:pt x="444" y="312"/>
                    </a:lnTo>
                    <a:lnTo>
                      <a:pt x="450" y="312"/>
                    </a:lnTo>
                    <a:lnTo>
                      <a:pt x="444" y="312"/>
                    </a:lnTo>
                    <a:lnTo>
                      <a:pt x="444" y="318"/>
                    </a:lnTo>
                    <a:lnTo>
                      <a:pt x="438" y="318"/>
                    </a:lnTo>
                    <a:lnTo>
                      <a:pt x="438" y="324"/>
                    </a:lnTo>
                    <a:lnTo>
                      <a:pt x="438" y="330"/>
                    </a:lnTo>
                    <a:lnTo>
                      <a:pt x="444" y="330"/>
                    </a:lnTo>
                    <a:lnTo>
                      <a:pt x="444" y="336"/>
                    </a:lnTo>
                    <a:lnTo>
                      <a:pt x="450" y="336"/>
                    </a:lnTo>
                    <a:lnTo>
                      <a:pt x="450" y="342"/>
                    </a:lnTo>
                    <a:lnTo>
                      <a:pt x="456" y="342"/>
                    </a:lnTo>
                    <a:lnTo>
                      <a:pt x="456" y="348"/>
                    </a:lnTo>
                    <a:lnTo>
                      <a:pt x="450" y="348"/>
                    </a:lnTo>
                    <a:lnTo>
                      <a:pt x="450" y="354"/>
                    </a:lnTo>
                    <a:lnTo>
                      <a:pt x="450" y="360"/>
                    </a:lnTo>
                    <a:lnTo>
                      <a:pt x="444" y="360"/>
                    </a:lnTo>
                    <a:lnTo>
                      <a:pt x="444" y="366"/>
                    </a:lnTo>
                    <a:lnTo>
                      <a:pt x="438" y="366"/>
                    </a:lnTo>
                    <a:lnTo>
                      <a:pt x="444" y="366"/>
                    </a:lnTo>
                    <a:lnTo>
                      <a:pt x="438" y="366"/>
                    </a:lnTo>
                    <a:lnTo>
                      <a:pt x="438" y="372"/>
                    </a:lnTo>
                    <a:lnTo>
                      <a:pt x="438" y="378"/>
                    </a:lnTo>
                    <a:lnTo>
                      <a:pt x="438" y="384"/>
                    </a:lnTo>
                    <a:lnTo>
                      <a:pt x="432" y="384"/>
                    </a:lnTo>
                    <a:lnTo>
                      <a:pt x="432" y="390"/>
                    </a:lnTo>
                    <a:lnTo>
                      <a:pt x="426" y="390"/>
                    </a:lnTo>
                    <a:lnTo>
                      <a:pt x="426" y="396"/>
                    </a:lnTo>
                    <a:lnTo>
                      <a:pt x="426" y="390"/>
                    </a:lnTo>
                    <a:lnTo>
                      <a:pt x="426" y="396"/>
                    </a:lnTo>
                    <a:lnTo>
                      <a:pt x="426" y="402"/>
                    </a:lnTo>
                    <a:lnTo>
                      <a:pt x="426" y="408"/>
                    </a:lnTo>
                    <a:lnTo>
                      <a:pt x="426" y="414"/>
                    </a:lnTo>
                    <a:lnTo>
                      <a:pt x="420" y="414"/>
                    </a:lnTo>
                    <a:lnTo>
                      <a:pt x="420" y="420"/>
                    </a:lnTo>
                    <a:lnTo>
                      <a:pt x="420" y="414"/>
                    </a:lnTo>
                    <a:lnTo>
                      <a:pt x="420" y="420"/>
                    </a:lnTo>
                    <a:lnTo>
                      <a:pt x="414" y="420"/>
                    </a:lnTo>
                    <a:lnTo>
                      <a:pt x="414" y="426"/>
                    </a:lnTo>
                    <a:lnTo>
                      <a:pt x="414" y="420"/>
                    </a:lnTo>
                    <a:lnTo>
                      <a:pt x="408" y="420"/>
                    </a:lnTo>
                    <a:lnTo>
                      <a:pt x="414" y="420"/>
                    </a:lnTo>
                    <a:lnTo>
                      <a:pt x="408" y="420"/>
                    </a:lnTo>
                    <a:lnTo>
                      <a:pt x="408" y="426"/>
                    </a:lnTo>
                    <a:lnTo>
                      <a:pt x="408" y="432"/>
                    </a:lnTo>
                    <a:lnTo>
                      <a:pt x="408" y="438"/>
                    </a:lnTo>
                    <a:lnTo>
                      <a:pt x="408" y="444"/>
                    </a:lnTo>
                    <a:lnTo>
                      <a:pt x="408" y="450"/>
                    </a:lnTo>
                    <a:lnTo>
                      <a:pt x="402" y="450"/>
                    </a:lnTo>
                    <a:lnTo>
                      <a:pt x="402" y="456"/>
                    </a:lnTo>
                    <a:lnTo>
                      <a:pt x="408" y="456"/>
                    </a:lnTo>
                    <a:lnTo>
                      <a:pt x="402" y="456"/>
                    </a:lnTo>
                    <a:lnTo>
                      <a:pt x="402" y="462"/>
                    </a:lnTo>
                    <a:lnTo>
                      <a:pt x="402" y="468"/>
                    </a:lnTo>
                    <a:lnTo>
                      <a:pt x="402" y="474"/>
                    </a:lnTo>
                    <a:lnTo>
                      <a:pt x="396" y="474"/>
                    </a:lnTo>
                    <a:lnTo>
                      <a:pt x="402" y="474"/>
                    </a:lnTo>
                    <a:lnTo>
                      <a:pt x="396" y="474"/>
                    </a:lnTo>
                    <a:lnTo>
                      <a:pt x="396" y="480"/>
                    </a:lnTo>
                    <a:lnTo>
                      <a:pt x="396" y="474"/>
                    </a:lnTo>
                    <a:lnTo>
                      <a:pt x="390" y="474"/>
                    </a:lnTo>
                    <a:lnTo>
                      <a:pt x="384" y="474"/>
                    </a:lnTo>
                    <a:lnTo>
                      <a:pt x="384" y="480"/>
                    </a:lnTo>
                    <a:lnTo>
                      <a:pt x="378" y="480"/>
                    </a:lnTo>
                    <a:lnTo>
                      <a:pt x="378" y="474"/>
                    </a:lnTo>
                    <a:lnTo>
                      <a:pt x="372" y="474"/>
                    </a:lnTo>
                    <a:lnTo>
                      <a:pt x="372" y="468"/>
                    </a:lnTo>
                    <a:lnTo>
                      <a:pt x="372" y="462"/>
                    </a:lnTo>
                    <a:lnTo>
                      <a:pt x="366" y="462"/>
                    </a:lnTo>
                    <a:lnTo>
                      <a:pt x="366" y="468"/>
                    </a:lnTo>
                    <a:lnTo>
                      <a:pt x="366" y="474"/>
                    </a:lnTo>
                    <a:lnTo>
                      <a:pt x="360" y="480"/>
                    </a:lnTo>
                    <a:lnTo>
                      <a:pt x="360" y="486"/>
                    </a:lnTo>
                    <a:lnTo>
                      <a:pt x="354" y="486"/>
                    </a:lnTo>
                    <a:lnTo>
                      <a:pt x="348" y="486"/>
                    </a:lnTo>
                    <a:lnTo>
                      <a:pt x="348" y="492"/>
                    </a:lnTo>
                    <a:lnTo>
                      <a:pt x="354" y="492"/>
                    </a:lnTo>
                    <a:lnTo>
                      <a:pt x="354" y="498"/>
                    </a:lnTo>
                    <a:lnTo>
                      <a:pt x="348" y="498"/>
                    </a:lnTo>
                    <a:lnTo>
                      <a:pt x="342" y="504"/>
                    </a:lnTo>
                    <a:lnTo>
                      <a:pt x="336" y="504"/>
                    </a:lnTo>
                    <a:lnTo>
                      <a:pt x="336" y="510"/>
                    </a:lnTo>
                    <a:lnTo>
                      <a:pt x="330" y="510"/>
                    </a:lnTo>
                    <a:lnTo>
                      <a:pt x="330" y="504"/>
                    </a:lnTo>
                    <a:lnTo>
                      <a:pt x="330" y="498"/>
                    </a:lnTo>
                    <a:lnTo>
                      <a:pt x="330" y="492"/>
                    </a:lnTo>
                    <a:lnTo>
                      <a:pt x="324" y="492"/>
                    </a:lnTo>
                    <a:lnTo>
                      <a:pt x="318" y="492"/>
                    </a:lnTo>
                    <a:lnTo>
                      <a:pt x="312" y="492"/>
                    </a:lnTo>
                    <a:lnTo>
                      <a:pt x="306" y="492"/>
                    </a:lnTo>
                    <a:lnTo>
                      <a:pt x="306" y="486"/>
                    </a:lnTo>
                    <a:lnTo>
                      <a:pt x="306" y="480"/>
                    </a:lnTo>
                    <a:lnTo>
                      <a:pt x="312" y="480"/>
                    </a:lnTo>
                    <a:lnTo>
                      <a:pt x="312" y="474"/>
                    </a:lnTo>
                    <a:lnTo>
                      <a:pt x="306" y="474"/>
                    </a:lnTo>
                    <a:lnTo>
                      <a:pt x="306" y="468"/>
                    </a:lnTo>
                    <a:lnTo>
                      <a:pt x="306" y="462"/>
                    </a:lnTo>
                    <a:lnTo>
                      <a:pt x="306" y="456"/>
                    </a:lnTo>
                    <a:lnTo>
                      <a:pt x="306" y="450"/>
                    </a:lnTo>
                    <a:lnTo>
                      <a:pt x="306" y="444"/>
                    </a:lnTo>
                    <a:lnTo>
                      <a:pt x="306" y="438"/>
                    </a:lnTo>
                    <a:lnTo>
                      <a:pt x="312" y="438"/>
                    </a:lnTo>
                    <a:lnTo>
                      <a:pt x="312" y="432"/>
                    </a:lnTo>
                    <a:lnTo>
                      <a:pt x="312" y="426"/>
                    </a:lnTo>
                    <a:lnTo>
                      <a:pt x="312" y="420"/>
                    </a:lnTo>
                    <a:lnTo>
                      <a:pt x="306" y="420"/>
                    </a:lnTo>
                    <a:lnTo>
                      <a:pt x="306" y="414"/>
                    </a:lnTo>
                    <a:lnTo>
                      <a:pt x="306" y="408"/>
                    </a:lnTo>
                    <a:lnTo>
                      <a:pt x="312" y="408"/>
                    </a:lnTo>
                    <a:lnTo>
                      <a:pt x="318" y="408"/>
                    </a:lnTo>
                    <a:lnTo>
                      <a:pt x="318" y="414"/>
                    </a:lnTo>
                    <a:lnTo>
                      <a:pt x="318" y="408"/>
                    </a:lnTo>
                    <a:lnTo>
                      <a:pt x="318" y="414"/>
                    </a:lnTo>
                    <a:lnTo>
                      <a:pt x="324" y="414"/>
                    </a:lnTo>
                    <a:lnTo>
                      <a:pt x="330" y="414"/>
                    </a:lnTo>
                    <a:lnTo>
                      <a:pt x="336" y="414"/>
                    </a:lnTo>
                    <a:lnTo>
                      <a:pt x="336" y="408"/>
                    </a:lnTo>
                    <a:lnTo>
                      <a:pt x="336" y="402"/>
                    </a:lnTo>
                    <a:lnTo>
                      <a:pt x="330" y="402"/>
                    </a:lnTo>
                    <a:lnTo>
                      <a:pt x="336" y="402"/>
                    </a:lnTo>
                    <a:lnTo>
                      <a:pt x="330" y="402"/>
                    </a:lnTo>
                    <a:lnTo>
                      <a:pt x="330" y="396"/>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US" sz="800" dirty="0">
                  <a:solidFill>
                    <a:srgbClr val="000000"/>
                  </a:solidFill>
                </a:endParaRPr>
              </a:p>
            </p:txBody>
          </p:sp>
          <p:sp>
            <p:nvSpPr>
              <p:cNvPr id="80" name="Freeform 92"/>
              <p:cNvSpPr>
                <a:spLocks/>
              </p:cNvSpPr>
              <p:nvPr/>
            </p:nvSpPr>
            <p:spPr bwMode="gray">
              <a:xfrm>
                <a:off x="5938341" y="2802009"/>
                <a:ext cx="293368" cy="313411"/>
              </a:xfrm>
              <a:custGeom>
                <a:avLst/>
                <a:gdLst>
                  <a:gd name="T0" fmla="*/ 18 w 228"/>
                  <a:gd name="T1" fmla="*/ 222 h 246"/>
                  <a:gd name="T2" fmla="*/ 6 w 228"/>
                  <a:gd name="T3" fmla="*/ 210 h 246"/>
                  <a:gd name="T4" fmla="*/ 0 w 228"/>
                  <a:gd name="T5" fmla="*/ 192 h 246"/>
                  <a:gd name="T6" fmla="*/ 6 w 228"/>
                  <a:gd name="T7" fmla="*/ 186 h 246"/>
                  <a:gd name="T8" fmla="*/ 18 w 228"/>
                  <a:gd name="T9" fmla="*/ 186 h 246"/>
                  <a:gd name="T10" fmla="*/ 24 w 228"/>
                  <a:gd name="T11" fmla="*/ 180 h 246"/>
                  <a:gd name="T12" fmla="*/ 36 w 228"/>
                  <a:gd name="T13" fmla="*/ 168 h 246"/>
                  <a:gd name="T14" fmla="*/ 42 w 228"/>
                  <a:gd name="T15" fmla="*/ 162 h 246"/>
                  <a:gd name="T16" fmla="*/ 48 w 228"/>
                  <a:gd name="T17" fmla="*/ 156 h 246"/>
                  <a:gd name="T18" fmla="*/ 48 w 228"/>
                  <a:gd name="T19" fmla="*/ 144 h 246"/>
                  <a:gd name="T20" fmla="*/ 54 w 228"/>
                  <a:gd name="T21" fmla="*/ 162 h 246"/>
                  <a:gd name="T22" fmla="*/ 60 w 228"/>
                  <a:gd name="T23" fmla="*/ 156 h 246"/>
                  <a:gd name="T24" fmla="*/ 72 w 228"/>
                  <a:gd name="T25" fmla="*/ 150 h 246"/>
                  <a:gd name="T26" fmla="*/ 72 w 228"/>
                  <a:gd name="T27" fmla="*/ 138 h 246"/>
                  <a:gd name="T28" fmla="*/ 78 w 228"/>
                  <a:gd name="T29" fmla="*/ 120 h 246"/>
                  <a:gd name="T30" fmla="*/ 84 w 228"/>
                  <a:gd name="T31" fmla="*/ 102 h 246"/>
                  <a:gd name="T32" fmla="*/ 96 w 228"/>
                  <a:gd name="T33" fmla="*/ 90 h 246"/>
                  <a:gd name="T34" fmla="*/ 102 w 228"/>
                  <a:gd name="T35" fmla="*/ 78 h 246"/>
                  <a:gd name="T36" fmla="*/ 108 w 228"/>
                  <a:gd name="T37" fmla="*/ 72 h 246"/>
                  <a:gd name="T38" fmla="*/ 114 w 228"/>
                  <a:gd name="T39" fmla="*/ 66 h 246"/>
                  <a:gd name="T40" fmla="*/ 120 w 228"/>
                  <a:gd name="T41" fmla="*/ 72 h 246"/>
                  <a:gd name="T42" fmla="*/ 126 w 228"/>
                  <a:gd name="T43" fmla="*/ 66 h 246"/>
                  <a:gd name="T44" fmla="*/ 132 w 228"/>
                  <a:gd name="T45" fmla="*/ 48 h 246"/>
                  <a:gd name="T46" fmla="*/ 150 w 228"/>
                  <a:gd name="T47" fmla="*/ 42 h 246"/>
                  <a:gd name="T48" fmla="*/ 168 w 228"/>
                  <a:gd name="T49" fmla="*/ 36 h 246"/>
                  <a:gd name="T50" fmla="*/ 180 w 228"/>
                  <a:gd name="T51" fmla="*/ 24 h 246"/>
                  <a:gd name="T52" fmla="*/ 192 w 228"/>
                  <a:gd name="T53" fmla="*/ 12 h 246"/>
                  <a:gd name="T54" fmla="*/ 204 w 228"/>
                  <a:gd name="T55" fmla="*/ 12 h 246"/>
                  <a:gd name="T56" fmla="*/ 216 w 228"/>
                  <a:gd name="T57" fmla="*/ 0 h 246"/>
                  <a:gd name="T58" fmla="*/ 222 w 228"/>
                  <a:gd name="T59" fmla="*/ 18 h 246"/>
                  <a:gd name="T60" fmla="*/ 222 w 228"/>
                  <a:gd name="T61" fmla="*/ 30 h 246"/>
                  <a:gd name="T62" fmla="*/ 228 w 228"/>
                  <a:gd name="T63" fmla="*/ 48 h 246"/>
                  <a:gd name="T64" fmla="*/ 216 w 228"/>
                  <a:gd name="T65" fmla="*/ 60 h 246"/>
                  <a:gd name="T66" fmla="*/ 204 w 228"/>
                  <a:gd name="T67" fmla="*/ 72 h 246"/>
                  <a:gd name="T68" fmla="*/ 216 w 228"/>
                  <a:gd name="T69" fmla="*/ 84 h 246"/>
                  <a:gd name="T70" fmla="*/ 210 w 228"/>
                  <a:gd name="T71" fmla="*/ 102 h 246"/>
                  <a:gd name="T72" fmla="*/ 210 w 228"/>
                  <a:gd name="T73" fmla="*/ 114 h 246"/>
                  <a:gd name="T74" fmla="*/ 222 w 228"/>
                  <a:gd name="T75" fmla="*/ 126 h 246"/>
                  <a:gd name="T76" fmla="*/ 210 w 228"/>
                  <a:gd name="T77" fmla="*/ 138 h 246"/>
                  <a:gd name="T78" fmla="*/ 198 w 228"/>
                  <a:gd name="T79" fmla="*/ 150 h 246"/>
                  <a:gd name="T80" fmla="*/ 204 w 228"/>
                  <a:gd name="T81" fmla="*/ 168 h 246"/>
                  <a:gd name="T82" fmla="*/ 192 w 228"/>
                  <a:gd name="T83" fmla="*/ 180 h 246"/>
                  <a:gd name="T84" fmla="*/ 186 w 228"/>
                  <a:gd name="T85" fmla="*/ 186 h 246"/>
                  <a:gd name="T86" fmla="*/ 186 w 228"/>
                  <a:gd name="T87" fmla="*/ 198 h 246"/>
                  <a:gd name="T88" fmla="*/ 168 w 228"/>
                  <a:gd name="T89" fmla="*/ 204 h 246"/>
                  <a:gd name="T90" fmla="*/ 150 w 228"/>
                  <a:gd name="T91" fmla="*/ 210 h 246"/>
                  <a:gd name="T92" fmla="*/ 144 w 228"/>
                  <a:gd name="T93" fmla="*/ 192 h 246"/>
                  <a:gd name="T94" fmla="*/ 150 w 228"/>
                  <a:gd name="T95" fmla="*/ 186 h 246"/>
                  <a:gd name="T96" fmla="*/ 144 w 228"/>
                  <a:gd name="T97" fmla="*/ 180 h 246"/>
                  <a:gd name="T98" fmla="*/ 138 w 228"/>
                  <a:gd name="T99" fmla="*/ 186 h 246"/>
                  <a:gd name="T100" fmla="*/ 126 w 228"/>
                  <a:gd name="T101" fmla="*/ 198 h 246"/>
                  <a:gd name="T102" fmla="*/ 108 w 228"/>
                  <a:gd name="T103" fmla="*/ 204 h 246"/>
                  <a:gd name="T104" fmla="*/ 96 w 228"/>
                  <a:gd name="T105" fmla="*/ 204 h 246"/>
                  <a:gd name="T106" fmla="*/ 78 w 228"/>
                  <a:gd name="T107" fmla="*/ 198 h 246"/>
                  <a:gd name="T108" fmla="*/ 66 w 228"/>
                  <a:gd name="T109" fmla="*/ 198 h 246"/>
                  <a:gd name="T110" fmla="*/ 48 w 228"/>
                  <a:gd name="T111" fmla="*/ 204 h 246"/>
                  <a:gd name="T112" fmla="*/ 48 w 228"/>
                  <a:gd name="T113" fmla="*/ 216 h 246"/>
                  <a:gd name="T114" fmla="*/ 42 w 228"/>
                  <a:gd name="T115" fmla="*/ 222 h 246"/>
                  <a:gd name="T116" fmla="*/ 36 w 228"/>
                  <a:gd name="T117" fmla="*/ 240 h 246"/>
                  <a:gd name="T118" fmla="*/ 30 w 228"/>
                  <a:gd name="T119" fmla="*/ 246 h 246"/>
                  <a:gd name="T120" fmla="*/ 24 w 228"/>
                  <a:gd name="T121" fmla="*/ 240 h 246"/>
                  <a:gd name="T122" fmla="*/ 18 w 228"/>
                  <a:gd name="T123" fmla="*/ 23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28" h="246">
                    <a:moveTo>
                      <a:pt x="12" y="234"/>
                    </a:moveTo>
                    <a:lnTo>
                      <a:pt x="12" y="228"/>
                    </a:lnTo>
                    <a:lnTo>
                      <a:pt x="12" y="222"/>
                    </a:lnTo>
                    <a:lnTo>
                      <a:pt x="18" y="222"/>
                    </a:lnTo>
                    <a:lnTo>
                      <a:pt x="18" y="216"/>
                    </a:lnTo>
                    <a:lnTo>
                      <a:pt x="12" y="216"/>
                    </a:lnTo>
                    <a:lnTo>
                      <a:pt x="12" y="210"/>
                    </a:lnTo>
                    <a:lnTo>
                      <a:pt x="6" y="210"/>
                    </a:lnTo>
                    <a:lnTo>
                      <a:pt x="6" y="204"/>
                    </a:lnTo>
                    <a:lnTo>
                      <a:pt x="0" y="204"/>
                    </a:lnTo>
                    <a:lnTo>
                      <a:pt x="0" y="198"/>
                    </a:lnTo>
                    <a:lnTo>
                      <a:pt x="0" y="192"/>
                    </a:lnTo>
                    <a:lnTo>
                      <a:pt x="6" y="192"/>
                    </a:lnTo>
                    <a:lnTo>
                      <a:pt x="6" y="186"/>
                    </a:lnTo>
                    <a:lnTo>
                      <a:pt x="12" y="186"/>
                    </a:lnTo>
                    <a:lnTo>
                      <a:pt x="6" y="186"/>
                    </a:lnTo>
                    <a:lnTo>
                      <a:pt x="12" y="186"/>
                    </a:lnTo>
                    <a:lnTo>
                      <a:pt x="18" y="186"/>
                    </a:lnTo>
                    <a:lnTo>
                      <a:pt x="12" y="186"/>
                    </a:lnTo>
                    <a:lnTo>
                      <a:pt x="18" y="186"/>
                    </a:lnTo>
                    <a:lnTo>
                      <a:pt x="18" y="180"/>
                    </a:lnTo>
                    <a:lnTo>
                      <a:pt x="24" y="180"/>
                    </a:lnTo>
                    <a:lnTo>
                      <a:pt x="24" y="174"/>
                    </a:lnTo>
                    <a:lnTo>
                      <a:pt x="24" y="180"/>
                    </a:lnTo>
                    <a:lnTo>
                      <a:pt x="24" y="174"/>
                    </a:lnTo>
                    <a:lnTo>
                      <a:pt x="24" y="168"/>
                    </a:lnTo>
                    <a:lnTo>
                      <a:pt x="30" y="168"/>
                    </a:lnTo>
                    <a:lnTo>
                      <a:pt x="36" y="168"/>
                    </a:lnTo>
                    <a:lnTo>
                      <a:pt x="36" y="162"/>
                    </a:lnTo>
                    <a:lnTo>
                      <a:pt x="30" y="162"/>
                    </a:lnTo>
                    <a:lnTo>
                      <a:pt x="36" y="162"/>
                    </a:lnTo>
                    <a:lnTo>
                      <a:pt x="42" y="162"/>
                    </a:lnTo>
                    <a:lnTo>
                      <a:pt x="42" y="156"/>
                    </a:lnTo>
                    <a:lnTo>
                      <a:pt x="42" y="162"/>
                    </a:lnTo>
                    <a:lnTo>
                      <a:pt x="42" y="156"/>
                    </a:lnTo>
                    <a:lnTo>
                      <a:pt x="48" y="156"/>
                    </a:lnTo>
                    <a:lnTo>
                      <a:pt x="48" y="150"/>
                    </a:lnTo>
                    <a:lnTo>
                      <a:pt x="42" y="150"/>
                    </a:lnTo>
                    <a:lnTo>
                      <a:pt x="48" y="150"/>
                    </a:lnTo>
                    <a:lnTo>
                      <a:pt x="48" y="144"/>
                    </a:lnTo>
                    <a:lnTo>
                      <a:pt x="54" y="144"/>
                    </a:lnTo>
                    <a:lnTo>
                      <a:pt x="54" y="150"/>
                    </a:lnTo>
                    <a:lnTo>
                      <a:pt x="54" y="156"/>
                    </a:lnTo>
                    <a:lnTo>
                      <a:pt x="54" y="162"/>
                    </a:lnTo>
                    <a:lnTo>
                      <a:pt x="54" y="156"/>
                    </a:lnTo>
                    <a:lnTo>
                      <a:pt x="60" y="156"/>
                    </a:lnTo>
                    <a:lnTo>
                      <a:pt x="60" y="162"/>
                    </a:lnTo>
                    <a:lnTo>
                      <a:pt x="60" y="156"/>
                    </a:lnTo>
                    <a:lnTo>
                      <a:pt x="60" y="162"/>
                    </a:lnTo>
                    <a:lnTo>
                      <a:pt x="66" y="156"/>
                    </a:lnTo>
                    <a:lnTo>
                      <a:pt x="72" y="156"/>
                    </a:lnTo>
                    <a:lnTo>
                      <a:pt x="72" y="150"/>
                    </a:lnTo>
                    <a:lnTo>
                      <a:pt x="78" y="150"/>
                    </a:lnTo>
                    <a:lnTo>
                      <a:pt x="78" y="144"/>
                    </a:lnTo>
                    <a:lnTo>
                      <a:pt x="72" y="144"/>
                    </a:lnTo>
                    <a:lnTo>
                      <a:pt x="72" y="138"/>
                    </a:lnTo>
                    <a:lnTo>
                      <a:pt x="72" y="132"/>
                    </a:lnTo>
                    <a:lnTo>
                      <a:pt x="78" y="132"/>
                    </a:lnTo>
                    <a:lnTo>
                      <a:pt x="78" y="126"/>
                    </a:lnTo>
                    <a:lnTo>
                      <a:pt x="78" y="120"/>
                    </a:lnTo>
                    <a:lnTo>
                      <a:pt x="78" y="114"/>
                    </a:lnTo>
                    <a:lnTo>
                      <a:pt x="78" y="108"/>
                    </a:lnTo>
                    <a:lnTo>
                      <a:pt x="84" y="108"/>
                    </a:lnTo>
                    <a:lnTo>
                      <a:pt x="84" y="102"/>
                    </a:lnTo>
                    <a:lnTo>
                      <a:pt x="90" y="102"/>
                    </a:lnTo>
                    <a:lnTo>
                      <a:pt x="90" y="96"/>
                    </a:lnTo>
                    <a:lnTo>
                      <a:pt x="96" y="96"/>
                    </a:lnTo>
                    <a:lnTo>
                      <a:pt x="96" y="90"/>
                    </a:lnTo>
                    <a:lnTo>
                      <a:pt x="102" y="90"/>
                    </a:lnTo>
                    <a:lnTo>
                      <a:pt x="102" y="84"/>
                    </a:lnTo>
                    <a:lnTo>
                      <a:pt x="96" y="84"/>
                    </a:lnTo>
                    <a:lnTo>
                      <a:pt x="102" y="78"/>
                    </a:lnTo>
                    <a:lnTo>
                      <a:pt x="96" y="78"/>
                    </a:lnTo>
                    <a:lnTo>
                      <a:pt x="102" y="78"/>
                    </a:lnTo>
                    <a:lnTo>
                      <a:pt x="102" y="72"/>
                    </a:lnTo>
                    <a:lnTo>
                      <a:pt x="108" y="72"/>
                    </a:lnTo>
                    <a:lnTo>
                      <a:pt x="108" y="66"/>
                    </a:lnTo>
                    <a:lnTo>
                      <a:pt x="114" y="66"/>
                    </a:lnTo>
                    <a:lnTo>
                      <a:pt x="114" y="60"/>
                    </a:lnTo>
                    <a:lnTo>
                      <a:pt x="114" y="66"/>
                    </a:lnTo>
                    <a:lnTo>
                      <a:pt x="114" y="72"/>
                    </a:lnTo>
                    <a:lnTo>
                      <a:pt x="120" y="72"/>
                    </a:lnTo>
                    <a:lnTo>
                      <a:pt x="114" y="72"/>
                    </a:lnTo>
                    <a:lnTo>
                      <a:pt x="120" y="72"/>
                    </a:lnTo>
                    <a:lnTo>
                      <a:pt x="126" y="72"/>
                    </a:lnTo>
                    <a:lnTo>
                      <a:pt x="126" y="66"/>
                    </a:lnTo>
                    <a:lnTo>
                      <a:pt x="120" y="66"/>
                    </a:lnTo>
                    <a:lnTo>
                      <a:pt x="126" y="66"/>
                    </a:lnTo>
                    <a:lnTo>
                      <a:pt x="126" y="60"/>
                    </a:lnTo>
                    <a:lnTo>
                      <a:pt x="132" y="60"/>
                    </a:lnTo>
                    <a:lnTo>
                      <a:pt x="132" y="54"/>
                    </a:lnTo>
                    <a:lnTo>
                      <a:pt x="132" y="48"/>
                    </a:lnTo>
                    <a:lnTo>
                      <a:pt x="138" y="48"/>
                    </a:lnTo>
                    <a:lnTo>
                      <a:pt x="144" y="48"/>
                    </a:lnTo>
                    <a:lnTo>
                      <a:pt x="144" y="42"/>
                    </a:lnTo>
                    <a:lnTo>
                      <a:pt x="150" y="42"/>
                    </a:lnTo>
                    <a:lnTo>
                      <a:pt x="156" y="42"/>
                    </a:lnTo>
                    <a:lnTo>
                      <a:pt x="162" y="42"/>
                    </a:lnTo>
                    <a:lnTo>
                      <a:pt x="162" y="36"/>
                    </a:lnTo>
                    <a:lnTo>
                      <a:pt x="168" y="36"/>
                    </a:lnTo>
                    <a:lnTo>
                      <a:pt x="168" y="30"/>
                    </a:lnTo>
                    <a:lnTo>
                      <a:pt x="174" y="30"/>
                    </a:lnTo>
                    <a:lnTo>
                      <a:pt x="174" y="24"/>
                    </a:lnTo>
                    <a:lnTo>
                      <a:pt x="180" y="24"/>
                    </a:lnTo>
                    <a:lnTo>
                      <a:pt x="180" y="18"/>
                    </a:lnTo>
                    <a:lnTo>
                      <a:pt x="180" y="12"/>
                    </a:lnTo>
                    <a:lnTo>
                      <a:pt x="186" y="12"/>
                    </a:lnTo>
                    <a:lnTo>
                      <a:pt x="192" y="12"/>
                    </a:lnTo>
                    <a:lnTo>
                      <a:pt x="198" y="12"/>
                    </a:lnTo>
                    <a:lnTo>
                      <a:pt x="198" y="18"/>
                    </a:lnTo>
                    <a:lnTo>
                      <a:pt x="198" y="12"/>
                    </a:lnTo>
                    <a:lnTo>
                      <a:pt x="204" y="12"/>
                    </a:lnTo>
                    <a:lnTo>
                      <a:pt x="210" y="12"/>
                    </a:lnTo>
                    <a:lnTo>
                      <a:pt x="210" y="6"/>
                    </a:lnTo>
                    <a:lnTo>
                      <a:pt x="216" y="6"/>
                    </a:lnTo>
                    <a:lnTo>
                      <a:pt x="216" y="0"/>
                    </a:lnTo>
                    <a:lnTo>
                      <a:pt x="216" y="6"/>
                    </a:lnTo>
                    <a:lnTo>
                      <a:pt x="222" y="6"/>
                    </a:lnTo>
                    <a:lnTo>
                      <a:pt x="222" y="12"/>
                    </a:lnTo>
                    <a:lnTo>
                      <a:pt x="222" y="18"/>
                    </a:lnTo>
                    <a:lnTo>
                      <a:pt x="222" y="24"/>
                    </a:lnTo>
                    <a:lnTo>
                      <a:pt x="216" y="24"/>
                    </a:lnTo>
                    <a:lnTo>
                      <a:pt x="222" y="24"/>
                    </a:lnTo>
                    <a:lnTo>
                      <a:pt x="222" y="30"/>
                    </a:lnTo>
                    <a:lnTo>
                      <a:pt x="222" y="36"/>
                    </a:lnTo>
                    <a:lnTo>
                      <a:pt x="222" y="42"/>
                    </a:lnTo>
                    <a:lnTo>
                      <a:pt x="222" y="48"/>
                    </a:lnTo>
                    <a:lnTo>
                      <a:pt x="228" y="48"/>
                    </a:lnTo>
                    <a:lnTo>
                      <a:pt x="222" y="48"/>
                    </a:lnTo>
                    <a:lnTo>
                      <a:pt x="222" y="54"/>
                    </a:lnTo>
                    <a:lnTo>
                      <a:pt x="216" y="54"/>
                    </a:lnTo>
                    <a:lnTo>
                      <a:pt x="216" y="60"/>
                    </a:lnTo>
                    <a:lnTo>
                      <a:pt x="216" y="66"/>
                    </a:lnTo>
                    <a:lnTo>
                      <a:pt x="210" y="66"/>
                    </a:lnTo>
                    <a:lnTo>
                      <a:pt x="210" y="72"/>
                    </a:lnTo>
                    <a:lnTo>
                      <a:pt x="204" y="72"/>
                    </a:lnTo>
                    <a:lnTo>
                      <a:pt x="204" y="78"/>
                    </a:lnTo>
                    <a:lnTo>
                      <a:pt x="210" y="78"/>
                    </a:lnTo>
                    <a:lnTo>
                      <a:pt x="210" y="84"/>
                    </a:lnTo>
                    <a:lnTo>
                      <a:pt x="216" y="84"/>
                    </a:lnTo>
                    <a:lnTo>
                      <a:pt x="216" y="90"/>
                    </a:lnTo>
                    <a:lnTo>
                      <a:pt x="210" y="90"/>
                    </a:lnTo>
                    <a:lnTo>
                      <a:pt x="210" y="96"/>
                    </a:lnTo>
                    <a:lnTo>
                      <a:pt x="210" y="102"/>
                    </a:lnTo>
                    <a:lnTo>
                      <a:pt x="210" y="108"/>
                    </a:lnTo>
                    <a:lnTo>
                      <a:pt x="216" y="108"/>
                    </a:lnTo>
                    <a:lnTo>
                      <a:pt x="216" y="114"/>
                    </a:lnTo>
                    <a:lnTo>
                      <a:pt x="210" y="114"/>
                    </a:lnTo>
                    <a:lnTo>
                      <a:pt x="210" y="120"/>
                    </a:lnTo>
                    <a:lnTo>
                      <a:pt x="210" y="126"/>
                    </a:lnTo>
                    <a:lnTo>
                      <a:pt x="216" y="126"/>
                    </a:lnTo>
                    <a:lnTo>
                      <a:pt x="222" y="126"/>
                    </a:lnTo>
                    <a:lnTo>
                      <a:pt x="216" y="126"/>
                    </a:lnTo>
                    <a:lnTo>
                      <a:pt x="216" y="132"/>
                    </a:lnTo>
                    <a:lnTo>
                      <a:pt x="216" y="138"/>
                    </a:lnTo>
                    <a:lnTo>
                      <a:pt x="210" y="138"/>
                    </a:lnTo>
                    <a:lnTo>
                      <a:pt x="210" y="144"/>
                    </a:lnTo>
                    <a:lnTo>
                      <a:pt x="204" y="144"/>
                    </a:lnTo>
                    <a:lnTo>
                      <a:pt x="204" y="150"/>
                    </a:lnTo>
                    <a:lnTo>
                      <a:pt x="198" y="150"/>
                    </a:lnTo>
                    <a:lnTo>
                      <a:pt x="198" y="156"/>
                    </a:lnTo>
                    <a:lnTo>
                      <a:pt x="198" y="162"/>
                    </a:lnTo>
                    <a:lnTo>
                      <a:pt x="204" y="162"/>
                    </a:lnTo>
                    <a:lnTo>
                      <a:pt x="204" y="168"/>
                    </a:lnTo>
                    <a:lnTo>
                      <a:pt x="204" y="174"/>
                    </a:lnTo>
                    <a:lnTo>
                      <a:pt x="198" y="174"/>
                    </a:lnTo>
                    <a:lnTo>
                      <a:pt x="198" y="180"/>
                    </a:lnTo>
                    <a:lnTo>
                      <a:pt x="192" y="180"/>
                    </a:lnTo>
                    <a:lnTo>
                      <a:pt x="192" y="186"/>
                    </a:lnTo>
                    <a:lnTo>
                      <a:pt x="186" y="186"/>
                    </a:lnTo>
                    <a:lnTo>
                      <a:pt x="192" y="186"/>
                    </a:lnTo>
                    <a:lnTo>
                      <a:pt x="186" y="186"/>
                    </a:lnTo>
                    <a:lnTo>
                      <a:pt x="186" y="192"/>
                    </a:lnTo>
                    <a:lnTo>
                      <a:pt x="180" y="192"/>
                    </a:lnTo>
                    <a:lnTo>
                      <a:pt x="186" y="192"/>
                    </a:lnTo>
                    <a:lnTo>
                      <a:pt x="186" y="198"/>
                    </a:lnTo>
                    <a:lnTo>
                      <a:pt x="180" y="198"/>
                    </a:lnTo>
                    <a:lnTo>
                      <a:pt x="174" y="198"/>
                    </a:lnTo>
                    <a:lnTo>
                      <a:pt x="174" y="204"/>
                    </a:lnTo>
                    <a:lnTo>
                      <a:pt x="168" y="204"/>
                    </a:lnTo>
                    <a:lnTo>
                      <a:pt x="162" y="204"/>
                    </a:lnTo>
                    <a:lnTo>
                      <a:pt x="162" y="210"/>
                    </a:lnTo>
                    <a:lnTo>
                      <a:pt x="156" y="210"/>
                    </a:lnTo>
                    <a:lnTo>
                      <a:pt x="150" y="210"/>
                    </a:lnTo>
                    <a:lnTo>
                      <a:pt x="150" y="204"/>
                    </a:lnTo>
                    <a:lnTo>
                      <a:pt x="144" y="204"/>
                    </a:lnTo>
                    <a:lnTo>
                      <a:pt x="144" y="198"/>
                    </a:lnTo>
                    <a:lnTo>
                      <a:pt x="144" y="192"/>
                    </a:lnTo>
                    <a:lnTo>
                      <a:pt x="144" y="186"/>
                    </a:lnTo>
                    <a:lnTo>
                      <a:pt x="150" y="186"/>
                    </a:lnTo>
                    <a:lnTo>
                      <a:pt x="144" y="186"/>
                    </a:lnTo>
                    <a:lnTo>
                      <a:pt x="150" y="186"/>
                    </a:lnTo>
                    <a:lnTo>
                      <a:pt x="144" y="186"/>
                    </a:lnTo>
                    <a:lnTo>
                      <a:pt x="150" y="186"/>
                    </a:lnTo>
                    <a:lnTo>
                      <a:pt x="150" y="180"/>
                    </a:lnTo>
                    <a:lnTo>
                      <a:pt x="144" y="180"/>
                    </a:lnTo>
                    <a:lnTo>
                      <a:pt x="144" y="186"/>
                    </a:lnTo>
                    <a:lnTo>
                      <a:pt x="138" y="186"/>
                    </a:lnTo>
                    <a:lnTo>
                      <a:pt x="138" y="192"/>
                    </a:lnTo>
                    <a:lnTo>
                      <a:pt x="138" y="186"/>
                    </a:lnTo>
                    <a:lnTo>
                      <a:pt x="132" y="186"/>
                    </a:lnTo>
                    <a:lnTo>
                      <a:pt x="132" y="192"/>
                    </a:lnTo>
                    <a:lnTo>
                      <a:pt x="126" y="192"/>
                    </a:lnTo>
                    <a:lnTo>
                      <a:pt x="126" y="198"/>
                    </a:lnTo>
                    <a:lnTo>
                      <a:pt x="120" y="198"/>
                    </a:lnTo>
                    <a:lnTo>
                      <a:pt x="120" y="204"/>
                    </a:lnTo>
                    <a:lnTo>
                      <a:pt x="114" y="204"/>
                    </a:lnTo>
                    <a:lnTo>
                      <a:pt x="108" y="204"/>
                    </a:lnTo>
                    <a:lnTo>
                      <a:pt x="102" y="204"/>
                    </a:lnTo>
                    <a:lnTo>
                      <a:pt x="102" y="198"/>
                    </a:lnTo>
                    <a:lnTo>
                      <a:pt x="96" y="198"/>
                    </a:lnTo>
                    <a:lnTo>
                      <a:pt x="96" y="204"/>
                    </a:lnTo>
                    <a:lnTo>
                      <a:pt x="96" y="198"/>
                    </a:lnTo>
                    <a:lnTo>
                      <a:pt x="90" y="198"/>
                    </a:lnTo>
                    <a:lnTo>
                      <a:pt x="84" y="198"/>
                    </a:lnTo>
                    <a:lnTo>
                      <a:pt x="78" y="198"/>
                    </a:lnTo>
                    <a:lnTo>
                      <a:pt x="78" y="192"/>
                    </a:lnTo>
                    <a:lnTo>
                      <a:pt x="78" y="198"/>
                    </a:lnTo>
                    <a:lnTo>
                      <a:pt x="72" y="198"/>
                    </a:lnTo>
                    <a:lnTo>
                      <a:pt x="66" y="198"/>
                    </a:lnTo>
                    <a:lnTo>
                      <a:pt x="60" y="198"/>
                    </a:lnTo>
                    <a:lnTo>
                      <a:pt x="54" y="198"/>
                    </a:lnTo>
                    <a:lnTo>
                      <a:pt x="48" y="198"/>
                    </a:lnTo>
                    <a:lnTo>
                      <a:pt x="48" y="204"/>
                    </a:lnTo>
                    <a:lnTo>
                      <a:pt x="54" y="204"/>
                    </a:lnTo>
                    <a:lnTo>
                      <a:pt x="54" y="210"/>
                    </a:lnTo>
                    <a:lnTo>
                      <a:pt x="54" y="216"/>
                    </a:lnTo>
                    <a:lnTo>
                      <a:pt x="48" y="216"/>
                    </a:lnTo>
                    <a:lnTo>
                      <a:pt x="54" y="216"/>
                    </a:lnTo>
                    <a:lnTo>
                      <a:pt x="48" y="216"/>
                    </a:lnTo>
                    <a:lnTo>
                      <a:pt x="48" y="222"/>
                    </a:lnTo>
                    <a:lnTo>
                      <a:pt x="42" y="222"/>
                    </a:lnTo>
                    <a:lnTo>
                      <a:pt x="42" y="228"/>
                    </a:lnTo>
                    <a:lnTo>
                      <a:pt x="36" y="228"/>
                    </a:lnTo>
                    <a:lnTo>
                      <a:pt x="36" y="234"/>
                    </a:lnTo>
                    <a:lnTo>
                      <a:pt x="36" y="240"/>
                    </a:lnTo>
                    <a:lnTo>
                      <a:pt x="30" y="240"/>
                    </a:lnTo>
                    <a:lnTo>
                      <a:pt x="36" y="240"/>
                    </a:lnTo>
                    <a:lnTo>
                      <a:pt x="30" y="240"/>
                    </a:lnTo>
                    <a:lnTo>
                      <a:pt x="30" y="246"/>
                    </a:lnTo>
                    <a:lnTo>
                      <a:pt x="30" y="240"/>
                    </a:lnTo>
                    <a:lnTo>
                      <a:pt x="30" y="246"/>
                    </a:lnTo>
                    <a:lnTo>
                      <a:pt x="30" y="240"/>
                    </a:lnTo>
                    <a:lnTo>
                      <a:pt x="24" y="240"/>
                    </a:lnTo>
                    <a:lnTo>
                      <a:pt x="24" y="234"/>
                    </a:lnTo>
                    <a:lnTo>
                      <a:pt x="24" y="240"/>
                    </a:lnTo>
                    <a:lnTo>
                      <a:pt x="18" y="240"/>
                    </a:lnTo>
                    <a:lnTo>
                      <a:pt x="18" y="234"/>
                    </a:lnTo>
                    <a:lnTo>
                      <a:pt x="12" y="234"/>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US" sz="800" dirty="0">
                  <a:solidFill>
                    <a:srgbClr val="000000"/>
                  </a:solidFill>
                </a:endParaRPr>
              </a:p>
            </p:txBody>
          </p:sp>
          <p:sp>
            <p:nvSpPr>
              <p:cNvPr id="81" name="Freeform 93"/>
              <p:cNvSpPr>
                <a:spLocks/>
              </p:cNvSpPr>
              <p:nvPr/>
            </p:nvSpPr>
            <p:spPr bwMode="gray">
              <a:xfrm>
                <a:off x="5884301" y="3031334"/>
                <a:ext cx="270207" cy="305769"/>
              </a:xfrm>
              <a:custGeom>
                <a:avLst/>
                <a:gdLst>
                  <a:gd name="T0" fmla="*/ 66 w 210"/>
                  <a:gd name="T1" fmla="*/ 60 h 240"/>
                  <a:gd name="T2" fmla="*/ 72 w 210"/>
                  <a:gd name="T3" fmla="*/ 66 h 240"/>
                  <a:gd name="T4" fmla="*/ 78 w 210"/>
                  <a:gd name="T5" fmla="*/ 60 h 240"/>
                  <a:gd name="T6" fmla="*/ 78 w 210"/>
                  <a:gd name="T7" fmla="*/ 48 h 240"/>
                  <a:gd name="T8" fmla="*/ 90 w 210"/>
                  <a:gd name="T9" fmla="*/ 36 h 240"/>
                  <a:gd name="T10" fmla="*/ 96 w 210"/>
                  <a:gd name="T11" fmla="*/ 30 h 240"/>
                  <a:gd name="T12" fmla="*/ 96 w 210"/>
                  <a:gd name="T13" fmla="*/ 18 h 240"/>
                  <a:gd name="T14" fmla="*/ 120 w 210"/>
                  <a:gd name="T15" fmla="*/ 18 h 240"/>
                  <a:gd name="T16" fmla="*/ 132 w 210"/>
                  <a:gd name="T17" fmla="*/ 18 h 240"/>
                  <a:gd name="T18" fmla="*/ 144 w 210"/>
                  <a:gd name="T19" fmla="*/ 18 h 240"/>
                  <a:gd name="T20" fmla="*/ 162 w 210"/>
                  <a:gd name="T21" fmla="*/ 24 h 240"/>
                  <a:gd name="T22" fmla="*/ 174 w 210"/>
                  <a:gd name="T23" fmla="*/ 12 h 240"/>
                  <a:gd name="T24" fmla="*/ 180 w 210"/>
                  <a:gd name="T25" fmla="*/ 6 h 240"/>
                  <a:gd name="T26" fmla="*/ 192 w 210"/>
                  <a:gd name="T27" fmla="*/ 6 h 240"/>
                  <a:gd name="T28" fmla="*/ 192 w 210"/>
                  <a:gd name="T29" fmla="*/ 6 h 240"/>
                  <a:gd name="T30" fmla="*/ 186 w 210"/>
                  <a:gd name="T31" fmla="*/ 24 h 240"/>
                  <a:gd name="T32" fmla="*/ 198 w 210"/>
                  <a:gd name="T33" fmla="*/ 36 h 240"/>
                  <a:gd name="T34" fmla="*/ 192 w 210"/>
                  <a:gd name="T35" fmla="*/ 54 h 240"/>
                  <a:gd name="T36" fmla="*/ 204 w 210"/>
                  <a:gd name="T37" fmla="*/ 72 h 240"/>
                  <a:gd name="T38" fmla="*/ 210 w 210"/>
                  <a:gd name="T39" fmla="*/ 90 h 240"/>
                  <a:gd name="T40" fmla="*/ 204 w 210"/>
                  <a:gd name="T41" fmla="*/ 108 h 240"/>
                  <a:gd name="T42" fmla="*/ 192 w 210"/>
                  <a:gd name="T43" fmla="*/ 114 h 240"/>
                  <a:gd name="T44" fmla="*/ 192 w 210"/>
                  <a:gd name="T45" fmla="*/ 126 h 240"/>
                  <a:gd name="T46" fmla="*/ 186 w 210"/>
                  <a:gd name="T47" fmla="*/ 132 h 240"/>
                  <a:gd name="T48" fmla="*/ 180 w 210"/>
                  <a:gd name="T49" fmla="*/ 138 h 240"/>
                  <a:gd name="T50" fmla="*/ 174 w 210"/>
                  <a:gd name="T51" fmla="*/ 156 h 240"/>
                  <a:gd name="T52" fmla="*/ 162 w 210"/>
                  <a:gd name="T53" fmla="*/ 168 h 240"/>
                  <a:gd name="T54" fmla="*/ 156 w 210"/>
                  <a:gd name="T55" fmla="*/ 186 h 240"/>
                  <a:gd name="T56" fmla="*/ 150 w 210"/>
                  <a:gd name="T57" fmla="*/ 204 h 240"/>
                  <a:gd name="T58" fmla="*/ 144 w 210"/>
                  <a:gd name="T59" fmla="*/ 210 h 240"/>
                  <a:gd name="T60" fmla="*/ 144 w 210"/>
                  <a:gd name="T61" fmla="*/ 222 h 240"/>
                  <a:gd name="T62" fmla="*/ 138 w 210"/>
                  <a:gd name="T63" fmla="*/ 240 h 240"/>
                  <a:gd name="T64" fmla="*/ 120 w 210"/>
                  <a:gd name="T65" fmla="*/ 234 h 240"/>
                  <a:gd name="T66" fmla="*/ 120 w 210"/>
                  <a:gd name="T67" fmla="*/ 234 h 240"/>
                  <a:gd name="T68" fmla="*/ 102 w 210"/>
                  <a:gd name="T69" fmla="*/ 228 h 240"/>
                  <a:gd name="T70" fmla="*/ 84 w 210"/>
                  <a:gd name="T71" fmla="*/ 222 h 240"/>
                  <a:gd name="T72" fmla="*/ 78 w 210"/>
                  <a:gd name="T73" fmla="*/ 216 h 240"/>
                  <a:gd name="T74" fmla="*/ 72 w 210"/>
                  <a:gd name="T75" fmla="*/ 222 h 240"/>
                  <a:gd name="T76" fmla="*/ 54 w 210"/>
                  <a:gd name="T77" fmla="*/ 228 h 240"/>
                  <a:gd name="T78" fmla="*/ 42 w 210"/>
                  <a:gd name="T79" fmla="*/ 210 h 240"/>
                  <a:gd name="T80" fmla="*/ 30 w 210"/>
                  <a:gd name="T81" fmla="*/ 210 h 240"/>
                  <a:gd name="T82" fmla="*/ 24 w 210"/>
                  <a:gd name="T83" fmla="*/ 216 h 240"/>
                  <a:gd name="T84" fmla="*/ 6 w 210"/>
                  <a:gd name="T85" fmla="*/ 210 h 240"/>
                  <a:gd name="T86" fmla="*/ 0 w 210"/>
                  <a:gd name="T87" fmla="*/ 192 h 240"/>
                  <a:gd name="T88" fmla="*/ 0 w 210"/>
                  <a:gd name="T89" fmla="*/ 192 h 240"/>
                  <a:gd name="T90" fmla="*/ 0 w 210"/>
                  <a:gd name="T91" fmla="*/ 180 h 240"/>
                  <a:gd name="T92" fmla="*/ 6 w 210"/>
                  <a:gd name="T93" fmla="*/ 174 h 240"/>
                  <a:gd name="T94" fmla="*/ 0 w 210"/>
                  <a:gd name="T95" fmla="*/ 168 h 240"/>
                  <a:gd name="T96" fmla="*/ 6 w 210"/>
                  <a:gd name="T97" fmla="*/ 150 h 240"/>
                  <a:gd name="T98" fmla="*/ 12 w 210"/>
                  <a:gd name="T99" fmla="*/ 144 h 240"/>
                  <a:gd name="T100" fmla="*/ 12 w 210"/>
                  <a:gd name="T101" fmla="*/ 120 h 240"/>
                  <a:gd name="T102" fmla="*/ 18 w 210"/>
                  <a:gd name="T103" fmla="*/ 114 h 240"/>
                  <a:gd name="T104" fmla="*/ 24 w 210"/>
                  <a:gd name="T105" fmla="*/ 108 h 240"/>
                  <a:gd name="T106" fmla="*/ 30 w 210"/>
                  <a:gd name="T107" fmla="*/ 102 h 240"/>
                  <a:gd name="T108" fmla="*/ 30 w 210"/>
                  <a:gd name="T109" fmla="*/ 90 h 240"/>
                  <a:gd name="T110" fmla="*/ 42 w 210"/>
                  <a:gd name="T111" fmla="*/ 78 h 240"/>
                  <a:gd name="T112" fmla="*/ 48 w 210"/>
                  <a:gd name="T113" fmla="*/ 60 h 240"/>
                  <a:gd name="T114" fmla="*/ 54 w 210"/>
                  <a:gd name="T115" fmla="*/ 5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0" h="240">
                    <a:moveTo>
                      <a:pt x="54" y="54"/>
                    </a:moveTo>
                    <a:lnTo>
                      <a:pt x="60" y="54"/>
                    </a:lnTo>
                    <a:lnTo>
                      <a:pt x="60" y="60"/>
                    </a:lnTo>
                    <a:lnTo>
                      <a:pt x="66" y="60"/>
                    </a:lnTo>
                    <a:lnTo>
                      <a:pt x="66" y="54"/>
                    </a:lnTo>
                    <a:lnTo>
                      <a:pt x="66" y="60"/>
                    </a:lnTo>
                    <a:lnTo>
                      <a:pt x="72" y="60"/>
                    </a:lnTo>
                    <a:lnTo>
                      <a:pt x="72" y="66"/>
                    </a:lnTo>
                    <a:lnTo>
                      <a:pt x="72" y="60"/>
                    </a:lnTo>
                    <a:lnTo>
                      <a:pt x="72" y="66"/>
                    </a:lnTo>
                    <a:lnTo>
                      <a:pt x="72" y="60"/>
                    </a:lnTo>
                    <a:lnTo>
                      <a:pt x="78" y="60"/>
                    </a:lnTo>
                    <a:lnTo>
                      <a:pt x="72" y="60"/>
                    </a:lnTo>
                    <a:lnTo>
                      <a:pt x="78" y="60"/>
                    </a:lnTo>
                    <a:lnTo>
                      <a:pt x="78" y="54"/>
                    </a:lnTo>
                    <a:lnTo>
                      <a:pt x="78" y="48"/>
                    </a:lnTo>
                    <a:lnTo>
                      <a:pt x="84" y="48"/>
                    </a:lnTo>
                    <a:lnTo>
                      <a:pt x="84" y="42"/>
                    </a:lnTo>
                    <a:lnTo>
                      <a:pt x="90" y="42"/>
                    </a:lnTo>
                    <a:lnTo>
                      <a:pt x="90" y="36"/>
                    </a:lnTo>
                    <a:lnTo>
                      <a:pt x="96" y="36"/>
                    </a:lnTo>
                    <a:lnTo>
                      <a:pt x="90" y="36"/>
                    </a:lnTo>
                    <a:lnTo>
                      <a:pt x="96" y="36"/>
                    </a:lnTo>
                    <a:lnTo>
                      <a:pt x="96" y="30"/>
                    </a:lnTo>
                    <a:lnTo>
                      <a:pt x="96" y="24"/>
                    </a:lnTo>
                    <a:lnTo>
                      <a:pt x="90" y="24"/>
                    </a:lnTo>
                    <a:lnTo>
                      <a:pt x="90" y="18"/>
                    </a:lnTo>
                    <a:lnTo>
                      <a:pt x="96" y="18"/>
                    </a:lnTo>
                    <a:lnTo>
                      <a:pt x="102" y="18"/>
                    </a:lnTo>
                    <a:lnTo>
                      <a:pt x="108" y="18"/>
                    </a:lnTo>
                    <a:lnTo>
                      <a:pt x="114" y="18"/>
                    </a:lnTo>
                    <a:lnTo>
                      <a:pt x="120" y="18"/>
                    </a:lnTo>
                    <a:lnTo>
                      <a:pt x="120" y="12"/>
                    </a:lnTo>
                    <a:lnTo>
                      <a:pt x="120" y="18"/>
                    </a:lnTo>
                    <a:lnTo>
                      <a:pt x="126" y="18"/>
                    </a:lnTo>
                    <a:lnTo>
                      <a:pt x="132" y="18"/>
                    </a:lnTo>
                    <a:lnTo>
                      <a:pt x="138" y="18"/>
                    </a:lnTo>
                    <a:lnTo>
                      <a:pt x="138" y="24"/>
                    </a:lnTo>
                    <a:lnTo>
                      <a:pt x="138" y="18"/>
                    </a:lnTo>
                    <a:lnTo>
                      <a:pt x="144" y="18"/>
                    </a:lnTo>
                    <a:lnTo>
                      <a:pt x="144" y="24"/>
                    </a:lnTo>
                    <a:lnTo>
                      <a:pt x="150" y="24"/>
                    </a:lnTo>
                    <a:lnTo>
                      <a:pt x="156" y="24"/>
                    </a:lnTo>
                    <a:lnTo>
                      <a:pt x="162" y="24"/>
                    </a:lnTo>
                    <a:lnTo>
                      <a:pt x="162" y="18"/>
                    </a:lnTo>
                    <a:lnTo>
                      <a:pt x="168" y="18"/>
                    </a:lnTo>
                    <a:lnTo>
                      <a:pt x="168" y="12"/>
                    </a:lnTo>
                    <a:lnTo>
                      <a:pt x="174" y="12"/>
                    </a:lnTo>
                    <a:lnTo>
                      <a:pt x="174" y="6"/>
                    </a:lnTo>
                    <a:lnTo>
                      <a:pt x="180" y="6"/>
                    </a:lnTo>
                    <a:lnTo>
                      <a:pt x="180" y="12"/>
                    </a:lnTo>
                    <a:lnTo>
                      <a:pt x="180" y="6"/>
                    </a:lnTo>
                    <a:lnTo>
                      <a:pt x="186" y="6"/>
                    </a:lnTo>
                    <a:lnTo>
                      <a:pt x="186" y="0"/>
                    </a:lnTo>
                    <a:lnTo>
                      <a:pt x="192" y="0"/>
                    </a:lnTo>
                    <a:lnTo>
                      <a:pt x="192" y="6"/>
                    </a:lnTo>
                    <a:lnTo>
                      <a:pt x="186" y="6"/>
                    </a:lnTo>
                    <a:lnTo>
                      <a:pt x="192" y="6"/>
                    </a:lnTo>
                    <a:lnTo>
                      <a:pt x="186" y="6"/>
                    </a:lnTo>
                    <a:lnTo>
                      <a:pt x="192" y="6"/>
                    </a:lnTo>
                    <a:lnTo>
                      <a:pt x="186" y="6"/>
                    </a:lnTo>
                    <a:lnTo>
                      <a:pt x="186" y="12"/>
                    </a:lnTo>
                    <a:lnTo>
                      <a:pt x="186" y="18"/>
                    </a:lnTo>
                    <a:lnTo>
                      <a:pt x="186" y="24"/>
                    </a:lnTo>
                    <a:lnTo>
                      <a:pt x="192" y="24"/>
                    </a:lnTo>
                    <a:lnTo>
                      <a:pt x="192" y="30"/>
                    </a:lnTo>
                    <a:lnTo>
                      <a:pt x="198" y="30"/>
                    </a:lnTo>
                    <a:lnTo>
                      <a:pt x="198" y="36"/>
                    </a:lnTo>
                    <a:lnTo>
                      <a:pt x="198" y="42"/>
                    </a:lnTo>
                    <a:lnTo>
                      <a:pt x="192" y="42"/>
                    </a:lnTo>
                    <a:lnTo>
                      <a:pt x="192" y="48"/>
                    </a:lnTo>
                    <a:lnTo>
                      <a:pt x="192" y="54"/>
                    </a:lnTo>
                    <a:lnTo>
                      <a:pt x="192" y="60"/>
                    </a:lnTo>
                    <a:lnTo>
                      <a:pt x="192" y="66"/>
                    </a:lnTo>
                    <a:lnTo>
                      <a:pt x="198" y="66"/>
                    </a:lnTo>
                    <a:lnTo>
                      <a:pt x="204" y="72"/>
                    </a:lnTo>
                    <a:lnTo>
                      <a:pt x="210" y="72"/>
                    </a:lnTo>
                    <a:lnTo>
                      <a:pt x="210" y="78"/>
                    </a:lnTo>
                    <a:lnTo>
                      <a:pt x="210" y="84"/>
                    </a:lnTo>
                    <a:lnTo>
                      <a:pt x="210" y="90"/>
                    </a:lnTo>
                    <a:lnTo>
                      <a:pt x="204" y="90"/>
                    </a:lnTo>
                    <a:lnTo>
                      <a:pt x="204" y="96"/>
                    </a:lnTo>
                    <a:lnTo>
                      <a:pt x="204" y="102"/>
                    </a:lnTo>
                    <a:lnTo>
                      <a:pt x="204" y="108"/>
                    </a:lnTo>
                    <a:lnTo>
                      <a:pt x="198" y="108"/>
                    </a:lnTo>
                    <a:lnTo>
                      <a:pt x="192" y="114"/>
                    </a:lnTo>
                    <a:lnTo>
                      <a:pt x="198" y="114"/>
                    </a:lnTo>
                    <a:lnTo>
                      <a:pt x="192" y="114"/>
                    </a:lnTo>
                    <a:lnTo>
                      <a:pt x="192" y="120"/>
                    </a:lnTo>
                    <a:lnTo>
                      <a:pt x="198" y="120"/>
                    </a:lnTo>
                    <a:lnTo>
                      <a:pt x="192" y="120"/>
                    </a:lnTo>
                    <a:lnTo>
                      <a:pt x="192" y="126"/>
                    </a:lnTo>
                    <a:lnTo>
                      <a:pt x="192" y="132"/>
                    </a:lnTo>
                    <a:lnTo>
                      <a:pt x="192" y="126"/>
                    </a:lnTo>
                    <a:lnTo>
                      <a:pt x="192" y="132"/>
                    </a:lnTo>
                    <a:lnTo>
                      <a:pt x="186" y="132"/>
                    </a:lnTo>
                    <a:lnTo>
                      <a:pt x="186" y="126"/>
                    </a:lnTo>
                    <a:lnTo>
                      <a:pt x="186" y="132"/>
                    </a:lnTo>
                    <a:lnTo>
                      <a:pt x="186" y="138"/>
                    </a:lnTo>
                    <a:lnTo>
                      <a:pt x="180" y="138"/>
                    </a:lnTo>
                    <a:lnTo>
                      <a:pt x="180" y="144"/>
                    </a:lnTo>
                    <a:lnTo>
                      <a:pt x="174" y="144"/>
                    </a:lnTo>
                    <a:lnTo>
                      <a:pt x="174" y="150"/>
                    </a:lnTo>
                    <a:lnTo>
                      <a:pt x="174" y="156"/>
                    </a:lnTo>
                    <a:lnTo>
                      <a:pt x="168" y="156"/>
                    </a:lnTo>
                    <a:lnTo>
                      <a:pt x="168" y="162"/>
                    </a:lnTo>
                    <a:lnTo>
                      <a:pt x="168" y="168"/>
                    </a:lnTo>
                    <a:lnTo>
                      <a:pt x="162" y="168"/>
                    </a:lnTo>
                    <a:lnTo>
                      <a:pt x="162" y="174"/>
                    </a:lnTo>
                    <a:lnTo>
                      <a:pt x="162" y="180"/>
                    </a:lnTo>
                    <a:lnTo>
                      <a:pt x="156" y="180"/>
                    </a:lnTo>
                    <a:lnTo>
                      <a:pt x="156" y="186"/>
                    </a:lnTo>
                    <a:lnTo>
                      <a:pt x="156" y="192"/>
                    </a:lnTo>
                    <a:lnTo>
                      <a:pt x="156" y="198"/>
                    </a:lnTo>
                    <a:lnTo>
                      <a:pt x="150" y="198"/>
                    </a:lnTo>
                    <a:lnTo>
                      <a:pt x="150" y="204"/>
                    </a:lnTo>
                    <a:lnTo>
                      <a:pt x="150" y="210"/>
                    </a:lnTo>
                    <a:lnTo>
                      <a:pt x="150" y="216"/>
                    </a:lnTo>
                    <a:lnTo>
                      <a:pt x="150" y="210"/>
                    </a:lnTo>
                    <a:lnTo>
                      <a:pt x="144" y="210"/>
                    </a:lnTo>
                    <a:lnTo>
                      <a:pt x="144" y="216"/>
                    </a:lnTo>
                    <a:lnTo>
                      <a:pt x="150" y="216"/>
                    </a:lnTo>
                    <a:lnTo>
                      <a:pt x="144" y="216"/>
                    </a:lnTo>
                    <a:lnTo>
                      <a:pt x="144" y="222"/>
                    </a:lnTo>
                    <a:lnTo>
                      <a:pt x="144" y="228"/>
                    </a:lnTo>
                    <a:lnTo>
                      <a:pt x="138" y="228"/>
                    </a:lnTo>
                    <a:lnTo>
                      <a:pt x="138" y="234"/>
                    </a:lnTo>
                    <a:lnTo>
                      <a:pt x="138" y="240"/>
                    </a:lnTo>
                    <a:lnTo>
                      <a:pt x="132" y="240"/>
                    </a:lnTo>
                    <a:lnTo>
                      <a:pt x="132" y="234"/>
                    </a:lnTo>
                    <a:lnTo>
                      <a:pt x="126" y="234"/>
                    </a:lnTo>
                    <a:lnTo>
                      <a:pt x="120" y="234"/>
                    </a:lnTo>
                    <a:lnTo>
                      <a:pt x="126" y="234"/>
                    </a:lnTo>
                    <a:lnTo>
                      <a:pt x="120" y="234"/>
                    </a:lnTo>
                    <a:lnTo>
                      <a:pt x="120" y="228"/>
                    </a:lnTo>
                    <a:lnTo>
                      <a:pt x="120" y="234"/>
                    </a:lnTo>
                    <a:lnTo>
                      <a:pt x="120" y="228"/>
                    </a:lnTo>
                    <a:lnTo>
                      <a:pt x="114" y="228"/>
                    </a:lnTo>
                    <a:lnTo>
                      <a:pt x="108" y="228"/>
                    </a:lnTo>
                    <a:lnTo>
                      <a:pt x="102" y="228"/>
                    </a:lnTo>
                    <a:lnTo>
                      <a:pt x="96" y="228"/>
                    </a:lnTo>
                    <a:lnTo>
                      <a:pt x="96" y="222"/>
                    </a:lnTo>
                    <a:lnTo>
                      <a:pt x="90" y="222"/>
                    </a:lnTo>
                    <a:lnTo>
                      <a:pt x="84" y="222"/>
                    </a:lnTo>
                    <a:lnTo>
                      <a:pt x="84" y="216"/>
                    </a:lnTo>
                    <a:lnTo>
                      <a:pt x="84" y="222"/>
                    </a:lnTo>
                    <a:lnTo>
                      <a:pt x="78" y="222"/>
                    </a:lnTo>
                    <a:lnTo>
                      <a:pt x="78" y="216"/>
                    </a:lnTo>
                    <a:lnTo>
                      <a:pt x="78" y="222"/>
                    </a:lnTo>
                    <a:lnTo>
                      <a:pt x="72" y="222"/>
                    </a:lnTo>
                    <a:lnTo>
                      <a:pt x="72" y="228"/>
                    </a:lnTo>
                    <a:lnTo>
                      <a:pt x="72" y="222"/>
                    </a:lnTo>
                    <a:lnTo>
                      <a:pt x="66" y="222"/>
                    </a:lnTo>
                    <a:lnTo>
                      <a:pt x="66" y="228"/>
                    </a:lnTo>
                    <a:lnTo>
                      <a:pt x="60" y="228"/>
                    </a:lnTo>
                    <a:lnTo>
                      <a:pt x="54" y="228"/>
                    </a:lnTo>
                    <a:lnTo>
                      <a:pt x="54" y="222"/>
                    </a:lnTo>
                    <a:lnTo>
                      <a:pt x="54" y="216"/>
                    </a:lnTo>
                    <a:lnTo>
                      <a:pt x="48" y="210"/>
                    </a:lnTo>
                    <a:lnTo>
                      <a:pt x="42" y="210"/>
                    </a:lnTo>
                    <a:lnTo>
                      <a:pt x="42" y="216"/>
                    </a:lnTo>
                    <a:lnTo>
                      <a:pt x="36" y="216"/>
                    </a:lnTo>
                    <a:lnTo>
                      <a:pt x="30" y="216"/>
                    </a:lnTo>
                    <a:lnTo>
                      <a:pt x="30" y="210"/>
                    </a:lnTo>
                    <a:lnTo>
                      <a:pt x="24" y="210"/>
                    </a:lnTo>
                    <a:lnTo>
                      <a:pt x="30" y="210"/>
                    </a:lnTo>
                    <a:lnTo>
                      <a:pt x="24" y="210"/>
                    </a:lnTo>
                    <a:lnTo>
                      <a:pt x="24" y="216"/>
                    </a:lnTo>
                    <a:lnTo>
                      <a:pt x="18" y="216"/>
                    </a:lnTo>
                    <a:lnTo>
                      <a:pt x="12" y="216"/>
                    </a:lnTo>
                    <a:lnTo>
                      <a:pt x="12" y="210"/>
                    </a:lnTo>
                    <a:lnTo>
                      <a:pt x="6" y="210"/>
                    </a:lnTo>
                    <a:lnTo>
                      <a:pt x="0" y="210"/>
                    </a:lnTo>
                    <a:lnTo>
                      <a:pt x="0" y="204"/>
                    </a:lnTo>
                    <a:lnTo>
                      <a:pt x="0" y="198"/>
                    </a:lnTo>
                    <a:lnTo>
                      <a:pt x="0" y="192"/>
                    </a:lnTo>
                    <a:lnTo>
                      <a:pt x="0" y="198"/>
                    </a:lnTo>
                    <a:lnTo>
                      <a:pt x="0" y="192"/>
                    </a:lnTo>
                    <a:lnTo>
                      <a:pt x="6" y="192"/>
                    </a:lnTo>
                    <a:lnTo>
                      <a:pt x="0" y="192"/>
                    </a:lnTo>
                    <a:lnTo>
                      <a:pt x="6" y="192"/>
                    </a:lnTo>
                    <a:lnTo>
                      <a:pt x="0" y="192"/>
                    </a:lnTo>
                    <a:lnTo>
                      <a:pt x="0" y="186"/>
                    </a:lnTo>
                    <a:lnTo>
                      <a:pt x="0" y="180"/>
                    </a:lnTo>
                    <a:lnTo>
                      <a:pt x="6" y="180"/>
                    </a:lnTo>
                    <a:lnTo>
                      <a:pt x="6" y="174"/>
                    </a:lnTo>
                    <a:lnTo>
                      <a:pt x="0" y="174"/>
                    </a:lnTo>
                    <a:lnTo>
                      <a:pt x="6" y="174"/>
                    </a:lnTo>
                    <a:lnTo>
                      <a:pt x="0" y="174"/>
                    </a:lnTo>
                    <a:lnTo>
                      <a:pt x="0" y="168"/>
                    </a:lnTo>
                    <a:lnTo>
                      <a:pt x="6" y="168"/>
                    </a:lnTo>
                    <a:lnTo>
                      <a:pt x="0" y="168"/>
                    </a:lnTo>
                    <a:lnTo>
                      <a:pt x="6" y="168"/>
                    </a:lnTo>
                    <a:lnTo>
                      <a:pt x="6" y="162"/>
                    </a:lnTo>
                    <a:lnTo>
                      <a:pt x="6" y="156"/>
                    </a:lnTo>
                    <a:lnTo>
                      <a:pt x="6" y="150"/>
                    </a:lnTo>
                    <a:lnTo>
                      <a:pt x="12" y="150"/>
                    </a:lnTo>
                    <a:lnTo>
                      <a:pt x="6" y="150"/>
                    </a:lnTo>
                    <a:lnTo>
                      <a:pt x="6" y="144"/>
                    </a:lnTo>
                    <a:lnTo>
                      <a:pt x="12" y="144"/>
                    </a:lnTo>
                    <a:lnTo>
                      <a:pt x="12" y="138"/>
                    </a:lnTo>
                    <a:lnTo>
                      <a:pt x="12" y="132"/>
                    </a:lnTo>
                    <a:lnTo>
                      <a:pt x="12" y="126"/>
                    </a:lnTo>
                    <a:lnTo>
                      <a:pt x="12" y="120"/>
                    </a:lnTo>
                    <a:lnTo>
                      <a:pt x="12" y="114"/>
                    </a:lnTo>
                    <a:lnTo>
                      <a:pt x="18" y="114"/>
                    </a:lnTo>
                    <a:lnTo>
                      <a:pt x="12" y="114"/>
                    </a:lnTo>
                    <a:lnTo>
                      <a:pt x="18" y="114"/>
                    </a:lnTo>
                    <a:lnTo>
                      <a:pt x="18" y="120"/>
                    </a:lnTo>
                    <a:lnTo>
                      <a:pt x="18" y="114"/>
                    </a:lnTo>
                    <a:lnTo>
                      <a:pt x="24" y="114"/>
                    </a:lnTo>
                    <a:lnTo>
                      <a:pt x="24" y="108"/>
                    </a:lnTo>
                    <a:lnTo>
                      <a:pt x="24" y="114"/>
                    </a:lnTo>
                    <a:lnTo>
                      <a:pt x="24" y="108"/>
                    </a:lnTo>
                    <a:lnTo>
                      <a:pt x="30" y="108"/>
                    </a:lnTo>
                    <a:lnTo>
                      <a:pt x="30" y="102"/>
                    </a:lnTo>
                    <a:lnTo>
                      <a:pt x="30" y="96"/>
                    </a:lnTo>
                    <a:lnTo>
                      <a:pt x="30" y="90"/>
                    </a:lnTo>
                    <a:lnTo>
                      <a:pt x="30" y="84"/>
                    </a:lnTo>
                    <a:lnTo>
                      <a:pt x="30" y="90"/>
                    </a:lnTo>
                    <a:lnTo>
                      <a:pt x="30" y="84"/>
                    </a:lnTo>
                    <a:lnTo>
                      <a:pt x="36" y="84"/>
                    </a:lnTo>
                    <a:lnTo>
                      <a:pt x="36" y="78"/>
                    </a:lnTo>
                    <a:lnTo>
                      <a:pt x="42" y="78"/>
                    </a:lnTo>
                    <a:lnTo>
                      <a:pt x="42" y="72"/>
                    </a:lnTo>
                    <a:lnTo>
                      <a:pt x="42" y="66"/>
                    </a:lnTo>
                    <a:lnTo>
                      <a:pt x="42" y="60"/>
                    </a:lnTo>
                    <a:lnTo>
                      <a:pt x="48" y="60"/>
                    </a:lnTo>
                    <a:lnTo>
                      <a:pt x="42" y="60"/>
                    </a:lnTo>
                    <a:lnTo>
                      <a:pt x="48" y="60"/>
                    </a:lnTo>
                    <a:lnTo>
                      <a:pt x="48" y="54"/>
                    </a:lnTo>
                    <a:lnTo>
                      <a:pt x="54" y="54"/>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US" sz="800" dirty="0">
                  <a:solidFill>
                    <a:srgbClr val="000000"/>
                  </a:solidFill>
                </a:endParaRPr>
              </a:p>
            </p:txBody>
          </p:sp>
          <p:sp>
            <p:nvSpPr>
              <p:cNvPr id="82" name="Freeform 94"/>
              <p:cNvSpPr>
                <a:spLocks/>
              </p:cNvSpPr>
              <p:nvPr/>
            </p:nvSpPr>
            <p:spPr bwMode="gray">
              <a:xfrm>
                <a:off x="5598653" y="3222440"/>
                <a:ext cx="185285" cy="267547"/>
              </a:xfrm>
              <a:custGeom>
                <a:avLst/>
                <a:gdLst>
                  <a:gd name="T0" fmla="*/ 138 w 144"/>
                  <a:gd name="T1" fmla="*/ 18 h 210"/>
                  <a:gd name="T2" fmla="*/ 132 w 144"/>
                  <a:gd name="T3" fmla="*/ 36 h 210"/>
                  <a:gd name="T4" fmla="*/ 144 w 144"/>
                  <a:gd name="T5" fmla="*/ 48 h 210"/>
                  <a:gd name="T6" fmla="*/ 144 w 144"/>
                  <a:gd name="T7" fmla="*/ 60 h 210"/>
                  <a:gd name="T8" fmla="*/ 138 w 144"/>
                  <a:gd name="T9" fmla="*/ 66 h 210"/>
                  <a:gd name="T10" fmla="*/ 138 w 144"/>
                  <a:gd name="T11" fmla="*/ 78 h 210"/>
                  <a:gd name="T12" fmla="*/ 144 w 144"/>
                  <a:gd name="T13" fmla="*/ 84 h 210"/>
                  <a:gd name="T14" fmla="*/ 132 w 144"/>
                  <a:gd name="T15" fmla="*/ 96 h 210"/>
                  <a:gd name="T16" fmla="*/ 132 w 144"/>
                  <a:gd name="T17" fmla="*/ 108 h 210"/>
                  <a:gd name="T18" fmla="*/ 126 w 144"/>
                  <a:gd name="T19" fmla="*/ 102 h 210"/>
                  <a:gd name="T20" fmla="*/ 114 w 144"/>
                  <a:gd name="T21" fmla="*/ 114 h 210"/>
                  <a:gd name="T22" fmla="*/ 102 w 144"/>
                  <a:gd name="T23" fmla="*/ 114 h 210"/>
                  <a:gd name="T24" fmla="*/ 96 w 144"/>
                  <a:gd name="T25" fmla="*/ 120 h 210"/>
                  <a:gd name="T26" fmla="*/ 96 w 144"/>
                  <a:gd name="T27" fmla="*/ 138 h 210"/>
                  <a:gd name="T28" fmla="*/ 84 w 144"/>
                  <a:gd name="T29" fmla="*/ 150 h 210"/>
                  <a:gd name="T30" fmla="*/ 78 w 144"/>
                  <a:gd name="T31" fmla="*/ 168 h 210"/>
                  <a:gd name="T32" fmla="*/ 78 w 144"/>
                  <a:gd name="T33" fmla="*/ 180 h 210"/>
                  <a:gd name="T34" fmla="*/ 84 w 144"/>
                  <a:gd name="T35" fmla="*/ 186 h 210"/>
                  <a:gd name="T36" fmla="*/ 84 w 144"/>
                  <a:gd name="T37" fmla="*/ 186 h 210"/>
                  <a:gd name="T38" fmla="*/ 78 w 144"/>
                  <a:gd name="T39" fmla="*/ 192 h 210"/>
                  <a:gd name="T40" fmla="*/ 72 w 144"/>
                  <a:gd name="T41" fmla="*/ 198 h 210"/>
                  <a:gd name="T42" fmla="*/ 60 w 144"/>
                  <a:gd name="T43" fmla="*/ 210 h 210"/>
                  <a:gd name="T44" fmla="*/ 54 w 144"/>
                  <a:gd name="T45" fmla="*/ 204 h 210"/>
                  <a:gd name="T46" fmla="*/ 48 w 144"/>
                  <a:gd name="T47" fmla="*/ 198 h 210"/>
                  <a:gd name="T48" fmla="*/ 48 w 144"/>
                  <a:gd name="T49" fmla="*/ 186 h 210"/>
                  <a:gd name="T50" fmla="*/ 42 w 144"/>
                  <a:gd name="T51" fmla="*/ 180 h 210"/>
                  <a:gd name="T52" fmla="*/ 42 w 144"/>
                  <a:gd name="T53" fmla="*/ 168 h 210"/>
                  <a:gd name="T54" fmla="*/ 30 w 144"/>
                  <a:gd name="T55" fmla="*/ 168 h 210"/>
                  <a:gd name="T56" fmla="*/ 30 w 144"/>
                  <a:gd name="T57" fmla="*/ 192 h 210"/>
                  <a:gd name="T58" fmla="*/ 30 w 144"/>
                  <a:gd name="T59" fmla="*/ 192 h 210"/>
                  <a:gd name="T60" fmla="*/ 24 w 144"/>
                  <a:gd name="T61" fmla="*/ 174 h 210"/>
                  <a:gd name="T62" fmla="*/ 18 w 144"/>
                  <a:gd name="T63" fmla="*/ 156 h 210"/>
                  <a:gd name="T64" fmla="*/ 18 w 144"/>
                  <a:gd name="T65" fmla="*/ 144 h 210"/>
                  <a:gd name="T66" fmla="*/ 6 w 144"/>
                  <a:gd name="T67" fmla="*/ 132 h 210"/>
                  <a:gd name="T68" fmla="*/ 0 w 144"/>
                  <a:gd name="T69" fmla="*/ 114 h 210"/>
                  <a:gd name="T70" fmla="*/ 0 w 144"/>
                  <a:gd name="T71" fmla="*/ 102 h 210"/>
                  <a:gd name="T72" fmla="*/ 12 w 144"/>
                  <a:gd name="T73" fmla="*/ 90 h 210"/>
                  <a:gd name="T74" fmla="*/ 18 w 144"/>
                  <a:gd name="T75" fmla="*/ 72 h 210"/>
                  <a:gd name="T76" fmla="*/ 30 w 144"/>
                  <a:gd name="T77" fmla="*/ 60 h 210"/>
                  <a:gd name="T78" fmla="*/ 42 w 144"/>
                  <a:gd name="T79" fmla="*/ 60 h 210"/>
                  <a:gd name="T80" fmla="*/ 60 w 144"/>
                  <a:gd name="T81" fmla="*/ 54 h 210"/>
                  <a:gd name="T82" fmla="*/ 66 w 144"/>
                  <a:gd name="T83" fmla="*/ 48 h 210"/>
                  <a:gd name="T84" fmla="*/ 72 w 144"/>
                  <a:gd name="T85" fmla="*/ 42 h 210"/>
                  <a:gd name="T86" fmla="*/ 90 w 144"/>
                  <a:gd name="T87" fmla="*/ 48 h 210"/>
                  <a:gd name="T88" fmla="*/ 96 w 144"/>
                  <a:gd name="T89" fmla="*/ 42 h 210"/>
                  <a:gd name="T90" fmla="*/ 102 w 144"/>
                  <a:gd name="T91" fmla="*/ 24 h 210"/>
                  <a:gd name="T92" fmla="*/ 102 w 144"/>
                  <a:gd name="T93" fmla="*/ 24 h 210"/>
                  <a:gd name="T94" fmla="*/ 108 w 144"/>
                  <a:gd name="T95" fmla="*/ 18 h 210"/>
                  <a:gd name="T96" fmla="*/ 120 w 144"/>
                  <a:gd name="T97" fmla="*/ 18 h 210"/>
                  <a:gd name="T98" fmla="*/ 126 w 144"/>
                  <a:gd name="T99" fmla="*/ 0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44" h="210">
                    <a:moveTo>
                      <a:pt x="132" y="6"/>
                    </a:moveTo>
                    <a:lnTo>
                      <a:pt x="132" y="12"/>
                    </a:lnTo>
                    <a:lnTo>
                      <a:pt x="132" y="18"/>
                    </a:lnTo>
                    <a:lnTo>
                      <a:pt x="138" y="18"/>
                    </a:lnTo>
                    <a:lnTo>
                      <a:pt x="138" y="24"/>
                    </a:lnTo>
                    <a:lnTo>
                      <a:pt x="132" y="24"/>
                    </a:lnTo>
                    <a:lnTo>
                      <a:pt x="132" y="30"/>
                    </a:lnTo>
                    <a:lnTo>
                      <a:pt x="132" y="36"/>
                    </a:lnTo>
                    <a:lnTo>
                      <a:pt x="138" y="36"/>
                    </a:lnTo>
                    <a:lnTo>
                      <a:pt x="138" y="42"/>
                    </a:lnTo>
                    <a:lnTo>
                      <a:pt x="144" y="42"/>
                    </a:lnTo>
                    <a:lnTo>
                      <a:pt x="144" y="48"/>
                    </a:lnTo>
                    <a:lnTo>
                      <a:pt x="144" y="54"/>
                    </a:lnTo>
                    <a:lnTo>
                      <a:pt x="144" y="60"/>
                    </a:lnTo>
                    <a:lnTo>
                      <a:pt x="138" y="60"/>
                    </a:lnTo>
                    <a:lnTo>
                      <a:pt x="144" y="60"/>
                    </a:lnTo>
                    <a:lnTo>
                      <a:pt x="144" y="66"/>
                    </a:lnTo>
                    <a:lnTo>
                      <a:pt x="138" y="66"/>
                    </a:lnTo>
                    <a:lnTo>
                      <a:pt x="144" y="66"/>
                    </a:lnTo>
                    <a:lnTo>
                      <a:pt x="138" y="66"/>
                    </a:lnTo>
                    <a:lnTo>
                      <a:pt x="144" y="66"/>
                    </a:lnTo>
                    <a:lnTo>
                      <a:pt x="144" y="72"/>
                    </a:lnTo>
                    <a:lnTo>
                      <a:pt x="138" y="72"/>
                    </a:lnTo>
                    <a:lnTo>
                      <a:pt x="138" y="78"/>
                    </a:lnTo>
                    <a:lnTo>
                      <a:pt x="144" y="78"/>
                    </a:lnTo>
                    <a:lnTo>
                      <a:pt x="144" y="84"/>
                    </a:lnTo>
                    <a:lnTo>
                      <a:pt x="138" y="84"/>
                    </a:lnTo>
                    <a:lnTo>
                      <a:pt x="144" y="84"/>
                    </a:lnTo>
                    <a:lnTo>
                      <a:pt x="144" y="90"/>
                    </a:lnTo>
                    <a:lnTo>
                      <a:pt x="138" y="90"/>
                    </a:lnTo>
                    <a:lnTo>
                      <a:pt x="132" y="90"/>
                    </a:lnTo>
                    <a:lnTo>
                      <a:pt x="132" y="96"/>
                    </a:lnTo>
                    <a:lnTo>
                      <a:pt x="132" y="102"/>
                    </a:lnTo>
                    <a:lnTo>
                      <a:pt x="138" y="102"/>
                    </a:lnTo>
                    <a:lnTo>
                      <a:pt x="138" y="108"/>
                    </a:lnTo>
                    <a:lnTo>
                      <a:pt x="132" y="108"/>
                    </a:lnTo>
                    <a:lnTo>
                      <a:pt x="132" y="114"/>
                    </a:lnTo>
                    <a:lnTo>
                      <a:pt x="126" y="114"/>
                    </a:lnTo>
                    <a:lnTo>
                      <a:pt x="126" y="108"/>
                    </a:lnTo>
                    <a:lnTo>
                      <a:pt x="126" y="102"/>
                    </a:lnTo>
                    <a:lnTo>
                      <a:pt x="126" y="108"/>
                    </a:lnTo>
                    <a:lnTo>
                      <a:pt x="120" y="108"/>
                    </a:lnTo>
                    <a:lnTo>
                      <a:pt x="120" y="114"/>
                    </a:lnTo>
                    <a:lnTo>
                      <a:pt x="114" y="114"/>
                    </a:lnTo>
                    <a:lnTo>
                      <a:pt x="114" y="120"/>
                    </a:lnTo>
                    <a:lnTo>
                      <a:pt x="108" y="120"/>
                    </a:lnTo>
                    <a:lnTo>
                      <a:pt x="108" y="114"/>
                    </a:lnTo>
                    <a:lnTo>
                      <a:pt x="102" y="114"/>
                    </a:lnTo>
                    <a:lnTo>
                      <a:pt x="102" y="108"/>
                    </a:lnTo>
                    <a:lnTo>
                      <a:pt x="96" y="108"/>
                    </a:lnTo>
                    <a:lnTo>
                      <a:pt x="96" y="114"/>
                    </a:lnTo>
                    <a:lnTo>
                      <a:pt x="96" y="120"/>
                    </a:lnTo>
                    <a:lnTo>
                      <a:pt x="96" y="126"/>
                    </a:lnTo>
                    <a:lnTo>
                      <a:pt x="96" y="132"/>
                    </a:lnTo>
                    <a:lnTo>
                      <a:pt x="102" y="138"/>
                    </a:lnTo>
                    <a:lnTo>
                      <a:pt x="96" y="138"/>
                    </a:lnTo>
                    <a:lnTo>
                      <a:pt x="96" y="144"/>
                    </a:lnTo>
                    <a:lnTo>
                      <a:pt x="90" y="144"/>
                    </a:lnTo>
                    <a:lnTo>
                      <a:pt x="90" y="150"/>
                    </a:lnTo>
                    <a:lnTo>
                      <a:pt x="84" y="150"/>
                    </a:lnTo>
                    <a:lnTo>
                      <a:pt x="84" y="156"/>
                    </a:lnTo>
                    <a:lnTo>
                      <a:pt x="78" y="156"/>
                    </a:lnTo>
                    <a:lnTo>
                      <a:pt x="78" y="162"/>
                    </a:lnTo>
                    <a:lnTo>
                      <a:pt x="78" y="168"/>
                    </a:lnTo>
                    <a:lnTo>
                      <a:pt x="78" y="174"/>
                    </a:lnTo>
                    <a:lnTo>
                      <a:pt x="78" y="180"/>
                    </a:lnTo>
                    <a:lnTo>
                      <a:pt x="84" y="180"/>
                    </a:lnTo>
                    <a:lnTo>
                      <a:pt x="78" y="180"/>
                    </a:lnTo>
                    <a:lnTo>
                      <a:pt x="78" y="186"/>
                    </a:lnTo>
                    <a:lnTo>
                      <a:pt x="84" y="186"/>
                    </a:lnTo>
                    <a:lnTo>
                      <a:pt x="78" y="186"/>
                    </a:lnTo>
                    <a:lnTo>
                      <a:pt x="84" y="186"/>
                    </a:lnTo>
                    <a:lnTo>
                      <a:pt x="78" y="186"/>
                    </a:lnTo>
                    <a:lnTo>
                      <a:pt x="84" y="186"/>
                    </a:lnTo>
                    <a:lnTo>
                      <a:pt x="78" y="186"/>
                    </a:lnTo>
                    <a:lnTo>
                      <a:pt x="84" y="186"/>
                    </a:lnTo>
                    <a:lnTo>
                      <a:pt x="78" y="186"/>
                    </a:lnTo>
                    <a:lnTo>
                      <a:pt x="84" y="186"/>
                    </a:lnTo>
                    <a:lnTo>
                      <a:pt x="84" y="192"/>
                    </a:lnTo>
                    <a:lnTo>
                      <a:pt x="78" y="192"/>
                    </a:lnTo>
                    <a:lnTo>
                      <a:pt x="84" y="192"/>
                    </a:lnTo>
                    <a:lnTo>
                      <a:pt x="78" y="192"/>
                    </a:lnTo>
                    <a:lnTo>
                      <a:pt x="78" y="198"/>
                    </a:lnTo>
                    <a:lnTo>
                      <a:pt x="72" y="198"/>
                    </a:lnTo>
                    <a:lnTo>
                      <a:pt x="72" y="204"/>
                    </a:lnTo>
                    <a:lnTo>
                      <a:pt x="66" y="204"/>
                    </a:lnTo>
                    <a:lnTo>
                      <a:pt x="60" y="204"/>
                    </a:lnTo>
                    <a:lnTo>
                      <a:pt x="60" y="210"/>
                    </a:lnTo>
                    <a:lnTo>
                      <a:pt x="54" y="210"/>
                    </a:lnTo>
                    <a:lnTo>
                      <a:pt x="54" y="204"/>
                    </a:lnTo>
                    <a:lnTo>
                      <a:pt x="54" y="210"/>
                    </a:lnTo>
                    <a:lnTo>
                      <a:pt x="54" y="204"/>
                    </a:lnTo>
                    <a:lnTo>
                      <a:pt x="60" y="204"/>
                    </a:lnTo>
                    <a:lnTo>
                      <a:pt x="54" y="204"/>
                    </a:lnTo>
                    <a:lnTo>
                      <a:pt x="48" y="204"/>
                    </a:lnTo>
                    <a:lnTo>
                      <a:pt x="48" y="198"/>
                    </a:lnTo>
                    <a:lnTo>
                      <a:pt x="48" y="192"/>
                    </a:lnTo>
                    <a:lnTo>
                      <a:pt x="48" y="186"/>
                    </a:lnTo>
                    <a:lnTo>
                      <a:pt x="42" y="186"/>
                    </a:lnTo>
                    <a:lnTo>
                      <a:pt x="48" y="186"/>
                    </a:lnTo>
                    <a:lnTo>
                      <a:pt x="42" y="186"/>
                    </a:lnTo>
                    <a:lnTo>
                      <a:pt x="42" y="180"/>
                    </a:lnTo>
                    <a:lnTo>
                      <a:pt x="48" y="180"/>
                    </a:lnTo>
                    <a:lnTo>
                      <a:pt x="42" y="180"/>
                    </a:lnTo>
                    <a:lnTo>
                      <a:pt x="42" y="174"/>
                    </a:lnTo>
                    <a:lnTo>
                      <a:pt x="36" y="174"/>
                    </a:lnTo>
                    <a:lnTo>
                      <a:pt x="42" y="174"/>
                    </a:lnTo>
                    <a:lnTo>
                      <a:pt x="42" y="168"/>
                    </a:lnTo>
                    <a:lnTo>
                      <a:pt x="36" y="168"/>
                    </a:lnTo>
                    <a:lnTo>
                      <a:pt x="36" y="162"/>
                    </a:lnTo>
                    <a:lnTo>
                      <a:pt x="30" y="162"/>
                    </a:lnTo>
                    <a:lnTo>
                      <a:pt x="30" y="168"/>
                    </a:lnTo>
                    <a:lnTo>
                      <a:pt x="30" y="174"/>
                    </a:lnTo>
                    <a:lnTo>
                      <a:pt x="30" y="180"/>
                    </a:lnTo>
                    <a:lnTo>
                      <a:pt x="30" y="186"/>
                    </a:lnTo>
                    <a:lnTo>
                      <a:pt x="30" y="192"/>
                    </a:lnTo>
                    <a:lnTo>
                      <a:pt x="36" y="192"/>
                    </a:lnTo>
                    <a:lnTo>
                      <a:pt x="30" y="192"/>
                    </a:lnTo>
                    <a:lnTo>
                      <a:pt x="36" y="192"/>
                    </a:lnTo>
                    <a:lnTo>
                      <a:pt x="30" y="192"/>
                    </a:lnTo>
                    <a:lnTo>
                      <a:pt x="24" y="192"/>
                    </a:lnTo>
                    <a:lnTo>
                      <a:pt x="24" y="186"/>
                    </a:lnTo>
                    <a:lnTo>
                      <a:pt x="24" y="180"/>
                    </a:lnTo>
                    <a:lnTo>
                      <a:pt x="24" y="174"/>
                    </a:lnTo>
                    <a:lnTo>
                      <a:pt x="24" y="168"/>
                    </a:lnTo>
                    <a:lnTo>
                      <a:pt x="18" y="168"/>
                    </a:lnTo>
                    <a:lnTo>
                      <a:pt x="18" y="162"/>
                    </a:lnTo>
                    <a:lnTo>
                      <a:pt x="18" y="156"/>
                    </a:lnTo>
                    <a:lnTo>
                      <a:pt x="24" y="156"/>
                    </a:lnTo>
                    <a:lnTo>
                      <a:pt x="18" y="156"/>
                    </a:lnTo>
                    <a:lnTo>
                      <a:pt x="18" y="150"/>
                    </a:lnTo>
                    <a:lnTo>
                      <a:pt x="18" y="144"/>
                    </a:lnTo>
                    <a:lnTo>
                      <a:pt x="12" y="144"/>
                    </a:lnTo>
                    <a:lnTo>
                      <a:pt x="12" y="138"/>
                    </a:lnTo>
                    <a:lnTo>
                      <a:pt x="12" y="132"/>
                    </a:lnTo>
                    <a:lnTo>
                      <a:pt x="6" y="132"/>
                    </a:lnTo>
                    <a:lnTo>
                      <a:pt x="6" y="126"/>
                    </a:lnTo>
                    <a:lnTo>
                      <a:pt x="6" y="120"/>
                    </a:lnTo>
                    <a:lnTo>
                      <a:pt x="0" y="120"/>
                    </a:lnTo>
                    <a:lnTo>
                      <a:pt x="0" y="114"/>
                    </a:lnTo>
                    <a:lnTo>
                      <a:pt x="6" y="114"/>
                    </a:lnTo>
                    <a:lnTo>
                      <a:pt x="0" y="114"/>
                    </a:lnTo>
                    <a:lnTo>
                      <a:pt x="0" y="108"/>
                    </a:lnTo>
                    <a:lnTo>
                      <a:pt x="0" y="102"/>
                    </a:lnTo>
                    <a:lnTo>
                      <a:pt x="6" y="102"/>
                    </a:lnTo>
                    <a:lnTo>
                      <a:pt x="12" y="102"/>
                    </a:lnTo>
                    <a:lnTo>
                      <a:pt x="12" y="96"/>
                    </a:lnTo>
                    <a:lnTo>
                      <a:pt x="12" y="90"/>
                    </a:lnTo>
                    <a:lnTo>
                      <a:pt x="12" y="84"/>
                    </a:lnTo>
                    <a:lnTo>
                      <a:pt x="12" y="78"/>
                    </a:lnTo>
                    <a:lnTo>
                      <a:pt x="18" y="78"/>
                    </a:lnTo>
                    <a:lnTo>
                      <a:pt x="18" y="72"/>
                    </a:lnTo>
                    <a:lnTo>
                      <a:pt x="24" y="72"/>
                    </a:lnTo>
                    <a:lnTo>
                      <a:pt x="30" y="72"/>
                    </a:lnTo>
                    <a:lnTo>
                      <a:pt x="30" y="66"/>
                    </a:lnTo>
                    <a:lnTo>
                      <a:pt x="30" y="60"/>
                    </a:lnTo>
                    <a:lnTo>
                      <a:pt x="30" y="54"/>
                    </a:lnTo>
                    <a:lnTo>
                      <a:pt x="36" y="54"/>
                    </a:lnTo>
                    <a:lnTo>
                      <a:pt x="36" y="60"/>
                    </a:lnTo>
                    <a:lnTo>
                      <a:pt x="42" y="60"/>
                    </a:lnTo>
                    <a:lnTo>
                      <a:pt x="48" y="60"/>
                    </a:lnTo>
                    <a:lnTo>
                      <a:pt x="54" y="60"/>
                    </a:lnTo>
                    <a:lnTo>
                      <a:pt x="60" y="60"/>
                    </a:lnTo>
                    <a:lnTo>
                      <a:pt x="60" y="54"/>
                    </a:lnTo>
                    <a:lnTo>
                      <a:pt x="60" y="48"/>
                    </a:lnTo>
                    <a:lnTo>
                      <a:pt x="60" y="42"/>
                    </a:lnTo>
                    <a:lnTo>
                      <a:pt x="66" y="42"/>
                    </a:lnTo>
                    <a:lnTo>
                      <a:pt x="66" y="48"/>
                    </a:lnTo>
                    <a:lnTo>
                      <a:pt x="66" y="54"/>
                    </a:lnTo>
                    <a:lnTo>
                      <a:pt x="72" y="54"/>
                    </a:lnTo>
                    <a:lnTo>
                      <a:pt x="72" y="48"/>
                    </a:lnTo>
                    <a:lnTo>
                      <a:pt x="72" y="42"/>
                    </a:lnTo>
                    <a:lnTo>
                      <a:pt x="78" y="42"/>
                    </a:lnTo>
                    <a:lnTo>
                      <a:pt x="84" y="42"/>
                    </a:lnTo>
                    <a:lnTo>
                      <a:pt x="84" y="48"/>
                    </a:lnTo>
                    <a:lnTo>
                      <a:pt x="90" y="48"/>
                    </a:lnTo>
                    <a:lnTo>
                      <a:pt x="90" y="54"/>
                    </a:lnTo>
                    <a:lnTo>
                      <a:pt x="90" y="48"/>
                    </a:lnTo>
                    <a:lnTo>
                      <a:pt x="96" y="48"/>
                    </a:lnTo>
                    <a:lnTo>
                      <a:pt x="96" y="42"/>
                    </a:lnTo>
                    <a:lnTo>
                      <a:pt x="96" y="36"/>
                    </a:lnTo>
                    <a:lnTo>
                      <a:pt x="96" y="30"/>
                    </a:lnTo>
                    <a:lnTo>
                      <a:pt x="96" y="24"/>
                    </a:lnTo>
                    <a:lnTo>
                      <a:pt x="102" y="24"/>
                    </a:lnTo>
                    <a:lnTo>
                      <a:pt x="102" y="30"/>
                    </a:lnTo>
                    <a:lnTo>
                      <a:pt x="102" y="24"/>
                    </a:lnTo>
                    <a:lnTo>
                      <a:pt x="102" y="18"/>
                    </a:lnTo>
                    <a:lnTo>
                      <a:pt x="102" y="24"/>
                    </a:lnTo>
                    <a:lnTo>
                      <a:pt x="102" y="18"/>
                    </a:lnTo>
                    <a:lnTo>
                      <a:pt x="102" y="24"/>
                    </a:lnTo>
                    <a:lnTo>
                      <a:pt x="102" y="18"/>
                    </a:lnTo>
                    <a:lnTo>
                      <a:pt x="108" y="18"/>
                    </a:lnTo>
                    <a:lnTo>
                      <a:pt x="108" y="24"/>
                    </a:lnTo>
                    <a:lnTo>
                      <a:pt x="114" y="24"/>
                    </a:lnTo>
                    <a:lnTo>
                      <a:pt x="114" y="18"/>
                    </a:lnTo>
                    <a:lnTo>
                      <a:pt x="120" y="18"/>
                    </a:lnTo>
                    <a:lnTo>
                      <a:pt x="120" y="12"/>
                    </a:lnTo>
                    <a:lnTo>
                      <a:pt x="120" y="6"/>
                    </a:lnTo>
                    <a:lnTo>
                      <a:pt x="120" y="0"/>
                    </a:lnTo>
                    <a:lnTo>
                      <a:pt x="126" y="0"/>
                    </a:lnTo>
                    <a:lnTo>
                      <a:pt x="126" y="6"/>
                    </a:lnTo>
                    <a:lnTo>
                      <a:pt x="132" y="6"/>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US" sz="800" dirty="0">
                  <a:solidFill>
                    <a:srgbClr val="000000"/>
                  </a:solidFill>
                </a:endParaRPr>
              </a:p>
            </p:txBody>
          </p:sp>
          <p:sp>
            <p:nvSpPr>
              <p:cNvPr id="83" name="Freeform 95"/>
              <p:cNvSpPr>
                <a:spLocks/>
              </p:cNvSpPr>
              <p:nvPr/>
            </p:nvSpPr>
            <p:spPr bwMode="gray">
              <a:xfrm>
                <a:off x="5768498" y="3230083"/>
                <a:ext cx="185285" cy="420431"/>
              </a:xfrm>
              <a:custGeom>
                <a:avLst/>
                <a:gdLst>
                  <a:gd name="T0" fmla="*/ 0 w 144"/>
                  <a:gd name="T1" fmla="*/ 90 h 330"/>
                  <a:gd name="T2" fmla="*/ 6 w 144"/>
                  <a:gd name="T3" fmla="*/ 78 h 330"/>
                  <a:gd name="T4" fmla="*/ 12 w 144"/>
                  <a:gd name="T5" fmla="*/ 66 h 330"/>
                  <a:gd name="T6" fmla="*/ 12 w 144"/>
                  <a:gd name="T7" fmla="*/ 60 h 330"/>
                  <a:gd name="T8" fmla="*/ 12 w 144"/>
                  <a:gd name="T9" fmla="*/ 42 h 330"/>
                  <a:gd name="T10" fmla="*/ 18 w 144"/>
                  <a:gd name="T11" fmla="*/ 30 h 330"/>
                  <a:gd name="T12" fmla="*/ 30 w 144"/>
                  <a:gd name="T13" fmla="*/ 48 h 330"/>
                  <a:gd name="T14" fmla="*/ 48 w 144"/>
                  <a:gd name="T15" fmla="*/ 30 h 330"/>
                  <a:gd name="T16" fmla="*/ 54 w 144"/>
                  <a:gd name="T17" fmla="*/ 18 h 330"/>
                  <a:gd name="T18" fmla="*/ 66 w 144"/>
                  <a:gd name="T19" fmla="*/ 6 h 330"/>
                  <a:gd name="T20" fmla="*/ 78 w 144"/>
                  <a:gd name="T21" fmla="*/ 12 h 330"/>
                  <a:gd name="T22" fmla="*/ 96 w 144"/>
                  <a:gd name="T23" fmla="*/ 12 h 330"/>
                  <a:gd name="T24" fmla="*/ 96 w 144"/>
                  <a:gd name="T25" fmla="*/ 18 h 330"/>
                  <a:gd name="T26" fmla="*/ 96 w 144"/>
                  <a:gd name="T27" fmla="*/ 36 h 330"/>
                  <a:gd name="T28" fmla="*/ 90 w 144"/>
                  <a:gd name="T29" fmla="*/ 36 h 330"/>
                  <a:gd name="T30" fmla="*/ 102 w 144"/>
                  <a:gd name="T31" fmla="*/ 54 h 330"/>
                  <a:gd name="T32" fmla="*/ 120 w 144"/>
                  <a:gd name="T33" fmla="*/ 54 h 330"/>
                  <a:gd name="T34" fmla="*/ 132 w 144"/>
                  <a:gd name="T35" fmla="*/ 60 h 330"/>
                  <a:gd name="T36" fmla="*/ 138 w 144"/>
                  <a:gd name="T37" fmla="*/ 84 h 330"/>
                  <a:gd name="T38" fmla="*/ 144 w 144"/>
                  <a:gd name="T39" fmla="*/ 108 h 330"/>
                  <a:gd name="T40" fmla="*/ 144 w 144"/>
                  <a:gd name="T41" fmla="*/ 114 h 330"/>
                  <a:gd name="T42" fmla="*/ 138 w 144"/>
                  <a:gd name="T43" fmla="*/ 138 h 330"/>
                  <a:gd name="T44" fmla="*/ 132 w 144"/>
                  <a:gd name="T45" fmla="*/ 150 h 330"/>
                  <a:gd name="T46" fmla="*/ 132 w 144"/>
                  <a:gd name="T47" fmla="*/ 156 h 330"/>
                  <a:gd name="T48" fmla="*/ 132 w 144"/>
                  <a:gd name="T49" fmla="*/ 162 h 330"/>
                  <a:gd name="T50" fmla="*/ 138 w 144"/>
                  <a:gd name="T51" fmla="*/ 174 h 330"/>
                  <a:gd name="T52" fmla="*/ 138 w 144"/>
                  <a:gd name="T53" fmla="*/ 180 h 330"/>
                  <a:gd name="T54" fmla="*/ 132 w 144"/>
                  <a:gd name="T55" fmla="*/ 192 h 330"/>
                  <a:gd name="T56" fmla="*/ 108 w 144"/>
                  <a:gd name="T57" fmla="*/ 186 h 330"/>
                  <a:gd name="T58" fmla="*/ 108 w 144"/>
                  <a:gd name="T59" fmla="*/ 192 h 330"/>
                  <a:gd name="T60" fmla="*/ 108 w 144"/>
                  <a:gd name="T61" fmla="*/ 210 h 330"/>
                  <a:gd name="T62" fmla="*/ 102 w 144"/>
                  <a:gd name="T63" fmla="*/ 222 h 330"/>
                  <a:gd name="T64" fmla="*/ 108 w 144"/>
                  <a:gd name="T65" fmla="*/ 246 h 330"/>
                  <a:gd name="T66" fmla="*/ 108 w 144"/>
                  <a:gd name="T67" fmla="*/ 264 h 330"/>
                  <a:gd name="T68" fmla="*/ 114 w 144"/>
                  <a:gd name="T69" fmla="*/ 288 h 330"/>
                  <a:gd name="T70" fmla="*/ 96 w 144"/>
                  <a:gd name="T71" fmla="*/ 300 h 330"/>
                  <a:gd name="T72" fmla="*/ 90 w 144"/>
                  <a:gd name="T73" fmla="*/ 324 h 330"/>
                  <a:gd name="T74" fmla="*/ 84 w 144"/>
                  <a:gd name="T75" fmla="*/ 324 h 330"/>
                  <a:gd name="T76" fmla="*/ 78 w 144"/>
                  <a:gd name="T77" fmla="*/ 324 h 330"/>
                  <a:gd name="T78" fmla="*/ 60 w 144"/>
                  <a:gd name="T79" fmla="*/ 306 h 330"/>
                  <a:gd name="T80" fmla="*/ 48 w 144"/>
                  <a:gd name="T81" fmla="*/ 324 h 330"/>
                  <a:gd name="T82" fmla="*/ 42 w 144"/>
                  <a:gd name="T83" fmla="*/ 312 h 330"/>
                  <a:gd name="T84" fmla="*/ 42 w 144"/>
                  <a:gd name="T85" fmla="*/ 294 h 330"/>
                  <a:gd name="T86" fmla="*/ 36 w 144"/>
                  <a:gd name="T87" fmla="*/ 270 h 330"/>
                  <a:gd name="T88" fmla="*/ 36 w 144"/>
                  <a:gd name="T89" fmla="*/ 240 h 330"/>
                  <a:gd name="T90" fmla="*/ 30 w 144"/>
                  <a:gd name="T91" fmla="*/ 228 h 330"/>
                  <a:gd name="T92" fmla="*/ 24 w 144"/>
                  <a:gd name="T93" fmla="*/ 216 h 330"/>
                  <a:gd name="T94" fmla="*/ 18 w 144"/>
                  <a:gd name="T95" fmla="*/ 204 h 330"/>
                  <a:gd name="T96" fmla="*/ 12 w 144"/>
                  <a:gd name="T97" fmla="*/ 180 h 330"/>
                  <a:gd name="T98" fmla="*/ 12 w 144"/>
                  <a:gd name="T99" fmla="*/ 162 h 330"/>
                  <a:gd name="T100" fmla="*/ 18 w 144"/>
                  <a:gd name="T101" fmla="*/ 144 h 330"/>
                  <a:gd name="T102" fmla="*/ 12 w 144"/>
                  <a:gd name="T103" fmla="*/ 132 h 330"/>
                  <a:gd name="T104" fmla="*/ 12 w 144"/>
                  <a:gd name="T105" fmla="*/ 126 h 330"/>
                  <a:gd name="T106" fmla="*/ 6 w 144"/>
                  <a:gd name="T107" fmla="*/ 114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 h="330">
                    <a:moveTo>
                      <a:pt x="0" y="102"/>
                    </a:moveTo>
                    <a:lnTo>
                      <a:pt x="6" y="102"/>
                    </a:lnTo>
                    <a:lnTo>
                      <a:pt x="6" y="96"/>
                    </a:lnTo>
                    <a:lnTo>
                      <a:pt x="0" y="96"/>
                    </a:lnTo>
                    <a:lnTo>
                      <a:pt x="0" y="90"/>
                    </a:lnTo>
                    <a:lnTo>
                      <a:pt x="0" y="84"/>
                    </a:lnTo>
                    <a:lnTo>
                      <a:pt x="6" y="84"/>
                    </a:lnTo>
                    <a:lnTo>
                      <a:pt x="12" y="84"/>
                    </a:lnTo>
                    <a:lnTo>
                      <a:pt x="12" y="78"/>
                    </a:lnTo>
                    <a:lnTo>
                      <a:pt x="6" y="78"/>
                    </a:lnTo>
                    <a:lnTo>
                      <a:pt x="12" y="78"/>
                    </a:lnTo>
                    <a:lnTo>
                      <a:pt x="12" y="72"/>
                    </a:lnTo>
                    <a:lnTo>
                      <a:pt x="6" y="72"/>
                    </a:lnTo>
                    <a:lnTo>
                      <a:pt x="6" y="66"/>
                    </a:lnTo>
                    <a:lnTo>
                      <a:pt x="12" y="66"/>
                    </a:lnTo>
                    <a:lnTo>
                      <a:pt x="12" y="60"/>
                    </a:lnTo>
                    <a:lnTo>
                      <a:pt x="6" y="60"/>
                    </a:lnTo>
                    <a:lnTo>
                      <a:pt x="12" y="60"/>
                    </a:lnTo>
                    <a:lnTo>
                      <a:pt x="6" y="60"/>
                    </a:lnTo>
                    <a:lnTo>
                      <a:pt x="12" y="60"/>
                    </a:lnTo>
                    <a:lnTo>
                      <a:pt x="12" y="54"/>
                    </a:lnTo>
                    <a:lnTo>
                      <a:pt x="6" y="54"/>
                    </a:lnTo>
                    <a:lnTo>
                      <a:pt x="12" y="54"/>
                    </a:lnTo>
                    <a:lnTo>
                      <a:pt x="12" y="48"/>
                    </a:lnTo>
                    <a:lnTo>
                      <a:pt x="12" y="42"/>
                    </a:lnTo>
                    <a:lnTo>
                      <a:pt x="12" y="36"/>
                    </a:lnTo>
                    <a:lnTo>
                      <a:pt x="6" y="36"/>
                    </a:lnTo>
                    <a:lnTo>
                      <a:pt x="6" y="30"/>
                    </a:lnTo>
                    <a:lnTo>
                      <a:pt x="12" y="30"/>
                    </a:lnTo>
                    <a:lnTo>
                      <a:pt x="18" y="30"/>
                    </a:lnTo>
                    <a:lnTo>
                      <a:pt x="24" y="30"/>
                    </a:lnTo>
                    <a:lnTo>
                      <a:pt x="24" y="36"/>
                    </a:lnTo>
                    <a:lnTo>
                      <a:pt x="24" y="42"/>
                    </a:lnTo>
                    <a:lnTo>
                      <a:pt x="24" y="48"/>
                    </a:lnTo>
                    <a:lnTo>
                      <a:pt x="30" y="48"/>
                    </a:lnTo>
                    <a:lnTo>
                      <a:pt x="30" y="42"/>
                    </a:lnTo>
                    <a:lnTo>
                      <a:pt x="36" y="42"/>
                    </a:lnTo>
                    <a:lnTo>
                      <a:pt x="42" y="36"/>
                    </a:lnTo>
                    <a:lnTo>
                      <a:pt x="48" y="36"/>
                    </a:lnTo>
                    <a:lnTo>
                      <a:pt x="48" y="30"/>
                    </a:lnTo>
                    <a:lnTo>
                      <a:pt x="42" y="30"/>
                    </a:lnTo>
                    <a:lnTo>
                      <a:pt x="42" y="24"/>
                    </a:lnTo>
                    <a:lnTo>
                      <a:pt x="48" y="24"/>
                    </a:lnTo>
                    <a:lnTo>
                      <a:pt x="54" y="24"/>
                    </a:lnTo>
                    <a:lnTo>
                      <a:pt x="54" y="18"/>
                    </a:lnTo>
                    <a:lnTo>
                      <a:pt x="60" y="12"/>
                    </a:lnTo>
                    <a:lnTo>
                      <a:pt x="60" y="6"/>
                    </a:lnTo>
                    <a:lnTo>
                      <a:pt x="60" y="0"/>
                    </a:lnTo>
                    <a:lnTo>
                      <a:pt x="66" y="0"/>
                    </a:lnTo>
                    <a:lnTo>
                      <a:pt x="66" y="6"/>
                    </a:lnTo>
                    <a:lnTo>
                      <a:pt x="66" y="12"/>
                    </a:lnTo>
                    <a:lnTo>
                      <a:pt x="72" y="12"/>
                    </a:lnTo>
                    <a:lnTo>
                      <a:pt x="72" y="18"/>
                    </a:lnTo>
                    <a:lnTo>
                      <a:pt x="78" y="18"/>
                    </a:lnTo>
                    <a:lnTo>
                      <a:pt x="78" y="12"/>
                    </a:lnTo>
                    <a:lnTo>
                      <a:pt x="84" y="12"/>
                    </a:lnTo>
                    <a:lnTo>
                      <a:pt x="90" y="12"/>
                    </a:lnTo>
                    <a:lnTo>
                      <a:pt x="90" y="18"/>
                    </a:lnTo>
                    <a:lnTo>
                      <a:pt x="90" y="12"/>
                    </a:lnTo>
                    <a:lnTo>
                      <a:pt x="96" y="12"/>
                    </a:lnTo>
                    <a:lnTo>
                      <a:pt x="90" y="12"/>
                    </a:lnTo>
                    <a:lnTo>
                      <a:pt x="90" y="18"/>
                    </a:lnTo>
                    <a:lnTo>
                      <a:pt x="96" y="18"/>
                    </a:lnTo>
                    <a:lnTo>
                      <a:pt x="90" y="18"/>
                    </a:lnTo>
                    <a:lnTo>
                      <a:pt x="96" y="18"/>
                    </a:lnTo>
                    <a:lnTo>
                      <a:pt x="96" y="24"/>
                    </a:lnTo>
                    <a:lnTo>
                      <a:pt x="90" y="24"/>
                    </a:lnTo>
                    <a:lnTo>
                      <a:pt x="90" y="30"/>
                    </a:lnTo>
                    <a:lnTo>
                      <a:pt x="90" y="36"/>
                    </a:lnTo>
                    <a:lnTo>
                      <a:pt x="96" y="36"/>
                    </a:lnTo>
                    <a:lnTo>
                      <a:pt x="90" y="36"/>
                    </a:lnTo>
                    <a:lnTo>
                      <a:pt x="96" y="36"/>
                    </a:lnTo>
                    <a:lnTo>
                      <a:pt x="90" y="36"/>
                    </a:lnTo>
                    <a:lnTo>
                      <a:pt x="90" y="42"/>
                    </a:lnTo>
                    <a:lnTo>
                      <a:pt x="90" y="36"/>
                    </a:lnTo>
                    <a:lnTo>
                      <a:pt x="90" y="42"/>
                    </a:lnTo>
                    <a:lnTo>
                      <a:pt x="90" y="48"/>
                    </a:lnTo>
                    <a:lnTo>
                      <a:pt x="90" y="54"/>
                    </a:lnTo>
                    <a:lnTo>
                      <a:pt x="96" y="54"/>
                    </a:lnTo>
                    <a:lnTo>
                      <a:pt x="102" y="54"/>
                    </a:lnTo>
                    <a:lnTo>
                      <a:pt x="102" y="60"/>
                    </a:lnTo>
                    <a:lnTo>
                      <a:pt x="108" y="60"/>
                    </a:lnTo>
                    <a:lnTo>
                      <a:pt x="114" y="60"/>
                    </a:lnTo>
                    <a:lnTo>
                      <a:pt x="114" y="54"/>
                    </a:lnTo>
                    <a:lnTo>
                      <a:pt x="120" y="54"/>
                    </a:lnTo>
                    <a:lnTo>
                      <a:pt x="114" y="54"/>
                    </a:lnTo>
                    <a:lnTo>
                      <a:pt x="120" y="54"/>
                    </a:lnTo>
                    <a:lnTo>
                      <a:pt x="120" y="60"/>
                    </a:lnTo>
                    <a:lnTo>
                      <a:pt x="126" y="60"/>
                    </a:lnTo>
                    <a:lnTo>
                      <a:pt x="132" y="60"/>
                    </a:lnTo>
                    <a:lnTo>
                      <a:pt x="132" y="66"/>
                    </a:lnTo>
                    <a:lnTo>
                      <a:pt x="132" y="72"/>
                    </a:lnTo>
                    <a:lnTo>
                      <a:pt x="138" y="72"/>
                    </a:lnTo>
                    <a:lnTo>
                      <a:pt x="138" y="78"/>
                    </a:lnTo>
                    <a:lnTo>
                      <a:pt x="138" y="84"/>
                    </a:lnTo>
                    <a:lnTo>
                      <a:pt x="138" y="90"/>
                    </a:lnTo>
                    <a:lnTo>
                      <a:pt x="138" y="96"/>
                    </a:lnTo>
                    <a:lnTo>
                      <a:pt x="138" y="102"/>
                    </a:lnTo>
                    <a:lnTo>
                      <a:pt x="144" y="102"/>
                    </a:lnTo>
                    <a:lnTo>
                      <a:pt x="144" y="108"/>
                    </a:lnTo>
                    <a:lnTo>
                      <a:pt x="138" y="108"/>
                    </a:lnTo>
                    <a:lnTo>
                      <a:pt x="138" y="114"/>
                    </a:lnTo>
                    <a:lnTo>
                      <a:pt x="144" y="114"/>
                    </a:lnTo>
                    <a:lnTo>
                      <a:pt x="138" y="114"/>
                    </a:lnTo>
                    <a:lnTo>
                      <a:pt x="144" y="114"/>
                    </a:lnTo>
                    <a:lnTo>
                      <a:pt x="144" y="120"/>
                    </a:lnTo>
                    <a:lnTo>
                      <a:pt x="138" y="120"/>
                    </a:lnTo>
                    <a:lnTo>
                      <a:pt x="138" y="126"/>
                    </a:lnTo>
                    <a:lnTo>
                      <a:pt x="138" y="132"/>
                    </a:lnTo>
                    <a:lnTo>
                      <a:pt x="138" y="138"/>
                    </a:lnTo>
                    <a:lnTo>
                      <a:pt x="138" y="144"/>
                    </a:lnTo>
                    <a:lnTo>
                      <a:pt x="138" y="150"/>
                    </a:lnTo>
                    <a:lnTo>
                      <a:pt x="132" y="150"/>
                    </a:lnTo>
                    <a:lnTo>
                      <a:pt x="138" y="150"/>
                    </a:lnTo>
                    <a:lnTo>
                      <a:pt x="132" y="150"/>
                    </a:lnTo>
                    <a:lnTo>
                      <a:pt x="132" y="156"/>
                    </a:lnTo>
                    <a:lnTo>
                      <a:pt x="138" y="156"/>
                    </a:lnTo>
                    <a:lnTo>
                      <a:pt x="132" y="156"/>
                    </a:lnTo>
                    <a:lnTo>
                      <a:pt x="138" y="156"/>
                    </a:lnTo>
                    <a:lnTo>
                      <a:pt x="132" y="156"/>
                    </a:lnTo>
                    <a:lnTo>
                      <a:pt x="132" y="162"/>
                    </a:lnTo>
                    <a:lnTo>
                      <a:pt x="138" y="162"/>
                    </a:lnTo>
                    <a:lnTo>
                      <a:pt x="132" y="162"/>
                    </a:lnTo>
                    <a:lnTo>
                      <a:pt x="138" y="162"/>
                    </a:lnTo>
                    <a:lnTo>
                      <a:pt x="132" y="162"/>
                    </a:lnTo>
                    <a:lnTo>
                      <a:pt x="138" y="162"/>
                    </a:lnTo>
                    <a:lnTo>
                      <a:pt x="138" y="168"/>
                    </a:lnTo>
                    <a:lnTo>
                      <a:pt x="138" y="174"/>
                    </a:lnTo>
                    <a:lnTo>
                      <a:pt x="132" y="174"/>
                    </a:lnTo>
                    <a:lnTo>
                      <a:pt x="138" y="174"/>
                    </a:lnTo>
                    <a:lnTo>
                      <a:pt x="132" y="174"/>
                    </a:lnTo>
                    <a:lnTo>
                      <a:pt x="138" y="174"/>
                    </a:lnTo>
                    <a:lnTo>
                      <a:pt x="132" y="174"/>
                    </a:lnTo>
                    <a:lnTo>
                      <a:pt x="138" y="174"/>
                    </a:lnTo>
                    <a:lnTo>
                      <a:pt x="138" y="180"/>
                    </a:lnTo>
                    <a:lnTo>
                      <a:pt x="132" y="180"/>
                    </a:lnTo>
                    <a:lnTo>
                      <a:pt x="132" y="186"/>
                    </a:lnTo>
                    <a:lnTo>
                      <a:pt x="132" y="180"/>
                    </a:lnTo>
                    <a:lnTo>
                      <a:pt x="132" y="186"/>
                    </a:lnTo>
                    <a:lnTo>
                      <a:pt x="132" y="192"/>
                    </a:lnTo>
                    <a:lnTo>
                      <a:pt x="126" y="192"/>
                    </a:lnTo>
                    <a:lnTo>
                      <a:pt x="120" y="192"/>
                    </a:lnTo>
                    <a:lnTo>
                      <a:pt x="114" y="192"/>
                    </a:lnTo>
                    <a:lnTo>
                      <a:pt x="114" y="186"/>
                    </a:lnTo>
                    <a:lnTo>
                      <a:pt x="108" y="186"/>
                    </a:lnTo>
                    <a:lnTo>
                      <a:pt x="108" y="192"/>
                    </a:lnTo>
                    <a:lnTo>
                      <a:pt x="108" y="186"/>
                    </a:lnTo>
                    <a:lnTo>
                      <a:pt x="108" y="192"/>
                    </a:lnTo>
                    <a:lnTo>
                      <a:pt x="108" y="186"/>
                    </a:lnTo>
                    <a:lnTo>
                      <a:pt x="108" y="192"/>
                    </a:lnTo>
                    <a:lnTo>
                      <a:pt x="102" y="192"/>
                    </a:lnTo>
                    <a:lnTo>
                      <a:pt x="108" y="192"/>
                    </a:lnTo>
                    <a:lnTo>
                      <a:pt x="108" y="198"/>
                    </a:lnTo>
                    <a:lnTo>
                      <a:pt x="108" y="204"/>
                    </a:lnTo>
                    <a:lnTo>
                      <a:pt x="108" y="210"/>
                    </a:lnTo>
                    <a:lnTo>
                      <a:pt x="108" y="204"/>
                    </a:lnTo>
                    <a:lnTo>
                      <a:pt x="108" y="210"/>
                    </a:lnTo>
                    <a:lnTo>
                      <a:pt x="102" y="210"/>
                    </a:lnTo>
                    <a:lnTo>
                      <a:pt x="102" y="216"/>
                    </a:lnTo>
                    <a:lnTo>
                      <a:pt x="102" y="222"/>
                    </a:lnTo>
                    <a:lnTo>
                      <a:pt x="102" y="228"/>
                    </a:lnTo>
                    <a:lnTo>
                      <a:pt x="102" y="234"/>
                    </a:lnTo>
                    <a:lnTo>
                      <a:pt x="102" y="240"/>
                    </a:lnTo>
                    <a:lnTo>
                      <a:pt x="102" y="246"/>
                    </a:lnTo>
                    <a:lnTo>
                      <a:pt x="108" y="246"/>
                    </a:lnTo>
                    <a:lnTo>
                      <a:pt x="108" y="252"/>
                    </a:lnTo>
                    <a:lnTo>
                      <a:pt x="102" y="252"/>
                    </a:lnTo>
                    <a:lnTo>
                      <a:pt x="102" y="258"/>
                    </a:lnTo>
                    <a:lnTo>
                      <a:pt x="108" y="258"/>
                    </a:lnTo>
                    <a:lnTo>
                      <a:pt x="108" y="264"/>
                    </a:lnTo>
                    <a:lnTo>
                      <a:pt x="108" y="270"/>
                    </a:lnTo>
                    <a:lnTo>
                      <a:pt x="114" y="270"/>
                    </a:lnTo>
                    <a:lnTo>
                      <a:pt x="114" y="276"/>
                    </a:lnTo>
                    <a:lnTo>
                      <a:pt x="114" y="282"/>
                    </a:lnTo>
                    <a:lnTo>
                      <a:pt x="114" y="288"/>
                    </a:lnTo>
                    <a:lnTo>
                      <a:pt x="114" y="294"/>
                    </a:lnTo>
                    <a:lnTo>
                      <a:pt x="108" y="294"/>
                    </a:lnTo>
                    <a:lnTo>
                      <a:pt x="108" y="300"/>
                    </a:lnTo>
                    <a:lnTo>
                      <a:pt x="102" y="300"/>
                    </a:lnTo>
                    <a:lnTo>
                      <a:pt x="96" y="300"/>
                    </a:lnTo>
                    <a:lnTo>
                      <a:pt x="96" y="306"/>
                    </a:lnTo>
                    <a:lnTo>
                      <a:pt x="96" y="312"/>
                    </a:lnTo>
                    <a:lnTo>
                      <a:pt x="90" y="312"/>
                    </a:lnTo>
                    <a:lnTo>
                      <a:pt x="90" y="318"/>
                    </a:lnTo>
                    <a:lnTo>
                      <a:pt x="90" y="324"/>
                    </a:lnTo>
                    <a:lnTo>
                      <a:pt x="90" y="330"/>
                    </a:lnTo>
                    <a:lnTo>
                      <a:pt x="90" y="324"/>
                    </a:lnTo>
                    <a:lnTo>
                      <a:pt x="84" y="324"/>
                    </a:lnTo>
                    <a:lnTo>
                      <a:pt x="84" y="318"/>
                    </a:lnTo>
                    <a:lnTo>
                      <a:pt x="84" y="324"/>
                    </a:lnTo>
                    <a:lnTo>
                      <a:pt x="78" y="324"/>
                    </a:lnTo>
                    <a:lnTo>
                      <a:pt x="84" y="324"/>
                    </a:lnTo>
                    <a:lnTo>
                      <a:pt x="78" y="324"/>
                    </a:lnTo>
                    <a:lnTo>
                      <a:pt x="78" y="330"/>
                    </a:lnTo>
                    <a:lnTo>
                      <a:pt x="78" y="324"/>
                    </a:lnTo>
                    <a:lnTo>
                      <a:pt x="78" y="318"/>
                    </a:lnTo>
                    <a:lnTo>
                      <a:pt x="72" y="318"/>
                    </a:lnTo>
                    <a:lnTo>
                      <a:pt x="72" y="312"/>
                    </a:lnTo>
                    <a:lnTo>
                      <a:pt x="66" y="312"/>
                    </a:lnTo>
                    <a:lnTo>
                      <a:pt x="60" y="306"/>
                    </a:lnTo>
                    <a:lnTo>
                      <a:pt x="54" y="306"/>
                    </a:lnTo>
                    <a:lnTo>
                      <a:pt x="54" y="312"/>
                    </a:lnTo>
                    <a:lnTo>
                      <a:pt x="54" y="318"/>
                    </a:lnTo>
                    <a:lnTo>
                      <a:pt x="54" y="324"/>
                    </a:lnTo>
                    <a:lnTo>
                      <a:pt x="48" y="324"/>
                    </a:lnTo>
                    <a:lnTo>
                      <a:pt x="48" y="330"/>
                    </a:lnTo>
                    <a:lnTo>
                      <a:pt x="42" y="330"/>
                    </a:lnTo>
                    <a:lnTo>
                      <a:pt x="42" y="324"/>
                    </a:lnTo>
                    <a:lnTo>
                      <a:pt x="42" y="318"/>
                    </a:lnTo>
                    <a:lnTo>
                      <a:pt x="42" y="312"/>
                    </a:lnTo>
                    <a:lnTo>
                      <a:pt x="42" y="306"/>
                    </a:lnTo>
                    <a:lnTo>
                      <a:pt x="36" y="306"/>
                    </a:lnTo>
                    <a:lnTo>
                      <a:pt x="42" y="306"/>
                    </a:lnTo>
                    <a:lnTo>
                      <a:pt x="42" y="300"/>
                    </a:lnTo>
                    <a:lnTo>
                      <a:pt x="42" y="294"/>
                    </a:lnTo>
                    <a:lnTo>
                      <a:pt x="42" y="288"/>
                    </a:lnTo>
                    <a:lnTo>
                      <a:pt x="42" y="282"/>
                    </a:lnTo>
                    <a:lnTo>
                      <a:pt x="42" y="276"/>
                    </a:lnTo>
                    <a:lnTo>
                      <a:pt x="36" y="276"/>
                    </a:lnTo>
                    <a:lnTo>
                      <a:pt x="36" y="270"/>
                    </a:lnTo>
                    <a:lnTo>
                      <a:pt x="36" y="264"/>
                    </a:lnTo>
                    <a:lnTo>
                      <a:pt x="36" y="258"/>
                    </a:lnTo>
                    <a:lnTo>
                      <a:pt x="36" y="252"/>
                    </a:lnTo>
                    <a:lnTo>
                      <a:pt x="36" y="246"/>
                    </a:lnTo>
                    <a:lnTo>
                      <a:pt x="36" y="240"/>
                    </a:lnTo>
                    <a:lnTo>
                      <a:pt x="36" y="234"/>
                    </a:lnTo>
                    <a:lnTo>
                      <a:pt x="30" y="234"/>
                    </a:lnTo>
                    <a:lnTo>
                      <a:pt x="36" y="234"/>
                    </a:lnTo>
                    <a:lnTo>
                      <a:pt x="30" y="234"/>
                    </a:lnTo>
                    <a:lnTo>
                      <a:pt x="30" y="228"/>
                    </a:lnTo>
                    <a:lnTo>
                      <a:pt x="30" y="222"/>
                    </a:lnTo>
                    <a:lnTo>
                      <a:pt x="24" y="222"/>
                    </a:lnTo>
                    <a:lnTo>
                      <a:pt x="30" y="222"/>
                    </a:lnTo>
                    <a:lnTo>
                      <a:pt x="24" y="222"/>
                    </a:lnTo>
                    <a:lnTo>
                      <a:pt x="24" y="216"/>
                    </a:lnTo>
                    <a:lnTo>
                      <a:pt x="24" y="210"/>
                    </a:lnTo>
                    <a:lnTo>
                      <a:pt x="24" y="204"/>
                    </a:lnTo>
                    <a:lnTo>
                      <a:pt x="18" y="204"/>
                    </a:lnTo>
                    <a:lnTo>
                      <a:pt x="18" y="198"/>
                    </a:lnTo>
                    <a:lnTo>
                      <a:pt x="18" y="204"/>
                    </a:lnTo>
                    <a:lnTo>
                      <a:pt x="18" y="198"/>
                    </a:lnTo>
                    <a:lnTo>
                      <a:pt x="18" y="192"/>
                    </a:lnTo>
                    <a:lnTo>
                      <a:pt x="18" y="186"/>
                    </a:lnTo>
                    <a:lnTo>
                      <a:pt x="18" y="180"/>
                    </a:lnTo>
                    <a:lnTo>
                      <a:pt x="12" y="180"/>
                    </a:lnTo>
                    <a:lnTo>
                      <a:pt x="18" y="180"/>
                    </a:lnTo>
                    <a:lnTo>
                      <a:pt x="12" y="180"/>
                    </a:lnTo>
                    <a:lnTo>
                      <a:pt x="12" y="174"/>
                    </a:lnTo>
                    <a:lnTo>
                      <a:pt x="12" y="168"/>
                    </a:lnTo>
                    <a:lnTo>
                      <a:pt x="12" y="162"/>
                    </a:lnTo>
                    <a:lnTo>
                      <a:pt x="18" y="162"/>
                    </a:lnTo>
                    <a:lnTo>
                      <a:pt x="18" y="156"/>
                    </a:lnTo>
                    <a:lnTo>
                      <a:pt x="12" y="156"/>
                    </a:lnTo>
                    <a:lnTo>
                      <a:pt x="18" y="150"/>
                    </a:lnTo>
                    <a:lnTo>
                      <a:pt x="18" y="144"/>
                    </a:lnTo>
                    <a:lnTo>
                      <a:pt x="18" y="150"/>
                    </a:lnTo>
                    <a:lnTo>
                      <a:pt x="12" y="150"/>
                    </a:lnTo>
                    <a:lnTo>
                      <a:pt x="12" y="144"/>
                    </a:lnTo>
                    <a:lnTo>
                      <a:pt x="12" y="138"/>
                    </a:lnTo>
                    <a:lnTo>
                      <a:pt x="12" y="132"/>
                    </a:lnTo>
                    <a:lnTo>
                      <a:pt x="12" y="126"/>
                    </a:lnTo>
                    <a:lnTo>
                      <a:pt x="6" y="126"/>
                    </a:lnTo>
                    <a:lnTo>
                      <a:pt x="12" y="126"/>
                    </a:lnTo>
                    <a:lnTo>
                      <a:pt x="6" y="126"/>
                    </a:lnTo>
                    <a:lnTo>
                      <a:pt x="12" y="126"/>
                    </a:lnTo>
                    <a:lnTo>
                      <a:pt x="6" y="126"/>
                    </a:lnTo>
                    <a:lnTo>
                      <a:pt x="6" y="120"/>
                    </a:lnTo>
                    <a:lnTo>
                      <a:pt x="6" y="126"/>
                    </a:lnTo>
                    <a:lnTo>
                      <a:pt x="6" y="120"/>
                    </a:lnTo>
                    <a:lnTo>
                      <a:pt x="6" y="114"/>
                    </a:lnTo>
                    <a:lnTo>
                      <a:pt x="6" y="108"/>
                    </a:lnTo>
                    <a:lnTo>
                      <a:pt x="6" y="102"/>
                    </a:lnTo>
                    <a:lnTo>
                      <a:pt x="0" y="102"/>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US" sz="800" dirty="0">
                  <a:solidFill>
                    <a:srgbClr val="000000"/>
                  </a:solidFill>
                </a:endParaRPr>
              </a:p>
            </p:txBody>
          </p:sp>
          <p:sp>
            <p:nvSpPr>
              <p:cNvPr id="84" name="Freeform 96"/>
              <p:cNvSpPr>
                <a:spLocks noEditPoints="1"/>
              </p:cNvSpPr>
              <p:nvPr/>
            </p:nvSpPr>
            <p:spPr bwMode="gray">
              <a:xfrm>
                <a:off x="5760785" y="4972961"/>
                <a:ext cx="270207" cy="1070187"/>
              </a:xfrm>
              <a:custGeom>
                <a:avLst/>
                <a:gdLst>
                  <a:gd name="T0" fmla="*/ 72 w 210"/>
                  <a:gd name="T1" fmla="*/ 120 h 840"/>
                  <a:gd name="T2" fmla="*/ 72 w 210"/>
                  <a:gd name="T3" fmla="*/ 96 h 840"/>
                  <a:gd name="T4" fmla="*/ 78 w 210"/>
                  <a:gd name="T5" fmla="*/ 72 h 840"/>
                  <a:gd name="T6" fmla="*/ 84 w 210"/>
                  <a:gd name="T7" fmla="*/ 24 h 840"/>
                  <a:gd name="T8" fmla="*/ 108 w 210"/>
                  <a:gd name="T9" fmla="*/ 36 h 840"/>
                  <a:gd name="T10" fmla="*/ 102 w 210"/>
                  <a:gd name="T11" fmla="*/ 48 h 840"/>
                  <a:gd name="T12" fmla="*/ 96 w 210"/>
                  <a:gd name="T13" fmla="*/ 78 h 840"/>
                  <a:gd name="T14" fmla="*/ 90 w 210"/>
                  <a:gd name="T15" fmla="*/ 90 h 840"/>
                  <a:gd name="T16" fmla="*/ 90 w 210"/>
                  <a:gd name="T17" fmla="*/ 114 h 840"/>
                  <a:gd name="T18" fmla="*/ 96 w 210"/>
                  <a:gd name="T19" fmla="*/ 150 h 840"/>
                  <a:gd name="T20" fmla="*/ 78 w 210"/>
                  <a:gd name="T21" fmla="*/ 156 h 840"/>
                  <a:gd name="T22" fmla="*/ 78 w 210"/>
                  <a:gd name="T23" fmla="*/ 180 h 840"/>
                  <a:gd name="T24" fmla="*/ 66 w 210"/>
                  <a:gd name="T25" fmla="*/ 180 h 840"/>
                  <a:gd name="T26" fmla="*/ 60 w 210"/>
                  <a:gd name="T27" fmla="*/ 270 h 840"/>
                  <a:gd name="T28" fmla="*/ 48 w 210"/>
                  <a:gd name="T29" fmla="*/ 246 h 840"/>
                  <a:gd name="T30" fmla="*/ 48 w 210"/>
                  <a:gd name="T31" fmla="*/ 222 h 840"/>
                  <a:gd name="T32" fmla="*/ 60 w 210"/>
                  <a:gd name="T33" fmla="*/ 186 h 840"/>
                  <a:gd name="T34" fmla="*/ 66 w 210"/>
                  <a:gd name="T35" fmla="*/ 204 h 840"/>
                  <a:gd name="T36" fmla="*/ 72 w 210"/>
                  <a:gd name="T37" fmla="*/ 234 h 840"/>
                  <a:gd name="T38" fmla="*/ 60 w 210"/>
                  <a:gd name="T39" fmla="*/ 252 h 840"/>
                  <a:gd name="T40" fmla="*/ 210 w 210"/>
                  <a:gd name="T41" fmla="*/ 816 h 840"/>
                  <a:gd name="T42" fmla="*/ 198 w 210"/>
                  <a:gd name="T43" fmla="*/ 840 h 840"/>
                  <a:gd name="T44" fmla="*/ 180 w 210"/>
                  <a:gd name="T45" fmla="*/ 810 h 840"/>
                  <a:gd name="T46" fmla="*/ 192 w 210"/>
                  <a:gd name="T47" fmla="*/ 786 h 840"/>
                  <a:gd name="T48" fmla="*/ 24 w 210"/>
                  <a:gd name="T49" fmla="*/ 384 h 840"/>
                  <a:gd name="T50" fmla="*/ 30 w 210"/>
                  <a:gd name="T51" fmla="*/ 342 h 840"/>
                  <a:gd name="T52" fmla="*/ 144 w 210"/>
                  <a:gd name="T53" fmla="*/ 702 h 840"/>
                  <a:gd name="T54" fmla="*/ 186 w 210"/>
                  <a:gd name="T55" fmla="*/ 774 h 840"/>
                  <a:gd name="T56" fmla="*/ 180 w 210"/>
                  <a:gd name="T57" fmla="*/ 768 h 840"/>
                  <a:gd name="T58" fmla="*/ 156 w 210"/>
                  <a:gd name="T59" fmla="*/ 690 h 840"/>
                  <a:gd name="T60" fmla="*/ 162 w 210"/>
                  <a:gd name="T61" fmla="*/ 666 h 840"/>
                  <a:gd name="T62" fmla="*/ 72 w 210"/>
                  <a:gd name="T63" fmla="*/ 546 h 840"/>
                  <a:gd name="T64" fmla="*/ 54 w 210"/>
                  <a:gd name="T65" fmla="*/ 270 h 840"/>
                  <a:gd name="T66" fmla="*/ 60 w 210"/>
                  <a:gd name="T67" fmla="*/ 102 h 840"/>
                  <a:gd name="T68" fmla="*/ 90 w 210"/>
                  <a:gd name="T69" fmla="*/ 210 h 840"/>
                  <a:gd name="T70" fmla="*/ 108 w 210"/>
                  <a:gd name="T71" fmla="*/ 660 h 840"/>
                  <a:gd name="T72" fmla="*/ 108 w 210"/>
                  <a:gd name="T73" fmla="*/ 198 h 840"/>
                  <a:gd name="T74" fmla="*/ 156 w 210"/>
                  <a:gd name="T75" fmla="*/ 696 h 840"/>
                  <a:gd name="T76" fmla="*/ 102 w 210"/>
                  <a:gd name="T77" fmla="*/ 6 h 840"/>
                  <a:gd name="T78" fmla="*/ 168 w 210"/>
                  <a:gd name="T79" fmla="*/ 630 h 840"/>
                  <a:gd name="T80" fmla="*/ 90 w 210"/>
                  <a:gd name="T81" fmla="*/ 156 h 840"/>
                  <a:gd name="T82" fmla="*/ 60 w 210"/>
                  <a:gd name="T83" fmla="*/ 108 h 840"/>
                  <a:gd name="T84" fmla="*/ 84 w 210"/>
                  <a:gd name="T85" fmla="*/ 168 h 840"/>
                  <a:gd name="T86" fmla="*/ 96 w 210"/>
                  <a:gd name="T87" fmla="*/ 192 h 840"/>
                  <a:gd name="T88" fmla="*/ 84 w 210"/>
                  <a:gd name="T89" fmla="*/ 174 h 840"/>
                  <a:gd name="T90" fmla="*/ 60 w 210"/>
                  <a:gd name="T91" fmla="*/ 180 h 840"/>
                  <a:gd name="T92" fmla="*/ 90 w 210"/>
                  <a:gd name="T93" fmla="*/ 78 h 840"/>
                  <a:gd name="T94" fmla="*/ 60 w 210"/>
                  <a:gd name="T95" fmla="*/ 300 h 840"/>
                  <a:gd name="T96" fmla="*/ 108 w 210"/>
                  <a:gd name="T97" fmla="*/ 6 h 840"/>
                  <a:gd name="T98" fmla="*/ 66 w 210"/>
                  <a:gd name="T99" fmla="*/ 102 h 840"/>
                  <a:gd name="T100" fmla="*/ 48 w 210"/>
                  <a:gd name="T101" fmla="*/ 258 h 840"/>
                  <a:gd name="T102" fmla="*/ 66 w 210"/>
                  <a:gd name="T103" fmla="*/ 168 h 840"/>
                  <a:gd name="T104" fmla="*/ 90 w 210"/>
                  <a:gd name="T105" fmla="*/ 192 h 840"/>
                  <a:gd name="T106" fmla="*/ 84 w 210"/>
                  <a:gd name="T107" fmla="*/ 162 h 840"/>
                  <a:gd name="T108" fmla="*/ 48 w 210"/>
                  <a:gd name="T109" fmla="*/ 264 h 840"/>
                  <a:gd name="T110" fmla="*/ 48 w 210"/>
                  <a:gd name="T111" fmla="*/ 216 h 840"/>
                  <a:gd name="T112" fmla="*/ 60 w 210"/>
                  <a:gd name="T113" fmla="*/ 246 h 840"/>
                  <a:gd name="T114" fmla="*/ 48 w 210"/>
                  <a:gd name="T115" fmla="*/ 264 h 840"/>
                  <a:gd name="T116" fmla="*/ 61 w 210"/>
                  <a:gd name="T117" fmla="*/ 294 h 840"/>
                  <a:gd name="T118" fmla="*/ 60 w 210"/>
                  <a:gd name="T119" fmla="*/ 120 h 840"/>
                  <a:gd name="T120" fmla="*/ 60 w 210"/>
                  <a:gd name="T121" fmla="*/ 132 h 840"/>
                  <a:gd name="T122" fmla="*/ 84 w 210"/>
                  <a:gd name="T123" fmla="*/ 96 h 840"/>
                  <a:gd name="T124" fmla="*/ 109 w 210"/>
                  <a:gd name="T125" fmla="*/ 60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0" h="840">
                    <a:moveTo>
                      <a:pt x="66" y="168"/>
                    </a:moveTo>
                    <a:lnTo>
                      <a:pt x="60" y="168"/>
                    </a:lnTo>
                    <a:lnTo>
                      <a:pt x="60" y="162"/>
                    </a:lnTo>
                    <a:lnTo>
                      <a:pt x="60" y="156"/>
                    </a:lnTo>
                    <a:lnTo>
                      <a:pt x="60" y="150"/>
                    </a:lnTo>
                    <a:lnTo>
                      <a:pt x="60" y="144"/>
                    </a:lnTo>
                    <a:lnTo>
                      <a:pt x="60" y="138"/>
                    </a:lnTo>
                    <a:lnTo>
                      <a:pt x="60" y="132"/>
                    </a:lnTo>
                    <a:lnTo>
                      <a:pt x="66" y="132"/>
                    </a:lnTo>
                    <a:lnTo>
                      <a:pt x="66" y="126"/>
                    </a:lnTo>
                    <a:lnTo>
                      <a:pt x="72" y="126"/>
                    </a:lnTo>
                    <a:lnTo>
                      <a:pt x="72" y="120"/>
                    </a:lnTo>
                    <a:lnTo>
                      <a:pt x="72" y="126"/>
                    </a:lnTo>
                    <a:lnTo>
                      <a:pt x="66" y="126"/>
                    </a:lnTo>
                    <a:lnTo>
                      <a:pt x="66" y="120"/>
                    </a:lnTo>
                    <a:lnTo>
                      <a:pt x="66" y="114"/>
                    </a:lnTo>
                    <a:lnTo>
                      <a:pt x="66" y="108"/>
                    </a:lnTo>
                    <a:lnTo>
                      <a:pt x="66" y="102"/>
                    </a:lnTo>
                    <a:lnTo>
                      <a:pt x="66" y="108"/>
                    </a:lnTo>
                    <a:lnTo>
                      <a:pt x="66" y="102"/>
                    </a:lnTo>
                    <a:lnTo>
                      <a:pt x="66" y="108"/>
                    </a:lnTo>
                    <a:lnTo>
                      <a:pt x="66" y="102"/>
                    </a:lnTo>
                    <a:lnTo>
                      <a:pt x="72" y="102"/>
                    </a:lnTo>
                    <a:lnTo>
                      <a:pt x="72" y="96"/>
                    </a:lnTo>
                    <a:lnTo>
                      <a:pt x="72" y="90"/>
                    </a:lnTo>
                    <a:lnTo>
                      <a:pt x="72" y="84"/>
                    </a:lnTo>
                    <a:lnTo>
                      <a:pt x="78" y="84"/>
                    </a:lnTo>
                    <a:lnTo>
                      <a:pt x="72" y="84"/>
                    </a:lnTo>
                    <a:lnTo>
                      <a:pt x="78" y="84"/>
                    </a:lnTo>
                    <a:lnTo>
                      <a:pt x="72" y="84"/>
                    </a:lnTo>
                    <a:lnTo>
                      <a:pt x="72" y="78"/>
                    </a:lnTo>
                    <a:lnTo>
                      <a:pt x="72" y="72"/>
                    </a:lnTo>
                    <a:lnTo>
                      <a:pt x="72" y="78"/>
                    </a:lnTo>
                    <a:lnTo>
                      <a:pt x="78" y="78"/>
                    </a:lnTo>
                    <a:lnTo>
                      <a:pt x="72" y="72"/>
                    </a:lnTo>
                    <a:lnTo>
                      <a:pt x="78" y="72"/>
                    </a:lnTo>
                    <a:lnTo>
                      <a:pt x="72" y="72"/>
                    </a:lnTo>
                    <a:lnTo>
                      <a:pt x="78" y="66"/>
                    </a:lnTo>
                    <a:lnTo>
                      <a:pt x="78" y="60"/>
                    </a:lnTo>
                    <a:lnTo>
                      <a:pt x="78" y="54"/>
                    </a:lnTo>
                    <a:lnTo>
                      <a:pt x="78" y="48"/>
                    </a:lnTo>
                    <a:lnTo>
                      <a:pt x="78" y="42"/>
                    </a:lnTo>
                    <a:lnTo>
                      <a:pt x="78" y="36"/>
                    </a:lnTo>
                    <a:lnTo>
                      <a:pt x="84" y="36"/>
                    </a:lnTo>
                    <a:lnTo>
                      <a:pt x="78" y="36"/>
                    </a:lnTo>
                    <a:lnTo>
                      <a:pt x="84" y="36"/>
                    </a:lnTo>
                    <a:lnTo>
                      <a:pt x="84" y="30"/>
                    </a:lnTo>
                    <a:lnTo>
                      <a:pt x="84" y="24"/>
                    </a:lnTo>
                    <a:lnTo>
                      <a:pt x="90" y="24"/>
                    </a:lnTo>
                    <a:lnTo>
                      <a:pt x="90" y="18"/>
                    </a:lnTo>
                    <a:lnTo>
                      <a:pt x="96" y="18"/>
                    </a:lnTo>
                    <a:lnTo>
                      <a:pt x="102" y="18"/>
                    </a:lnTo>
                    <a:lnTo>
                      <a:pt x="102" y="12"/>
                    </a:lnTo>
                    <a:lnTo>
                      <a:pt x="102" y="18"/>
                    </a:lnTo>
                    <a:lnTo>
                      <a:pt x="102" y="24"/>
                    </a:lnTo>
                    <a:lnTo>
                      <a:pt x="102" y="30"/>
                    </a:lnTo>
                    <a:lnTo>
                      <a:pt x="102" y="36"/>
                    </a:lnTo>
                    <a:lnTo>
                      <a:pt x="108" y="36"/>
                    </a:lnTo>
                    <a:lnTo>
                      <a:pt x="102" y="36"/>
                    </a:lnTo>
                    <a:lnTo>
                      <a:pt x="108" y="36"/>
                    </a:lnTo>
                    <a:lnTo>
                      <a:pt x="108" y="42"/>
                    </a:lnTo>
                    <a:lnTo>
                      <a:pt x="108" y="48"/>
                    </a:lnTo>
                    <a:lnTo>
                      <a:pt x="102" y="48"/>
                    </a:lnTo>
                    <a:lnTo>
                      <a:pt x="102" y="42"/>
                    </a:lnTo>
                    <a:lnTo>
                      <a:pt x="102" y="48"/>
                    </a:lnTo>
                    <a:lnTo>
                      <a:pt x="102" y="42"/>
                    </a:lnTo>
                    <a:lnTo>
                      <a:pt x="96" y="42"/>
                    </a:lnTo>
                    <a:lnTo>
                      <a:pt x="90" y="42"/>
                    </a:lnTo>
                    <a:lnTo>
                      <a:pt x="96" y="42"/>
                    </a:lnTo>
                    <a:lnTo>
                      <a:pt x="90" y="42"/>
                    </a:lnTo>
                    <a:lnTo>
                      <a:pt x="96" y="48"/>
                    </a:lnTo>
                    <a:lnTo>
                      <a:pt x="102" y="48"/>
                    </a:lnTo>
                    <a:lnTo>
                      <a:pt x="96" y="48"/>
                    </a:lnTo>
                    <a:lnTo>
                      <a:pt x="102" y="48"/>
                    </a:lnTo>
                    <a:lnTo>
                      <a:pt x="102" y="54"/>
                    </a:lnTo>
                    <a:lnTo>
                      <a:pt x="102" y="48"/>
                    </a:lnTo>
                    <a:lnTo>
                      <a:pt x="102" y="54"/>
                    </a:lnTo>
                    <a:lnTo>
                      <a:pt x="108" y="54"/>
                    </a:lnTo>
                    <a:lnTo>
                      <a:pt x="102" y="54"/>
                    </a:lnTo>
                    <a:lnTo>
                      <a:pt x="102" y="60"/>
                    </a:lnTo>
                    <a:lnTo>
                      <a:pt x="102" y="66"/>
                    </a:lnTo>
                    <a:lnTo>
                      <a:pt x="102" y="72"/>
                    </a:lnTo>
                    <a:lnTo>
                      <a:pt x="102" y="78"/>
                    </a:lnTo>
                    <a:lnTo>
                      <a:pt x="96" y="78"/>
                    </a:lnTo>
                    <a:lnTo>
                      <a:pt x="96" y="84"/>
                    </a:lnTo>
                    <a:lnTo>
                      <a:pt x="96" y="78"/>
                    </a:lnTo>
                    <a:lnTo>
                      <a:pt x="96" y="84"/>
                    </a:lnTo>
                    <a:lnTo>
                      <a:pt x="90" y="84"/>
                    </a:lnTo>
                    <a:lnTo>
                      <a:pt x="90" y="78"/>
                    </a:lnTo>
                    <a:lnTo>
                      <a:pt x="84" y="72"/>
                    </a:lnTo>
                    <a:lnTo>
                      <a:pt x="84" y="78"/>
                    </a:lnTo>
                    <a:lnTo>
                      <a:pt x="90" y="78"/>
                    </a:lnTo>
                    <a:lnTo>
                      <a:pt x="84" y="78"/>
                    </a:lnTo>
                    <a:lnTo>
                      <a:pt x="84" y="84"/>
                    </a:lnTo>
                    <a:lnTo>
                      <a:pt x="90" y="84"/>
                    </a:lnTo>
                    <a:lnTo>
                      <a:pt x="90" y="90"/>
                    </a:lnTo>
                    <a:lnTo>
                      <a:pt x="84" y="90"/>
                    </a:lnTo>
                    <a:lnTo>
                      <a:pt x="84" y="84"/>
                    </a:lnTo>
                    <a:lnTo>
                      <a:pt x="84" y="90"/>
                    </a:lnTo>
                    <a:lnTo>
                      <a:pt x="78" y="90"/>
                    </a:lnTo>
                    <a:lnTo>
                      <a:pt x="78" y="96"/>
                    </a:lnTo>
                    <a:lnTo>
                      <a:pt x="84" y="96"/>
                    </a:lnTo>
                    <a:lnTo>
                      <a:pt x="90" y="96"/>
                    </a:lnTo>
                    <a:lnTo>
                      <a:pt x="84" y="96"/>
                    </a:lnTo>
                    <a:lnTo>
                      <a:pt x="90" y="96"/>
                    </a:lnTo>
                    <a:lnTo>
                      <a:pt x="90" y="102"/>
                    </a:lnTo>
                    <a:lnTo>
                      <a:pt x="90" y="108"/>
                    </a:lnTo>
                    <a:lnTo>
                      <a:pt x="90" y="114"/>
                    </a:lnTo>
                    <a:lnTo>
                      <a:pt x="96" y="114"/>
                    </a:lnTo>
                    <a:lnTo>
                      <a:pt x="96" y="120"/>
                    </a:lnTo>
                    <a:lnTo>
                      <a:pt x="96" y="126"/>
                    </a:lnTo>
                    <a:lnTo>
                      <a:pt x="90" y="132"/>
                    </a:lnTo>
                    <a:lnTo>
                      <a:pt x="96" y="132"/>
                    </a:lnTo>
                    <a:lnTo>
                      <a:pt x="96" y="138"/>
                    </a:lnTo>
                    <a:lnTo>
                      <a:pt x="96" y="144"/>
                    </a:lnTo>
                    <a:lnTo>
                      <a:pt x="96" y="150"/>
                    </a:lnTo>
                    <a:lnTo>
                      <a:pt x="90" y="150"/>
                    </a:lnTo>
                    <a:lnTo>
                      <a:pt x="90" y="144"/>
                    </a:lnTo>
                    <a:lnTo>
                      <a:pt x="90" y="150"/>
                    </a:lnTo>
                    <a:lnTo>
                      <a:pt x="96" y="150"/>
                    </a:lnTo>
                    <a:lnTo>
                      <a:pt x="90" y="150"/>
                    </a:lnTo>
                    <a:lnTo>
                      <a:pt x="90" y="156"/>
                    </a:lnTo>
                    <a:lnTo>
                      <a:pt x="84" y="156"/>
                    </a:lnTo>
                    <a:lnTo>
                      <a:pt x="84" y="150"/>
                    </a:lnTo>
                    <a:lnTo>
                      <a:pt x="78" y="150"/>
                    </a:lnTo>
                    <a:lnTo>
                      <a:pt x="84" y="150"/>
                    </a:lnTo>
                    <a:lnTo>
                      <a:pt x="84" y="156"/>
                    </a:lnTo>
                    <a:lnTo>
                      <a:pt x="78" y="156"/>
                    </a:lnTo>
                    <a:lnTo>
                      <a:pt x="72" y="156"/>
                    </a:lnTo>
                    <a:lnTo>
                      <a:pt x="72" y="150"/>
                    </a:lnTo>
                    <a:lnTo>
                      <a:pt x="72" y="156"/>
                    </a:lnTo>
                    <a:lnTo>
                      <a:pt x="78" y="156"/>
                    </a:lnTo>
                    <a:lnTo>
                      <a:pt x="78" y="162"/>
                    </a:lnTo>
                    <a:lnTo>
                      <a:pt x="84" y="162"/>
                    </a:lnTo>
                    <a:lnTo>
                      <a:pt x="84" y="168"/>
                    </a:lnTo>
                    <a:lnTo>
                      <a:pt x="78" y="168"/>
                    </a:lnTo>
                    <a:lnTo>
                      <a:pt x="72" y="168"/>
                    </a:lnTo>
                    <a:lnTo>
                      <a:pt x="78" y="168"/>
                    </a:lnTo>
                    <a:lnTo>
                      <a:pt x="84" y="168"/>
                    </a:lnTo>
                    <a:lnTo>
                      <a:pt x="84" y="174"/>
                    </a:lnTo>
                    <a:lnTo>
                      <a:pt x="78" y="180"/>
                    </a:lnTo>
                    <a:lnTo>
                      <a:pt x="84" y="180"/>
                    </a:lnTo>
                    <a:lnTo>
                      <a:pt x="84" y="186"/>
                    </a:lnTo>
                    <a:lnTo>
                      <a:pt x="78" y="180"/>
                    </a:lnTo>
                    <a:lnTo>
                      <a:pt x="78" y="186"/>
                    </a:lnTo>
                    <a:lnTo>
                      <a:pt x="78" y="192"/>
                    </a:lnTo>
                    <a:lnTo>
                      <a:pt x="72" y="192"/>
                    </a:lnTo>
                    <a:lnTo>
                      <a:pt x="78" y="192"/>
                    </a:lnTo>
                    <a:lnTo>
                      <a:pt x="72" y="192"/>
                    </a:lnTo>
                    <a:lnTo>
                      <a:pt x="72" y="198"/>
                    </a:lnTo>
                    <a:lnTo>
                      <a:pt x="66" y="198"/>
                    </a:lnTo>
                    <a:lnTo>
                      <a:pt x="66" y="192"/>
                    </a:lnTo>
                    <a:lnTo>
                      <a:pt x="72" y="192"/>
                    </a:lnTo>
                    <a:lnTo>
                      <a:pt x="72" y="186"/>
                    </a:lnTo>
                    <a:lnTo>
                      <a:pt x="72" y="180"/>
                    </a:lnTo>
                    <a:lnTo>
                      <a:pt x="66" y="180"/>
                    </a:lnTo>
                    <a:lnTo>
                      <a:pt x="66" y="174"/>
                    </a:lnTo>
                    <a:lnTo>
                      <a:pt x="72" y="174"/>
                    </a:lnTo>
                    <a:lnTo>
                      <a:pt x="72" y="168"/>
                    </a:lnTo>
                    <a:lnTo>
                      <a:pt x="66" y="168"/>
                    </a:lnTo>
                    <a:close/>
                    <a:moveTo>
                      <a:pt x="66" y="246"/>
                    </a:moveTo>
                    <a:lnTo>
                      <a:pt x="72" y="246"/>
                    </a:lnTo>
                    <a:lnTo>
                      <a:pt x="66" y="246"/>
                    </a:lnTo>
                    <a:lnTo>
                      <a:pt x="66" y="252"/>
                    </a:lnTo>
                    <a:lnTo>
                      <a:pt x="66" y="258"/>
                    </a:lnTo>
                    <a:lnTo>
                      <a:pt x="66" y="264"/>
                    </a:lnTo>
                    <a:lnTo>
                      <a:pt x="66" y="270"/>
                    </a:lnTo>
                    <a:lnTo>
                      <a:pt x="60" y="270"/>
                    </a:lnTo>
                    <a:lnTo>
                      <a:pt x="60" y="264"/>
                    </a:lnTo>
                    <a:lnTo>
                      <a:pt x="60" y="270"/>
                    </a:lnTo>
                    <a:lnTo>
                      <a:pt x="60" y="264"/>
                    </a:lnTo>
                    <a:lnTo>
                      <a:pt x="60" y="270"/>
                    </a:lnTo>
                    <a:lnTo>
                      <a:pt x="60" y="264"/>
                    </a:lnTo>
                    <a:lnTo>
                      <a:pt x="54" y="264"/>
                    </a:lnTo>
                    <a:lnTo>
                      <a:pt x="54" y="258"/>
                    </a:lnTo>
                    <a:lnTo>
                      <a:pt x="54" y="252"/>
                    </a:lnTo>
                    <a:lnTo>
                      <a:pt x="54" y="246"/>
                    </a:lnTo>
                    <a:lnTo>
                      <a:pt x="54" y="252"/>
                    </a:lnTo>
                    <a:lnTo>
                      <a:pt x="48" y="252"/>
                    </a:lnTo>
                    <a:lnTo>
                      <a:pt x="48" y="246"/>
                    </a:lnTo>
                    <a:lnTo>
                      <a:pt x="48" y="240"/>
                    </a:lnTo>
                    <a:lnTo>
                      <a:pt x="48" y="246"/>
                    </a:lnTo>
                    <a:lnTo>
                      <a:pt x="48" y="240"/>
                    </a:lnTo>
                    <a:lnTo>
                      <a:pt x="42" y="240"/>
                    </a:lnTo>
                    <a:lnTo>
                      <a:pt x="42" y="234"/>
                    </a:lnTo>
                    <a:lnTo>
                      <a:pt x="48" y="234"/>
                    </a:lnTo>
                    <a:lnTo>
                      <a:pt x="42" y="234"/>
                    </a:lnTo>
                    <a:lnTo>
                      <a:pt x="42" y="228"/>
                    </a:lnTo>
                    <a:lnTo>
                      <a:pt x="42" y="222"/>
                    </a:lnTo>
                    <a:lnTo>
                      <a:pt x="42" y="216"/>
                    </a:lnTo>
                    <a:lnTo>
                      <a:pt x="48" y="216"/>
                    </a:lnTo>
                    <a:lnTo>
                      <a:pt x="48" y="222"/>
                    </a:lnTo>
                    <a:lnTo>
                      <a:pt x="54" y="222"/>
                    </a:lnTo>
                    <a:lnTo>
                      <a:pt x="54" y="216"/>
                    </a:lnTo>
                    <a:lnTo>
                      <a:pt x="54" y="210"/>
                    </a:lnTo>
                    <a:lnTo>
                      <a:pt x="54" y="204"/>
                    </a:lnTo>
                    <a:lnTo>
                      <a:pt x="54" y="198"/>
                    </a:lnTo>
                    <a:lnTo>
                      <a:pt x="54" y="192"/>
                    </a:lnTo>
                    <a:lnTo>
                      <a:pt x="54" y="186"/>
                    </a:lnTo>
                    <a:lnTo>
                      <a:pt x="54" y="180"/>
                    </a:lnTo>
                    <a:lnTo>
                      <a:pt x="60" y="180"/>
                    </a:lnTo>
                    <a:lnTo>
                      <a:pt x="54" y="186"/>
                    </a:lnTo>
                    <a:lnTo>
                      <a:pt x="60" y="180"/>
                    </a:lnTo>
                    <a:lnTo>
                      <a:pt x="60" y="186"/>
                    </a:lnTo>
                    <a:lnTo>
                      <a:pt x="60" y="180"/>
                    </a:lnTo>
                    <a:lnTo>
                      <a:pt x="66" y="180"/>
                    </a:lnTo>
                    <a:lnTo>
                      <a:pt x="60" y="180"/>
                    </a:lnTo>
                    <a:lnTo>
                      <a:pt x="60" y="186"/>
                    </a:lnTo>
                    <a:lnTo>
                      <a:pt x="66" y="186"/>
                    </a:lnTo>
                    <a:lnTo>
                      <a:pt x="72" y="186"/>
                    </a:lnTo>
                    <a:lnTo>
                      <a:pt x="66" y="186"/>
                    </a:lnTo>
                    <a:lnTo>
                      <a:pt x="66" y="192"/>
                    </a:lnTo>
                    <a:lnTo>
                      <a:pt x="66" y="198"/>
                    </a:lnTo>
                    <a:lnTo>
                      <a:pt x="72" y="198"/>
                    </a:lnTo>
                    <a:lnTo>
                      <a:pt x="72" y="204"/>
                    </a:lnTo>
                    <a:lnTo>
                      <a:pt x="66" y="204"/>
                    </a:lnTo>
                    <a:lnTo>
                      <a:pt x="66" y="210"/>
                    </a:lnTo>
                    <a:lnTo>
                      <a:pt x="66" y="216"/>
                    </a:lnTo>
                    <a:lnTo>
                      <a:pt x="66" y="222"/>
                    </a:lnTo>
                    <a:lnTo>
                      <a:pt x="66" y="228"/>
                    </a:lnTo>
                    <a:lnTo>
                      <a:pt x="60" y="228"/>
                    </a:lnTo>
                    <a:lnTo>
                      <a:pt x="66" y="228"/>
                    </a:lnTo>
                    <a:lnTo>
                      <a:pt x="66" y="222"/>
                    </a:lnTo>
                    <a:lnTo>
                      <a:pt x="66" y="216"/>
                    </a:lnTo>
                    <a:lnTo>
                      <a:pt x="72" y="216"/>
                    </a:lnTo>
                    <a:lnTo>
                      <a:pt x="72" y="222"/>
                    </a:lnTo>
                    <a:lnTo>
                      <a:pt x="72" y="228"/>
                    </a:lnTo>
                    <a:lnTo>
                      <a:pt x="72" y="234"/>
                    </a:lnTo>
                    <a:lnTo>
                      <a:pt x="72" y="240"/>
                    </a:lnTo>
                    <a:lnTo>
                      <a:pt x="72" y="246"/>
                    </a:lnTo>
                    <a:lnTo>
                      <a:pt x="66" y="246"/>
                    </a:lnTo>
                    <a:lnTo>
                      <a:pt x="66" y="240"/>
                    </a:lnTo>
                    <a:lnTo>
                      <a:pt x="66" y="246"/>
                    </a:lnTo>
                    <a:lnTo>
                      <a:pt x="66" y="240"/>
                    </a:lnTo>
                    <a:lnTo>
                      <a:pt x="66" y="246"/>
                    </a:lnTo>
                    <a:lnTo>
                      <a:pt x="60" y="240"/>
                    </a:lnTo>
                    <a:lnTo>
                      <a:pt x="60" y="246"/>
                    </a:lnTo>
                    <a:lnTo>
                      <a:pt x="60" y="240"/>
                    </a:lnTo>
                    <a:lnTo>
                      <a:pt x="60" y="246"/>
                    </a:lnTo>
                    <a:lnTo>
                      <a:pt x="60" y="252"/>
                    </a:lnTo>
                    <a:lnTo>
                      <a:pt x="60" y="246"/>
                    </a:lnTo>
                    <a:lnTo>
                      <a:pt x="60" y="252"/>
                    </a:lnTo>
                    <a:lnTo>
                      <a:pt x="66" y="252"/>
                    </a:lnTo>
                    <a:lnTo>
                      <a:pt x="66" y="246"/>
                    </a:lnTo>
                    <a:close/>
                    <a:moveTo>
                      <a:pt x="198" y="786"/>
                    </a:moveTo>
                    <a:lnTo>
                      <a:pt x="204" y="786"/>
                    </a:lnTo>
                    <a:lnTo>
                      <a:pt x="204" y="792"/>
                    </a:lnTo>
                    <a:lnTo>
                      <a:pt x="204" y="798"/>
                    </a:lnTo>
                    <a:lnTo>
                      <a:pt x="204" y="804"/>
                    </a:lnTo>
                    <a:lnTo>
                      <a:pt x="204" y="810"/>
                    </a:lnTo>
                    <a:lnTo>
                      <a:pt x="210" y="810"/>
                    </a:lnTo>
                    <a:lnTo>
                      <a:pt x="210" y="816"/>
                    </a:lnTo>
                    <a:lnTo>
                      <a:pt x="210" y="810"/>
                    </a:lnTo>
                    <a:lnTo>
                      <a:pt x="204" y="810"/>
                    </a:lnTo>
                    <a:lnTo>
                      <a:pt x="204" y="816"/>
                    </a:lnTo>
                    <a:lnTo>
                      <a:pt x="210" y="816"/>
                    </a:lnTo>
                    <a:lnTo>
                      <a:pt x="210" y="822"/>
                    </a:lnTo>
                    <a:lnTo>
                      <a:pt x="204" y="822"/>
                    </a:lnTo>
                    <a:lnTo>
                      <a:pt x="204" y="828"/>
                    </a:lnTo>
                    <a:lnTo>
                      <a:pt x="204" y="834"/>
                    </a:lnTo>
                    <a:lnTo>
                      <a:pt x="204" y="840"/>
                    </a:lnTo>
                    <a:lnTo>
                      <a:pt x="204" y="834"/>
                    </a:lnTo>
                    <a:lnTo>
                      <a:pt x="198" y="834"/>
                    </a:lnTo>
                    <a:lnTo>
                      <a:pt x="198" y="840"/>
                    </a:lnTo>
                    <a:lnTo>
                      <a:pt x="192" y="840"/>
                    </a:lnTo>
                    <a:lnTo>
                      <a:pt x="192" y="834"/>
                    </a:lnTo>
                    <a:lnTo>
                      <a:pt x="198" y="834"/>
                    </a:lnTo>
                    <a:lnTo>
                      <a:pt x="192" y="834"/>
                    </a:lnTo>
                    <a:lnTo>
                      <a:pt x="192" y="828"/>
                    </a:lnTo>
                    <a:lnTo>
                      <a:pt x="192" y="822"/>
                    </a:lnTo>
                    <a:lnTo>
                      <a:pt x="186" y="822"/>
                    </a:lnTo>
                    <a:lnTo>
                      <a:pt x="186" y="816"/>
                    </a:lnTo>
                    <a:lnTo>
                      <a:pt x="180" y="816"/>
                    </a:lnTo>
                    <a:lnTo>
                      <a:pt x="180" y="810"/>
                    </a:lnTo>
                    <a:lnTo>
                      <a:pt x="180" y="816"/>
                    </a:lnTo>
                    <a:lnTo>
                      <a:pt x="180" y="810"/>
                    </a:lnTo>
                    <a:lnTo>
                      <a:pt x="174" y="810"/>
                    </a:lnTo>
                    <a:lnTo>
                      <a:pt x="174" y="804"/>
                    </a:lnTo>
                    <a:lnTo>
                      <a:pt x="174" y="798"/>
                    </a:lnTo>
                    <a:lnTo>
                      <a:pt x="180" y="798"/>
                    </a:lnTo>
                    <a:lnTo>
                      <a:pt x="180" y="792"/>
                    </a:lnTo>
                    <a:lnTo>
                      <a:pt x="174" y="792"/>
                    </a:lnTo>
                    <a:lnTo>
                      <a:pt x="180" y="792"/>
                    </a:lnTo>
                    <a:lnTo>
                      <a:pt x="186" y="792"/>
                    </a:lnTo>
                    <a:lnTo>
                      <a:pt x="186" y="786"/>
                    </a:lnTo>
                    <a:lnTo>
                      <a:pt x="186" y="792"/>
                    </a:lnTo>
                    <a:lnTo>
                      <a:pt x="186" y="786"/>
                    </a:lnTo>
                    <a:lnTo>
                      <a:pt x="192" y="786"/>
                    </a:lnTo>
                    <a:lnTo>
                      <a:pt x="198" y="786"/>
                    </a:lnTo>
                    <a:close/>
                    <a:moveTo>
                      <a:pt x="48" y="354"/>
                    </a:moveTo>
                    <a:lnTo>
                      <a:pt x="48" y="360"/>
                    </a:lnTo>
                    <a:lnTo>
                      <a:pt x="48" y="366"/>
                    </a:lnTo>
                    <a:lnTo>
                      <a:pt x="42" y="366"/>
                    </a:lnTo>
                    <a:lnTo>
                      <a:pt x="42" y="372"/>
                    </a:lnTo>
                    <a:lnTo>
                      <a:pt x="42" y="378"/>
                    </a:lnTo>
                    <a:lnTo>
                      <a:pt x="42" y="384"/>
                    </a:lnTo>
                    <a:lnTo>
                      <a:pt x="36" y="390"/>
                    </a:lnTo>
                    <a:lnTo>
                      <a:pt x="30" y="390"/>
                    </a:lnTo>
                    <a:lnTo>
                      <a:pt x="30" y="384"/>
                    </a:lnTo>
                    <a:lnTo>
                      <a:pt x="24" y="384"/>
                    </a:lnTo>
                    <a:lnTo>
                      <a:pt x="18" y="384"/>
                    </a:lnTo>
                    <a:lnTo>
                      <a:pt x="24" y="384"/>
                    </a:lnTo>
                    <a:lnTo>
                      <a:pt x="24" y="378"/>
                    </a:lnTo>
                    <a:lnTo>
                      <a:pt x="24" y="372"/>
                    </a:lnTo>
                    <a:lnTo>
                      <a:pt x="18" y="372"/>
                    </a:lnTo>
                    <a:lnTo>
                      <a:pt x="18" y="366"/>
                    </a:lnTo>
                    <a:lnTo>
                      <a:pt x="18" y="360"/>
                    </a:lnTo>
                    <a:lnTo>
                      <a:pt x="18" y="354"/>
                    </a:lnTo>
                    <a:lnTo>
                      <a:pt x="24" y="354"/>
                    </a:lnTo>
                    <a:lnTo>
                      <a:pt x="24" y="348"/>
                    </a:lnTo>
                    <a:lnTo>
                      <a:pt x="30" y="348"/>
                    </a:lnTo>
                    <a:lnTo>
                      <a:pt x="30" y="342"/>
                    </a:lnTo>
                    <a:lnTo>
                      <a:pt x="36" y="342"/>
                    </a:lnTo>
                    <a:lnTo>
                      <a:pt x="42" y="342"/>
                    </a:lnTo>
                    <a:lnTo>
                      <a:pt x="42" y="348"/>
                    </a:lnTo>
                    <a:lnTo>
                      <a:pt x="42" y="354"/>
                    </a:lnTo>
                    <a:lnTo>
                      <a:pt x="48" y="354"/>
                    </a:lnTo>
                    <a:close/>
                    <a:moveTo>
                      <a:pt x="144" y="690"/>
                    </a:moveTo>
                    <a:lnTo>
                      <a:pt x="144" y="696"/>
                    </a:lnTo>
                    <a:lnTo>
                      <a:pt x="150" y="696"/>
                    </a:lnTo>
                    <a:lnTo>
                      <a:pt x="150" y="702"/>
                    </a:lnTo>
                    <a:lnTo>
                      <a:pt x="150" y="708"/>
                    </a:lnTo>
                    <a:lnTo>
                      <a:pt x="150" y="702"/>
                    </a:lnTo>
                    <a:lnTo>
                      <a:pt x="144" y="702"/>
                    </a:lnTo>
                    <a:lnTo>
                      <a:pt x="144" y="708"/>
                    </a:lnTo>
                    <a:lnTo>
                      <a:pt x="138" y="708"/>
                    </a:lnTo>
                    <a:lnTo>
                      <a:pt x="138" y="702"/>
                    </a:lnTo>
                    <a:lnTo>
                      <a:pt x="138" y="696"/>
                    </a:lnTo>
                    <a:lnTo>
                      <a:pt x="138" y="702"/>
                    </a:lnTo>
                    <a:lnTo>
                      <a:pt x="132" y="702"/>
                    </a:lnTo>
                    <a:lnTo>
                      <a:pt x="132" y="696"/>
                    </a:lnTo>
                    <a:lnTo>
                      <a:pt x="138" y="696"/>
                    </a:lnTo>
                    <a:lnTo>
                      <a:pt x="138" y="690"/>
                    </a:lnTo>
                    <a:lnTo>
                      <a:pt x="144" y="690"/>
                    </a:lnTo>
                    <a:close/>
                    <a:moveTo>
                      <a:pt x="186" y="768"/>
                    </a:moveTo>
                    <a:lnTo>
                      <a:pt x="186" y="774"/>
                    </a:lnTo>
                    <a:lnTo>
                      <a:pt x="180" y="774"/>
                    </a:lnTo>
                    <a:lnTo>
                      <a:pt x="180" y="780"/>
                    </a:lnTo>
                    <a:lnTo>
                      <a:pt x="174" y="780"/>
                    </a:lnTo>
                    <a:lnTo>
                      <a:pt x="174" y="786"/>
                    </a:lnTo>
                    <a:lnTo>
                      <a:pt x="174" y="780"/>
                    </a:lnTo>
                    <a:lnTo>
                      <a:pt x="174" y="774"/>
                    </a:lnTo>
                    <a:lnTo>
                      <a:pt x="168" y="774"/>
                    </a:lnTo>
                    <a:lnTo>
                      <a:pt x="174" y="774"/>
                    </a:lnTo>
                    <a:lnTo>
                      <a:pt x="174" y="768"/>
                    </a:lnTo>
                    <a:lnTo>
                      <a:pt x="180" y="768"/>
                    </a:lnTo>
                    <a:lnTo>
                      <a:pt x="180" y="762"/>
                    </a:lnTo>
                    <a:lnTo>
                      <a:pt x="180" y="768"/>
                    </a:lnTo>
                    <a:lnTo>
                      <a:pt x="186" y="768"/>
                    </a:lnTo>
                    <a:close/>
                    <a:moveTo>
                      <a:pt x="162" y="672"/>
                    </a:moveTo>
                    <a:lnTo>
                      <a:pt x="156" y="672"/>
                    </a:lnTo>
                    <a:lnTo>
                      <a:pt x="156" y="678"/>
                    </a:lnTo>
                    <a:lnTo>
                      <a:pt x="162" y="678"/>
                    </a:lnTo>
                    <a:lnTo>
                      <a:pt x="162" y="684"/>
                    </a:lnTo>
                    <a:lnTo>
                      <a:pt x="162" y="690"/>
                    </a:lnTo>
                    <a:lnTo>
                      <a:pt x="162" y="684"/>
                    </a:lnTo>
                    <a:lnTo>
                      <a:pt x="162" y="690"/>
                    </a:lnTo>
                    <a:lnTo>
                      <a:pt x="156" y="690"/>
                    </a:lnTo>
                    <a:lnTo>
                      <a:pt x="156" y="684"/>
                    </a:lnTo>
                    <a:lnTo>
                      <a:pt x="156" y="690"/>
                    </a:lnTo>
                    <a:lnTo>
                      <a:pt x="156" y="684"/>
                    </a:lnTo>
                    <a:lnTo>
                      <a:pt x="162" y="684"/>
                    </a:lnTo>
                    <a:lnTo>
                      <a:pt x="156" y="684"/>
                    </a:lnTo>
                    <a:lnTo>
                      <a:pt x="156" y="678"/>
                    </a:lnTo>
                    <a:lnTo>
                      <a:pt x="150" y="684"/>
                    </a:lnTo>
                    <a:lnTo>
                      <a:pt x="150" y="678"/>
                    </a:lnTo>
                    <a:lnTo>
                      <a:pt x="150" y="672"/>
                    </a:lnTo>
                    <a:lnTo>
                      <a:pt x="150" y="678"/>
                    </a:lnTo>
                    <a:lnTo>
                      <a:pt x="150" y="672"/>
                    </a:lnTo>
                    <a:lnTo>
                      <a:pt x="156" y="672"/>
                    </a:lnTo>
                    <a:lnTo>
                      <a:pt x="156" y="666"/>
                    </a:lnTo>
                    <a:lnTo>
                      <a:pt x="162" y="666"/>
                    </a:lnTo>
                    <a:lnTo>
                      <a:pt x="162" y="672"/>
                    </a:lnTo>
                    <a:close/>
                    <a:moveTo>
                      <a:pt x="72" y="546"/>
                    </a:moveTo>
                    <a:lnTo>
                      <a:pt x="78" y="546"/>
                    </a:lnTo>
                    <a:lnTo>
                      <a:pt x="78" y="552"/>
                    </a:lnTo>
                    <a:lnTo>
                      <a:pt x="78" y="558"/>
                    </a:lnTo>
                    <a:lnTo>
                      <a:pt x="72" y="558"/>
                    </a:lnTo>
                    <a:lnTo>
                      <a:pt x="66" y="558"/>
                    </a:lnTo>
                    <a:lnTo>
                      <a:pt x="66" y="552"/>
                    </a:lnTo>
                    <a:lnTo>
                      <a:pt x="66" y="546"/>
                    </a:lnTo>
                    <a:lnTo>
                      <a:pt x="72" y="546"/>
                    </a:lnTo>
                    <a:lnTo>
                      <a:pt x="72" y="540"/>
                    </a:lnTo>
                    <a:lnTo>
                      <a:pt x="72" y="546"/>
                    </a:lnTo>
                    <a:close/>
                    <a:moveTo>
                      <a:pt x="60" y="276"/>
                    </a:moveTo>
                    <a:lnTo>
                      <a:pt x="54" y="282"/>
                    </a:lnTo>
                    <a:lnTo>
                      <a:pt x="60" y="282"/>
                    </a:lnTo>
                    <a:lnTo>
                      <a:pt x="60" y="288"/>
                    </a:lnTo>
                    <a:lnTo>
                      <a:pt x="54" y="288"/>
                    </a:lnTo>
                    <a:lnTo>
                      <a:pt x="48" y="288"/>
                    </a:lnTo>
                    <a:lnTo>
                      <a:pt x="48" y="282"/>
                    </a:lnTo>
                    <a:lnTo>
                      <a:pt x="54" y="282"/>
                    </a:lnTo>
                    <a:lnTo>
                      <a:pt x="54" y="276"/>
                    </a:lnTo>
                    <a:lnTo>
                      <a:pt x="54" y="270"/>
                    </a:lnTo>
                    <a:lnTo>
                      <a:pt x="54" y="264"/>
                    </a:lnTo>
                    <a:lnTo>
                      <a:pt x="54" y="270"/>
                    </a:lnTo>
                    <a:lnTo>
                      <a:pt x="60" y="270"/>
                    </a:lnTo>
                    <a:lnTo>
                      <a:pt x="60" y="276"/>
                    </a:lnTo>
                    <a:close/>
                    <a:moveTo>
                      <a:pt x="60" y="84"/>
                    </a:moveTo>
                    <a:lnTo>
                      <a:pt x="66" y="84"/>
                    </a:lnTo>
                    <a:lnTo>
                      <a:pt x="66" y="90"/>
                    </a:lnTo>
                    <a:lnTo>
                      <a:pt x="66" y="96"/>
                    </a:lnTo>
                    <a:lnTo>
                      <a:pt x="66" y="102"/>
                    </a:lnTo>
                    <a:lnTo>
                      <a:pt x="60" y="102"/>
                    </a:lnTo>
                    <a:lnTo>
                      <a:pt x="60" y="108"/>
                    </a:lnTo>
                    <a:lnTo>
                      <a:pt x="54" y="108"/>
                    </a:lnTo>
                    <a:lnTo>
                      <a:pt x="54" y="102"/>
                    </a:lnTo>
                    <a:lnTo>
                      <a:pt x="60" y="102"/>
                    </a:lnTo>
                    <a:lnTo>
                      <a:pt x="60" y="96"/>
                    </a:lnTo>
                    <a:lnTo>
                      <a:pt x="60" y="90"/>
                    </a:lnTo>
                    <a:lnTo>
                      <a:pt x="60" y="84"/>
                    </a:lnTo>
                    <a:close/>
                    <a:moveTo>
                      <a:pt x="96" y="204"/>
                    </a:moveTo>
                    <a:lnTo>
                      <a:pt x="96" y="210"/>
                    </a:lnTo>
                    <a:lnTo>
                      <a:pt x="102" y="210"/>
                    </a:lnTo>
                    <a:lnTo>
                      <a:pt x="102" y="216"/>
                    </a:lnTo>
                    <a:lnTo>
                      <a:pt x="102" y="222"/>
                    </a:lnTo>
                    <a:lnTo>
                      <a:pt x="102" y="216"/>
                    </a:lnTo>
                    <a:lnTo>
                      <a:pt x="96" y="216"/>
                    </a:lnTo>
                    <a:lnTo>
                      <a:pt x="96" y="210"/>
                    </a:lnTo>
                    <a:lnTo>
                      <a:pt x="90" y="210"/>
                    </a:lnTo>
                    <a:lnTo>
                      <a:pt x="90" y="204"/>
                    </a:lnTo>
                    <a:lnTo>
                      <a:pt x="96" y="204"/>
                    </a:lnTo>
                    <a:close/>
                    <a:moveTo>
                      <a:pt x="114" y="648"/>
                    </a:moveTo>
                    <a:lnTo>
                      <a:pt x="114" y="654"/>
                    </a:lnTo>
                    <a:lnTo>
                      <a:pt x="108" y="654"/>
                    </a:lnTo>
                    <a:lnTo>
                      <a:pt x="108" y="660"/>
                    </a:lnTo>
                    <a:lnTo>
                      <a:pt x="114" y="660"/>
                    </a:lnTo>
                    <a:lnTo>
                      <a:pt x="114" y="666"/>
                    </a:lnTo>
                    <a:lnTo>
                      <a:pt x="120" y="666"/>
                    </a:lnTo>
                    <a:lnTo>
                      <a:pt x="114" y="666"/>
                    </a:lnTo>
                    <a:lnTo>
                      <a:pt x="108" y="666"/>
                    </a:lnTo>
                    <a:lnTo>
                      <a:pt x="108" y="660"/>
                    </a:lnTo>
                    <a:lnTo>
                      <a:pt x="108" y="654"/>
                    </a:lnTo>
                    <a:lnTo>
                      <a:pt x="108" y="648"/>
                    </a:lnTo>
                    <a:lnTo>
                      <a:pt x="114" y="648"/>
                    </a:lnTo>
                    <a:close/>
                    <a:moveTo>
                      <a:pt x="108" y="198"/>
                    </a:moveTo>
                    <a:lnTo>
                      <a:pt x="108" y="192"/>
                    </a:lnTo>
                    <a:lnTo>
                      <a:pt x="102" y="192"/>
                    </a:lnTo>
                    <a:lnTo>
                      <a:pt x="102" y="186"/>
                    </a:lnTo>
                    <a:lnTo>
                      <a:pt x="102" y="180"/>
                    </a:lnTo>
                    <a:lnTo>
                      <a:pt x="108" y="180"/>
                    </a:lnTo>
                    <a:lnTo>
                      <a:pt x="108" y="186"/>
                    </a:lnTo>
                    <a:lnTo>
                      <a:pt x="108" y="192"/>
                    </a:lnTo>
                    <a:lnTo>
                      <a:pt x="108" y="198"/>
                    </a:lnTo>
                    <a:close/>
                    <a:moveTo>
                      <a:pt x="0" y="258"/>
                    </a:moveTo>
                    <a:lnTo>
                      <a:pt x="12" y="258"/>
                    </a:lnTo>
                    <a:lnTo>
                      <a:pt x="12" y="264"/>
                    </a:lnTo>
                    <a:lnTo>
                      <a:pt x="0" y="264"/>
                    </a:lnTo>
                    <a:lnTo>
                      <a:pt x="0" y="258"/>
                    </a:lnTo>
                    <a:close/>
                    <a:moveTo>
                      <a:pt x="162" y="690"/>
                    </a:moveTo>
                    <a:lnTo>
                      <a:pt x="168" y="690"/>
                    </a:lnTo>
                    <a:lnTo>
                      <a:pt x="168" y="696"/>
                    </a:lnTo>
                    <a:lnTo>
                      <a:pt x="168" y="702"/>
                    </a:lnTo>
                    <a:lnTo>
                      <a:pt x="162" y="702"/>
                    </a:lnTo>
                    <a:lnTo>
                      <a:pt x="162" y="696"/>
                    </a:lnTo>
                    <a:lnTo>
                      <a:pt x="156" y="696"/>
                    </a:lnTo>
                    <a:lnTo>
                      <a:pt x="156" y="690"/>
                    </a:lnTo>
                    <a:lnTo>
                      <a:pt x="162" y="690"/>
                    </a:lnTo>
                    <a:close/>
                    <a:moveTo>
                      <a:pt x="102" y="204"/>
                    </a:moveTo>
                    <a:lnTo>
                      <a:pt x="102" y="198"/>
                    </a:lnTo>
                    <a:lnTo>
                      <a:pt x="96" y="192"/>
                    </a:lnTo>
                    <a:lnTo>
                      <a:pt x="102" y="186"/>
                    </a:lnTo>
                    <a:lnTo>
                      <a:pt x="102" y="192"/>
                    </a:lnTo>
                    <a:lnTo>
                      <a:pt x="102" y="198"/>
                    </a:lnTo>
                    <a:lnTo>
                      <a:pt x="102" y="204"/>
                    </a:lnTo>
                    <a:close/>
                    <a:moveTo>
                      <a:pt x="96" y="0"/>
                    </a:moveTo>
                    <a:lnTo>
                      <a:pt x="102" y="0"/>
                    </a:lnTo>
                    <a:lnTo>
                      <a:pt x="102" y="6"/>
                    </a:lnTo>
                    <a:lnTo>
                      <a:pt x="96" y="6"/>
                    </a:lnTo>
                    <a:lnTo>
                      <a:pt x="96" y="0"/>
                    </a:lnTo>
                    <a:close/>
                    <a:moveTo>
                      <a:pt x="66" y="180"/>
                    </a:moveTo>
                    <a:lnTo>
                      <a:pt x="72" y="180"/>
                    </a:lnTo>
                    <a:lnTo>
                      <a:pt x="72" y="186"/>
                    </a:lnTo>
                    <a:lnTo>
                      <a:pt x="66" y="186"/>
                    </a:lnTo>
                    <a:lnTo>
                      <a:pt x="66" y="180"/>
                    </a:lnTo>
                    <a:close/>
                    <a:moveTo>
                      <a:pt x="174" y="636"/>
                    </a:moveTo>
                    <a:lnTo>
                      <a:pt x="168" y="636"/>
                    </a:lnTo>
                    <a:lnTo>
                      <a:pt x="168" y="642"/>
                    </a:lnTo>
                    <a:lnTo>
                      <a:pt x="168" y="636"/>
                    </a:lnTo>
                    <a:lnTo>
                      <a:pt x="168" y="630"/>
                    </a:lnTo>
                    <a:lnTo>
                      <a:pt x="168" y="624"/>
                    </a:lnTo>
                    <a:lnTo>
                      <a:pt x="168" y="630"/>
                    </a:lnTo>
                    <a:lnTo>
                      <a:pt x="174" y="636"/>
                    </a:lnTo>
                    <a:close/>
                    <a:moveTo>
                      <a:pt x="96" y="192"/>
                    </a:moveTo>
                    <a:lnTo>
                      <a:pt x="96" y="204"/>
                    </a:lnTo>
                    <a:lnTo>
                      <a:pt x="97" y="204"/>
                    </a:lnTo>
                    <a:lnTo>
                      <a:pt x="96" y="192"/>
                    </a:lnTo>
                    <a:close/>
                    <a:moveTo>
                      <a:pt x="90" y="156"/>
                    </a:moveTo>
                    <a:lnTo>
                      <a:pt x="96" y="156"/>
                    </a:lnTo>
                    <a:lnTo>
                      <a:pt x="96" y="162"/>
                    </a:lnTo>
                    <a:lnTo>
                      <a:pt x="90" y="162"/>
                    </a:lnTo>
                    <a:lnTo>
                      <a:pt x="90" y="156"/>
                    </a:lnTo>
                    <a:close/>
                    <a:moveTo>
                      <a:pt x="162" y="678"/>
                    </a:moveTo>
                    <a:lnTo>
                      <a:pt x="168" y="678"/>
                    </a:lnTo>
                    <a:lnTo>
                      <a:pt x="168" y="690"/>
                    </a:lnTo>
                    <a:lnTo>
                      <a:pt x="162" y="690"/>
                    </a:lnTo>
                    <a:lnTo>
                      <a:pt x="162" y="678"/>
                    </a:lnTo>
                    <a:close/>
                    <a:moveTo>
                      <a:pt x="66" y="114"/>
                    </a:moveTo>
                    <a:lnTo>
                      <a:pt x="66" y="108"/>
                    </a:lnTo>
                    <a:lnTo>
                      <a:pt x="66" y="114"/>
                    </a:lnTo>
                    <a:lnTo>
                      <a:pt x="66" y="120"/>
                    </a:lnTo>
                    <a:lnTo>
                      <a:pt x="60" y="120"/>
                    </a:lnTo>
                    <a:lnTo>
                      <a:pt x="60" y="114"/>
                    </a:lnTo>
                    <a:lnTo>
                      <a:pt x="60" y="108"/>
                    </a:lnTo>
                    <a:lnTo>
                      <a:pt x="60" y="102"/>
                    </a:lnTo>
                    <a:lnTo>
                      <a:pt x="66" y="108"/>
                    </a:lnTo>
                    <a:lnTo>
                      <a:pt x="66" y="114"/>
                    </a:lnTo>
                    <a:close/>
                    <a:moveTo>
                      <a:pt x="96" y="228"/>
                    </a:moveTo>
                    <a:lnTo>
                      <a:pt x="108" y="228"/>
                    </a:lnTo>
                    <a:lnTo>
                      <a:pt x="96" y="228"/>
                    </a:lnTo>
                    <a:close/>
                    <a:moveTo>
                      <a:pt x="102" y="174"/>
                    </a:moveTo>
                    <a:lnTo>
                      <a:pt x="108" y="174"/>
                    </a:lnTo>
                    <a:lnTo>
                      <a:pt x="108" y="180"/>
                    </a:lnTo>
                    <a:lnTo>
                      <a:pt x="102" y="180"/>
                    </a:lnTo>
                    <a:lnTo>
                      <a:pt x="102" y="174"/>
                    </a:lnTo>
                    <a:close/>
                    <a:moveTo>
                      <a:pt x="84" y="168"/>
                    </a:moveTo>
                    <a:lnTo>
                      <a:pt x="90" y="168"/>
                    </a:lnTo>
                    <a:lnTo>
                      <a:pt x="90" y="180"/>
                    </a:lnTo>
                    <a:lnTo>
                      <a:pt x="84" y="180"/>
                    </a:lnTo>
                    <a:lnTo>
                      <a:pt x="84" y="168"/>
                    </a:lnTo>
                    <a:close/>
                    <a:moveTo>
                      <a:pt x="90" y="84"/>
                    </a:moveTo>
                    <a:lnTo>
                      <a:pt x="96" y="84"/>
                    </a:lnTo>
                    <a:lnTo>
                      <a:pt x="96" y="90"/>
                    </a:lnTo>
                    <a:lnTo>
                      <a:pt x="90" y="90"/>
                    </a:lnTo>
                    <a:lnTo>
                      <a:pt x="90" y="84"/>
                    </a:lnTo>
                    <a:close/>
                    <a:moveTo>
                      <a:pt x="90" y="186"/>
                    </a:moveTo>
                    <a:lnTo>
                      <a:pt x="96" y="186"/>
                    </a:lnTo>
                    <a:lnTo>
                      <a:pt x="96" y="192"/>
                    </a:lnTo>
                    <a:lnTo>
                      <a:pt x="90" y="192"/>
                    </a:lnTo>
                    <a:lnTo>
                      <a:pt x="90" y="186"/>
                    </a:lnTo>
                    <a:close/>
                    <a:moveTo>
                      <a:pt x="42" y="258"/>
                    </a:moveTo>
                    <a:lnTo>
                      <a:pt x="48" y="258"/>
                    </a:lnTo>
                    <a:lnTo>
                      <a:pt x="48" y="264"/>
                    </a:lnTo>
                    <a:lnTo>
                      <a:pt x="42" y="264"/>
                    </a:lnTo>
                    <a:lnTo>
                      <a:pt x="42" y="258"/>
                    </a:lnTo>
                    <a:close/>
                    <a:moveTo>
                      <a:pt x="84" y="174"/>
                    </a:moveTo>
                    <a:lnTo>
                      <a:pt x="90" y="174"/>
                    </a:lnTo>
                    <a:lnTo>
                      <a:pt x="90" y="180"/>
                    </a:lnTo>
                    <a:lnTo>
                      <a:pt x="84" y="180"/>
                    </a:lnTo>
                    <a:lnTo>
                      <a:pt x="84" y="174"/>
                    </a:lnTo>
                    <a:close/>
                    <a:moveTo>
                      <a:pt x="78" y="156"/>
                    </a:moveTo>
                    <a:lnTo>
                      <a:pt x="84" y="156"/>
                    </a:lnTo>
                    <a:lnTo>
                      <a:pt x="84" y="162"/>
                    </a:lnTo>
                    <a:lnTo>
                      <a:pt x="78" y="162"/>
                    </a:lnTo>
                    <a:lnTo>
                      <a:pt x="78" y="156"/>
                    </a:lnTo>
                    <a:close/>
                    <a:moveTo>
                      <a:pt x="198" y="174"/>
                    </a:moveTo>
                    <a:lnTo>
                      <a:pt x="204" y="174"/>
                    </a:lnTo>
                    <a:lnTo>
                      <a:pt x="198" y="174"/>
                    </a:lnTo>
                    <a:close/>
                    <a:moveTo>
                      <a:pt x="60" y="168"/>
                    </a:moveTo>
                    <a:lnTo>
                      <a:pt x="66" y="168"/>
                    </a:lnTo>
                    <a:lnTo>
                      <a:pt x="66" y="180"/>
                    </a:lnTo>
                    <a:lnTo>
                      <a:pt x="60" y="180"/>
                    </a:lnTo>
                    <a:lnTo>
                      <a:pt x="60" y="168"/>
                    </a:lnTo>
                    <a:close/>
                    <a:moveTo>
                      <a:pt x="120" y="660"/>
                    </a:moveTo>
                    <a:lnTo>
                      <a:pt x="126" y="660"/>
                    </a:lnTo>
                    <a:lnTo>
                      <a:pt x="126" y="666"/>
                    </a:lnTo>
                    <a:lnTo>
                      <a:pt x="120" y="666"/>
                    </a:lnTo>
                    <a:lnTo>
                      <a:pt x="120" y="660"/>
                    </a:lnTo>
                    <a:close/>
                    <a:moveTo>
                      <a:pt x="60" y="72"/>
                    </a:moveTo>
                    <a:lnTo>
                      <a:pt x="66" y="72"/>
                    </a:lnTo>
                    <a:lnTo>
                      <a:pt x="66" y="78"/>
                    </a:lnTo>
                    <a:lnTo>
                      <a:pt x="60" y="78"/>
                    </a:lnTo>
                    <a:lnTo>
                      <a:pt x="60" y="72"/>
                    </a:lnTo>
                    <a:close/>
                    <a:moveTo>
                      <a:pt x="90" y="78"/>
                    </a:moveTo>
                    <a:lnTo>
                      <a:pt x="90" y="84"/>
                    </a:lnTo>
                    <a:lnTo>
                      <a:pt x="91" y="84"/>
                    </a:lnTo>
                    <a:lnTo>
                      <a:pt x="90" y="78"/>
                    </a:lnTo>
                    <a:close/>
                    <a:moveTo>
                      <a:pt x="48" y="210"/>
                    </a:moveTo>
                    <a:lnTo>
                      <a:pt x="54" y="210"/>
                    </a:lnTo>
                    <a:lnTo>
                      <a:pt x="54" y="216"/>
                    </a:lnTo>
                    <a:lnTo>
                      <a:pt x="48" y="216"/>
                    </a:lnTo>
                    <a:lnTo>
                      <a:pt x="48" y="210"/>
                    </a:lnTo>
                    <a:close/>
                    <a:moveTo>
                      <a:pt x="60" y="294"/>
                    </a:moveTo>
                    <a:lnTo>
                      <a:pt x="66" y="294"/>
                    </a:lnTo>
                    <a:lnTo>
                      <a:pt x="66" y="300"/>
                    </a:lnTo>
                    <a:lnTo>
                      <a:pt x="60" y="300"/>
                    </a:lnTo>
                    <a:lnTo>
                      <a:pt x="60" y="294"/>
                    </a:lnTo>
                    <a:close/>
                    <a:moveTo>
                      <a:pt x="48" y="258"/>
                    </a:moveTo>
                    <a:lnTo>
                      <a:pt x="48" y="264"/>
                    </a:lnTo>
                    <a:lnTo>
                      <a:pt x="49" y="264"/>
                    </a:lnTo>
                    <a:lnTo>
                      <a:pt x="48" y="258"/>
                    </a:lnTo>
                    <a:close/>
                    <a:moveTo>
                      <a:pt x="66" y="210"/>
                    </a:moveTo>
                    <a:lnTo>
                      <a:pt x="72" y="210"/>
                    </a:lnTo>
                    <a:lnTo>
                      <a:pt x="72" y="216"/>
                    </a:lnTo>
                    <a:lnTo>
                      <a:pt x="66" y="216"/>
                    </a:lnTo>
                    <a:lnTo>
                      <a:pt x="66" y="210"/>
                    </a:lnTo>
                    <a:close/>
                    <a:moveTo>
                      <a:pt x="102" y="6"/>
                    </a:moveTo>
                    <a:lnTo>
                      <a:pt x="108" y="6"/>
                    </a:lnTo>
                    <a:lnTo>
                      <a:pt x="102" y="6"/>
                    </a:lnTo>
                    <a:close/>
                    <a:moveTo>
                      <a:pt x="78" y="30"/>
                    </a:moveTo>
                    <a:lnTo>
                      <a:pt x="78" y="36"/>
                    </a:lnTo>
                    <a:lnTo>
                      <a:pt x="79" y="36"/>
                    </a:lnTo>
                    <a:lnTo>
                      <a:pt x="78" y="30"/>
                    </a:lnTo>
                    <a:close/>
                    <a:moveTo>
                      <a:pt x="78" y="90"/>
                    </a:moveTo>
                    <a:lnTo>
                      <a:pt x="84" y="90"/>
                    </a:lnTo>
                    <a:lnTo>
                      <a:pt x="84" y="96"/>
                    </a:lnTo>
                    <a:lnTo>
                      <a:pt x="78" y="96"/>
                    </a:lnTo>
                    <a:lnTo>
                      <a:pt x="78" y="90"/>
                    </a:lnTo>
                    <a:close/>
                    <a:moveTo>
                      <a:pt x="60" y="102"/>
                    </a:moveTo>
                    <a:lnTo>
                      <a:pt x="66" y="102"/>
                    </a:lnTo>
                    <a:lnTo>
                      <a:pt x="60" y="102"/>
                    </a:lnTo>
                    <a:close/>
                    <a:moveTo>
                      <a:pt x="90" y="180"/>
                    </a:moveTo>
                    <a:lnTo>
                      <a:pt x="90" y="186"/>
                    </a:lnTo>
                    <a:lnTo>
                      <a:pt x="91" y="186"/>
                    </a:lnTo>
                    <a:lnTo>
                      <a:pt x="90" y="180"/>
                    </a:lnTo>
                    <a:close/>
                    <a:moveTo>
                      <a:pt x="54" y="258"/>
                    </a:moveTo>
                    <a:lnTo>
                      <a:pt x="54" y="264"/>
                    </a:lnTo>
                    <a:lnTo>
                      <a:pt x="55" y="264"/>
                    </a:lnTo>
                    <a:lnTo>
                      <a:pt x="54" y="258"/>
                    </a:lnTo>
                    <a:close/>
                    <a:moveTo>
                      <a:pt x="48" y="258"/>
                    </a:moveTo>
                    <a:lnTo>
                      <a:pt x="54" y="258"/>
                    </a:lnTo>
                    <a:lnTo>
                      <a:pt x="48" y="258"/>
                    </a:lnTo>
                    <a:close/>
                    <a:moveTo>
                      <a:pt x="42" y="264"/>
                    </a:moveTo>
                    <a:lnTo>
                      <a:pt x="48" y="264"/>
                    </a:lnTo>
                    <a:lnTo>
                      <a:pt x="42" y="264"/>
                    </a:lnTo>
                    <a:close/>
                    <a:moveTo>
                      <a:pt x="96" y="42"/>
                    </a:moveTo>
                    <a:lnTo>
                      <a:pt x="102" y="42"/>
                    </a:lnTo>
                    <a:lnTo>
                      <a:pt x="102" y="48"/>
                    </a:lnTo>
                    <a:lnTo>
                      <a:pt x="96" y="48"/>
                    </a:lnTo>
                    <a:lnTo>
                      <a:pt x="96" y="42"/>
                    </a:lnTo>
                    <a:close/>
                    <a:moveTo>
                      <a:pt x="66" y="210"/>
                    </a:moveTo>
                    <a:lnTo>
                      <a:pt x="72" y="210"/>
                    </a:lnTo>
                    <a:lnTo>
                      <a:pt x="66" y="210"/>
                    </a:lnTo>
                    <a:close/>
                    <a:moveTo>
                      <a:pt x="66" y="168"/>
                    </a:moveTo>
                    <a:lnTo>
                      <a:pt x="72" y="168"/>
                    </a:lnTo>
                    <a:lnTo>
                      <a:pt x="72" y="174"/>
                    </a:lnTo>
                    <a:lnTo>
                      <a:pt x="66" y="174"/>
                    </a:lnTo>
                    <a:lnTo>
                      <a:pt x="66" y="168"/>
                    </a:lnTo>
                    <a:close/>
                    <a:moveTo>
                      <a:pt x="78" y="588"/>
                    </a:moveTo>
                    <a:lnTo>
                      <a:pt x="78" y="594"/>
                    </a:lnTo>
                    <a:lnTo>
                      <a:pt x="79" y="594"/>
                    </a:lnTo>
                    <a:lnTo>
                      <a:pt x="78" y="588"/>
                    </a:lnTo>
                    <a:close/>
                    <a:moveTo>
                      <a:pt x="90" y="192"/>
                    </a:moveTo>
                    <a:lnTo>
                      <a:pt x="90" y="198"/>
                    </a:lnTo>
                    <a:lnTo>
                      <a:pt x="91" y="198"/>
                    </a:lnTo>
                    <a:lnTo>
                      <a:pt x="90" y="192"/>
                    </a:lnTo>
                    <a:close/>
                    <a:moveTo>
                      <a:pt x="90" y="90"/>
                    </a:moveTo>
                    <a:lnTo>
                      <a:pt x="96" y="90"/>
                    </a:lnTo>
                    <a:lnTo>
                      <a:pt x="90" y="90"/>
                    </a:lnTo>
                    <a:close/>
                    <a:moveTo>
                      <a:pt x="66" y="210"/>
                    </a:moveTo>
                    <a:lnTo>
                      <a:pt x="66" y="216"/>
                    </a:lnTo>
                    <a:lnTo>
                      <a:pt x="67" y="216"/>
                    </a:lnTo>
                    <a:lnTo>
                      <a:pt x="66" y="210"/>
                    </a:lnTo>
                    <a:close/>
                    <a:moveTo>
                      <a:pt x="84" y="162"/>
                    </a:moveTo>
                    <a:lnTo>
                      <a:pt x="90" y="162"/>
                    </a:lnTo>
                    <a:lnTo>
                      <a:pt x="90" y="168"/>
                    </a:lnTo>
                    <a:lnTo>
                      <a:pt x="84" y="168"/>
                    </a:lnTo>
                    <a:lnTo>
                      <a:pt x="84" y="162"/>
                    </a:lnTo>
                    <a:close/>
                    <a:moveTo>
                      <a:pt x="72" y="204"/>
                    </a:moveTo>
                    <a:lnTo>
                      <a:pt x="72" y="210"/>
                    </a:lnTo>
                    <a:lnTo>
                      <a:pt x="73" y="210"/>
                    </a:lnTo>
                    <a:lnTo>
                      <a:pt x="72" y="204"/>
                    </a:lnTo>
                    <a:close/>
                    <a:moveTo>
                      <a:pt x="174" y="642"/>
                    </a:moveTo>
                    <a:lnTo>
                      <a:pt x="174" y="648"/>
                    </a:lnTo>
                    <a:lnTo>
                      <a:pt x="175" y="648"/>
                    </a:lnTo>
                    <a:lnTo>
                      <a:pt x="174" y="642"/>
                    </a:lnTo>
                    <a:close/>
                    <a:moveTo>
                      <a:pt x="48" y="336"/>
                    </a:moveTo>
                    <a:lnTo>
                      <a:pt x="54" y="336"/>
                    </a:lnTo>
                    <a:lnTo>
                      <a:pt x="48" y="336"/>
                    </a:lnTo>
                    <a:close/>
                    <a:moveTo>
                      <a:pt x="48" y="264"/>
                    </a:moveTo>
                    <a:lnTo>
                      <a:pt x="54" y="264"/>
                    </a:lnTo>
                    <a:lnTo>
                      <a:pt x="48" y="264"/>
                    </a:lnTo>
                    <a:close/>
                    <a:moveTo>
                      <a:pt x="66" y="246"/>
                    </a:moveTo>
                    <a:lnTo>
                      <a:pt x="72" y="246"/>
                    </a:lnTo>
                    <a:lnTo>
                      <a:pt x="66" y="246"/>
                    </a:lnTo>
                    <a:close/>
                    <a:moveTo>
                      <a:pt x="108" y="30"/>
                    </a:moveTo>
                    <a:lnTo>
                      <a:pt x="108" y="36"/>
                    </a:lnTo>
                    <a:lnTo>
                      <a:pt x="109" y="36"/>
                    </a:lnTo>
                    <a:lnTo>
                      <a:pt x="108" y="30"/>
                    </a:lnTo>
                    <a:close/>
                    <a:moveTo>
                      <a:pt x="48" y="216"/>
                    </a:moveTo>
                    <a:lnTo>
                      <a:pt x="54" y="216"/>
                    </a:lnTo>
                    <a:lnTo>
                      <a:pt x="48" y="216"/>
                    </a:lnTo>
                    <a:close/>
                    <a:moveTo>
                      <a:pt x="72" y="96"/>
                    </a:moveTo>
                    <a:lnTo>
                      <a:pt x="72" y="102"/>
                    </a:lnTo>
                    <a:lnTo>
                      <a:pt x="73" y="102"/>
                    </a:lnTo>
                    <a:lnTo>
                      <a:pt x="72" y="96"/>
                    </a:lnTo>
                    <a:close/>
                    <a:moveTo>
                      <a:pt x="72" y="36"/>
                    </a:moveTo>
                    <a:lnTo>
                      <a:pt x="78" y="36"/>
                    </a:lnTo>
                    <a:lnTo>
                      <a:pt x="72" y="36"/>
                    </a:lnTo>
                    <a:close/>
                    <a:moveTo>
                      <a:pt x="84" y="174"/>
                    </a:moveTo>
                    <a:lnTo>
                      <a:pt x="84" y="180"/>
                    </a:lnTo>
                    <a:lnTo>
                      <a:pt x="85" y="180"/>
                    </a:lnTo>
                    <a:lnTo>
                      <a:pt x="84" y="174"/>
                    </a:lnTo>
                    <a:close/>
                    <a:moveTo>
                      <a:pt x="60" y="246"/>
                    </a:moveTo>
                    <a:lnTo>
                      <a:pt x="60" y="252"/>
                    </a:lnTo>
                    <a:lnTo>
                      <a:pt x="61" y="252"/>
                    </a:lnTo>
                    <a:lnTo>
                      <a:pt x="60" y="246"/>
                    </a:lnTo>
                    <a:close/>
                    <a:moveTo>
                      <a:pt x="72" y="90"/>
                    </a:moveTo>
                    <a:lnTo>
                      <a:pt x="72" y="96"/>
                    </a:lnTo>
                    <a:lnTo>
                      <a:pt x="73" y="96"/>
                    </a:lnTo>
                    <a:lnTo>
                      <a:pt x="72" y="90"/>
                    </a:lnTo>
                    <a:close/>
                    <a:moveTo>
                      <a:pt x="48" y="264"/>
                    </a:moveTo>
                    <a:lnTo>
                      <a:pt x="54" y="264"/>
                    </a:lnTo>
                    <a:lnTo>
                      <a:pt x="54" y="270"/>
                    </a:lnTo>
                    <a:lnTo>
                      <a:pt x="48" y="270"/>
                    </a:lnTo>
                    <a:lnTo>
                      <a:pt x="48" y="264"/>
                    </a:lnTo>
                    <a:close/>
                    <a:moveTo>
                      <a:pt x="198" y="774"/>
                    </a:moveTo>
                    <a:lnTo>
                      <a:pt x="198" y="780"/>
                    </a:lnTo>
                    <a:lnTo>
                      <a:pt x="199" y="780"/>
                    </a:lnTo>
                    <a:lnTo>
                      <a:pt x="198" y="774"/>
                    </a:lnTo>
                    <a:close/>
                    <a:moveTo>
                      <a:pt x="102" y="54"/>
                    </a:moveTo>
                    <a:lnTo>
                      <a:pt x="108" y="54"/>
                    </a:lnTo>
                    <a:lnTo>
                      <a:pt x="108" y="60"/>
                    </a:lnTo>
                    <a:lnTo>
                      <a:pt x="102" y="60"/>
                    </a:lnTo>
                    <a:lnTo>
                      <a:pt x="102" y="54"/>
                    </a:lnTo>
                    <a:close/>
                    <a:moveTo>
                      <a:pt x="60" y="288"/>
                    </a:moveTo>
                    <a:lnTo>
                      <a:pt x="60" y="294"/>
                    </a:lnTo>
                    <a:lnTo>
                      <a:pt x="61" y="294"/>
                    </a:lnTo>
                    <a:lnTo>
                      <a:pt x="60" y="288"/>
                    </a:lnTo>
                    <a:close/>
                    <a:moveTo>
                      <a:pt x="48" y="258"/>
                    </a:moveTo>
                    <a:lnTo>
                      <a:pt x="54" y="258"/>
                    </a:lnTo>
                    <a:lnTo>
                      <a:pt x="48" y="258"/>
                    </a:lnTo>
                    <a:close/>
                    <a:moveTo>
                      <a:pt x="54" y="114"/>
                    </a:moveTo>
                    <a:lnTo>
                      <a:pt x="60" y="114"/>
                    </a:lnTo>
                    <a:lnTo>
                      <a:pt x="54" y="114"/>
                    </a:lnTo>
                    <a:close/>
                    <a:moveTo>
                      <a:pt x="60" y="120"/>
                    </a:moveTo>
                    <a:lnTo>
                      <a:pt x="66" y="120"/>
                    </a:lnTo>
                    <a:lnTo>
                      <a:pt x="66" y="126"/>
                    </a:lnTo>
                    <a:lnTo>
                      <a:pt x="60" y="126"/>
                    </a:lnTo>
                    <a:lnTo>
                      <a:pt x="60" y="120"/>
                    </a:lnTo>
                    <a:close/>
                    <a:moveTo>
                      <a:pt x="84" y="18"/>
                    </a:moveTo>
                    <a:lnTo>
                      <a:pt x="90" y="18"/>
                    </a:lnTo>
                    <a:lnTo>
                      <a:pt x="84" y="18"/>
                    </a:lnTo>
                    <a:close/>
                    <a:moveTo>
                      <a:pt x="66" y="102"/>
                    </a:moveTo>
                    <a:lnTo>
                      <a:pt x="72" y="102"/>
                    </a:lnTo>
                    <a:lnTo>
                      <a:pt x="66" y="102"/>
                    </a:lnTo>
                    <a:close/>
                    <a:moveTo>
                      <a:pt x="108" y="36"/>
                    </a:moveTo>
                    <a:lnTo>
                      <a:pt x="108" y="42"/>
                    </a:lnTo>
                    <a:lnTo>
                      <a:pt x="109" y="42"/>
                    </a:lnTo>
                    <a:lnTo>
                      <a:pt x="108" y="36"/>
                    </a:lnTo>
                    <a:close/>
                    <a:moveTo>
                      <a:pt x="60" y="126"/>
                    </a:moveTo>
                    <a:lnTo>
                      <a:pt x="60" y="132"/>
                    </a:lnTo>
                    <a:lnTo>
                      <a:pt x="61" y="132"/>
                    </a:lnTo>
                    <a:lnTo>
                      <a:pt x="60" y="126"/>
                    </a:lnTo>
                    <a:close/>
                    <a:moveTo>
                      <a:pt x="66" y="90"/>
                    </a:moveTo>
                    <a:lnTo>
                      <a:pt x="72" y="90"/>
                    </a:lnTo>
                    <a:lnTo>
                      <a:pt x="66" y="90"/>
                    </a:lnTo>
                    <a:close/>
                    <a:moveTo>
                      <a:pt x="66" y="90"/>
                    </a:moveTo>
                    <a:lnTo>
                      <a:pt x="72" y="90"/>
                    </a:lnTo>
                    <a:lnTo>
                      <a:pt x="72" y="96"/>
                    </a:lnTo>
                    <a:lnTo>
                      <a:pt x="66" y="96"/>
                    </a:lnTo>
                    <a:lnTo>
                      <a:pt x="66" y="90"/>
                    </a:lnTo>
                    <a:close/>
                    <a:moveTo>
                      <a:pt x="84" y="90"/>
                    </a:moveTo>
                    <a:lnTo>
                      <a:pt x="84" y="96"/>
                    </a:lnTo>
                    <a:lnTo>
                      <a:pt x="85" y="96"/>
                    </a:lnTo>
                    <a:lnTo>
                      <a:pt x="84" y="90"/>
                    </a:lnTo>
                    <a:close/>
                    <a:moveTo>
                      <a:pt x="84" y="96"/>
                    </a:moveTo>
                    <a:lnTo>
                      <a:pt x="90" y="96"/>
                    </a:lnTo>
                    <a:lnTo>
                      <a:pt x="84" y="96"/>
                    </a:lnTo>
                    <a:close/>
                    <a:moveTo>
                      <a:pt x="72" y="90"/>
                    </a:moveTo>
                    <a:lnTo>
                      <a:pt x="72" y="96"/>
                    </a:lnTo>
                    <a:lnTo>
                      <a:pt x="73" y="96"/>
                    </a:lnTo>
                    <a:lnTo>
                      <a:pt x="72" y="90"/>
                    </a:lnTo>
                    <a:close/>
                    <a:moveTo>
                      <a:pt x="108" y="54"/>
                    </a:moveTo>
                    <a:lnTo>
                      <a:pt x="108" y="60"/>
                    </a:lnTo>
                    <a:lnTo>
                      <a:pt x="109" y="60"/>
                    </a:lnTo>
                    <a:lnTo>
                      <a:pt x="108" y="54"/>
                    </a:lnTo>
                    <a:close/>
                    <a:moveTo>
                      <a:pt x="174" y="762"/>
                    </a:moveTo>
                    <a:lnTo>
                      <a:pt x="180" y="762"/>
                    </a:lnTo>
                    <a:lnTo>
                      <a:pt x="180" y="768"/>
                    </a:lnTo>
                    <a:lnTo>
                      <a:pt x="174" y="768"/>
                    </a:lnTo>
                    <a:lnTo>
                      <a:pt x="174" y="762"/>
                    </a:lnTo>
                    <a:close/>
                    <a:moveTo>
                      <a:pt x="168" y="756"/>
                    </a:moveTo>
                    <a:lnTo>
                      <a:pt x="174" y="756"/>
                    </a:lnTo>
                    <a:lnTo>
                      <a:pt x="168" y="756"/>
                    </a:lnTo>
                    <a:close/>
                  </a:path>
                </a:pathLst>
              </a:custGeom>
              <a:solidFill>
                <a:schemeClr val="bg1">
                  <a:lumMod val="85000"/>
                </a:schemeClr>
              </a:solidFill>
              <a:ln w="9525">
                <a:solidFill>
                  <a:schemeClr val="bg1"/>
                </a:solidFill>
                <a:round/>
                <a:headEnd/>
                <a:tailEnd/>
              </a:ln>
            </p:spPr>
            <p:txBody>
              <a:bodyPr vert="horz" wrap="square" lIns="91434" tIns="45718" rIns="91434" bIns="45718" numCol="1" anchor="t" anchorCtr="0" compatLnSpc="1">
                <a:prstTxWarp prst="textNoShape">
                  <a:avLst/>
                </a:prstTxWarp>
                <a:noAutofit/>
              </a:bodyPr>
              <a:lstStyle/>
              <a:p>
                <a:endParaRPr lang="en-US" sz="800" dirty="0">
                  <a:solidFill>
                    <a:srgbClr val="000000"/>
                  </a:solidFill>
                </a:endParaRPr>
              </a:p>
            </p:txBody>
          </p:sp>
        </p:grpSp>
        <p:sp>
          <p:nvSpPr>
            <p:cNvPr id="38" name="Rectangle 121"/>
            <p:cNvSpPr>
              <a:spLocks noChangeArrowheads="1"/>
            </p:cNvSpPr>
            <p:nvPr/>
          </p:nvSpPr>
          <p:spPr bwMode="gray">
            <a:xfrm>
              <a:off x="4325839" y="3648472"/>
              <a:ext cx="41036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r" defTabSz="896017"/>
              <a:r>
                <a:rPr lang="en-US" sz="900" dirty="0">
                  <a:solidFill>
                    <a:srgbClr val="000000"/>
                  </a:solidFill>
                  <a:latin typeface="Arial"/>
                  <a:cs typeface="Arial" pitchFamily="34" charset="0"/>
                </a:rPr>
                <a:t>Dhamra</a:t>
              </a:r>
            </a:p>
          </p:txBody>
        </p:sp>
        <p:sp>
          <p:nvSpPr>
            <p:cNvPr id="39" name="Freeform 38"/>
            <p:cNvSpPr/>
            <p:nvPr/>
          </p:nvSpPr>
          <p:spPr>
            <a:xfrm>
              <a:off x="3915688" y="5010884"/>
              <a:ext cx="0" cy="0"/>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chemeClr val="tx1"/>
                </a:solidFill>
              </a:endParaRPr>
            </a:p>
          </p:txBody>
        </p:sp>
        <p:sp>
          <p:nvSpPr>
            <p:cNvPr id="40" name="Rectangle 121"/>
            <p:cNvSpPr>
              <a:spLocks noChangeArrowheads="1"/>
            </p:cNvSpPr>
            <p:nvPr/>
          </p:nvSpPr>
          <p:spPr bwMode="gray">
            <a:xfrm>
              <a:off x="4947502" y="3629015"/>
              <a:ext cx="74379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algn="r" defTabSz="896017"/>
              <a:r>
                <a:rPr lang="en-US" sz="900" dirty="0">
                  <a:solidFill>
                    <a:srgbClr val="000000"/>
                  </a:solidFill>
                  <a:latin typeface="Arial"/>
                  <a:cs typeface="Arial" pitchFamily="34" charset="0"/>
                </a:rPr>
                <a:t>Kolkata/Haldia</a:t>
              </a:r>
            </a:p>
          </p:txBody>
        </p:sp>
        <p:sp>
          <p:nvSpPr>
            <p:cNvPr id="41" name="Rectangle 121"/>
            <p:cNvSpPr>
              <a:spLocks noChangeArrowheads="1"/>
            </p:cNvSpPr>
            <p:nvPr/>
          </p:nvSpPr>
          <p:spPr bwMode="gray">
            <a:xfrm>
              <a:off x="4039656" y="4615567"/>
              <a:ext cx="74379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017"/>
              <a:r>
                <a:rPr lang="en-US" sz="900" dirty="0">
                  <a:solidFill>
                    <a:srgbClr val="000000"/>
                  </a:solidFill>
                  <a:latin typeface="Arial"/>
                  <a:cs typeface="Arial" pitchFamily="34" charset="0"/>
                </a:rPr>
                <a:t>Machilipatnam</a:t>
              </a:r>
            </a:p>
          </p:txBody>
        </p:sp>
        <p:sp>
          <p:nvSpPr>
            <p:cNvPr id="42" name="Rectangle 121"/>
            <p:cNvSpPr>
              <a:spLocks noChangeArrowheads="1"/>
            </p:cNvSpPr>
            <p:nvPr/>
          </p:nvSpPr>
          <p:spPr bwMode="gray">
            <a:xfrm>
              <a:off x="4719727" y="4007511"/>
              <a:ext cx="39754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017"/>
              <a:r>
                <a:rPr lang="en-US" sz="900" dirty="0">
                  <a:solidFill>
                    <a:srgbClr val="000000"/>
                  </a:solidFill>
                  <a:latin typeface="Arial"/>
                  <a:cs typeface="Arial" pitchFamily="34" charset="0"/>
                </a:rPr>
                <a:t>Paradip</a:t>
              </a:r>
            </a:p>
          </p:txBody>
        </p:sp>
        <p:grpSp>
          <p:nvGrpSpPr>
            <p:cNvPr id="43" name="Group 42"/>
            <p:cNvGrpSpPr/>
            <p:nvPr/>
          </p:nvGrpSpPr>
          <p:grpSpPr>
            <a:xfrm>
              <a:off x="3689985" y="2425065"/>
              <a:ext cx="2650326" cy="2181225"/>
              <a:chOff x="3705225" y="2486025"/>
              <a:chExt cx="2650326" cy="2181225"/>
            </a:xfrm>
          </p:grpSpPr>
          <p:sp>
            <p:nvSpPr>
              <p:cNvPr id="48" name="Freeform 47"/>
              <p:cNvSpPr/>
              <p:nvPr/>
            </p:nvSpPr>
            <p:spPr>
              <a:xfrm>
                <a:off x="3971925" y="2867025"/>
                <a:ext cx="1209675" cy="762000"/>
              </a:xfrm>
              <a:custGeom>
                <a:avLst/>
                <a:gdLst>
                  <a:gd name="connsiteX0" fmla="*/ 0 w 1209675"/>
                  <a:gd name="connsiteY0" fmla="*/ 0 h 762000"/>
                  <a:gd name="connsiteX1" fmla="*/ 257175 w 1209675"/>
                  <a:gd name="connsiteY1" fmla="*/ 190500 h 762000"/>
                  <a:gd name="connsiteX2" fmla="*/ 866775 w 1209675"/>
                  <a:gd name="connsiteY2" fmla="*/ 247650 h 762000"/>
                  <a:gd name="connsiteX3" fmla="*/ 1181100 w 1209675"/>
                  <a:gd name="connsiteY3" fmla="*/ 333375 h 762000"/>
                  <a:gd name="connsiteX4" fmla="*/ 1181100 w 1209675"/>
                  <a:gd name="connsiteY4" fmla="*/ 333375 h 762000"/>
                  <a:gd name="connsiteX5" fmla="*/ 1209675 w 1209675"/>
                  <a:gd name="connsiteY5" fmla="*/ 762000 h 76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09675" h="762000">
                    <a:moveTo>
                      <a:pt x="0" y="0"/>
                    </a:moveTo>
                    <a:cubicBezTo>
                      <a:pt x="56356" y="74612"/>
                      <a:pt x="112713" y="149225"/>
                      <a:pt x="257175" y="190500"/>
                    </a:cubicBezTo>
                    <a:cubicBezTo>
                      <a:pt x="401637" y="231775"/>
                      <a:pt x="712788" y="223838"/>
                      <a:pt x="866775" y="247650"/>
                    </a:cubicBezTo>
                    <a:cubicBezTo>
                      <a:pt x="1020762" y="271462"/>
                      <a:pt x="1181100" y="333375"/>
                      <a:pt x="1181100" y="333375"/>
                    </a:cubicBezTo>
                    <a:lnTo>
                      <a:pt x="1181100" y="333375"/>
                    </a:lnTo>
                    <a:lnTo>
                      <a:pt x="1209675" y="762000"/>
                    </a:lnTo>
                  </a:path>
                </a:pathLst>
              </a:custGeom>
              <a:noFill/>
              <a:ln w="31750">
                <a:solidFill>
                  <a:srgbClr val="EE08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9" name="Freeform 48"/>
              <p:cNvSpPr/>
              <p:nvPr/>
            </p:nvSpPr>
            <p:spPr>
              <a:xfrm>
                <a:off x="5419725" y="2486025"/>
                <a:ext cx="935826" cy="562197"/>
              </a:xfrm>
              <a:custGeom>
                <a:avLst/>
                <a:gdLst>
                  <a:gd name="connsiteX0" fmla="*/ 933450 w 935826"/>
                  <a:gd name="connsiteY0" fmla="*/ 0 h 562197"/>
                  <a:gd name="connsiteX1" fmla="*/ 828675 w 935826"/>
                  <a:gd name="connsiteY1" fmla="*/ 323850 h 562197"/>
                  <a:gd name="connsiteX2" fmla="*/ 238125 w 935826"/>
                  <a:gd name="connsiteY2" fmla="*/ 523875 h 562197"/>
                  <a:gd name="connsiteX3" fmla="*/ 0 w 935826"/>
                  <a:gd name="connsiteY3" fmla="*/ 561975 h 562197"/>
                </a:gdLst>
                <a:ahLst/>
                <a:cxnLst>
                  <a:cxn ang="0">
                    <a:pos x="connsiteX0" y="connsiteY0"/>
                  </a:cxn>
                  <a:cxn ang="0">
                    <a:pos x="connsiteX1" y="connsiteY1"/>
                  </a:cxn>
                  <a:cxn ang="0">
                    <a:pos x="connsiteX2" y="connsiteY2"/>
                  </a:cxn>
                  <a:cxn ang="0">
                    <a:pos x="connsiteX3" y="connsiteY3"/>
                  </a:cxn>
                </a:cxnLst>
                <a:rect l="l" t="t" r="r" b="b"/>
                <a:pathLst>
                  <a:path w="935826" h="562197">
                    <a:moveTo>
                      <a:pt x="933450" y="0"/>
                    </a:moveTo>
                    <a:cubicBezTo>
                      <a:pt x="939006" y="118269"/>
                      <a:pt x="944562" y="236538"/>
                      <a:pt x="828675" y="323850"/>
                    </a:cubicBezTo>
                    <a:cubicBezTo>
                      <a:pt x="712788" y="411162"/>
                      <a:pt x="376237" y="484188"/>
                      <a:pt x="238125" y="523875"/>
                    </a:cubicBezTo>
                    <a:cubicBezTo>
                      <a:pt x="100013" y="563562"/>
                      <a:pt x="50006" y="562768"/>
                      <a:pt x="0" y="561975"/>
                    </a:cubicBezTo>
                  </a:path>
                </a:pathLst>
              </a:custGeom>
              <a:noFill/>
              <a:ln w="31750">
                <a:solidFill>
                  <a:srgbClr val="EE08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eform 50"/>
              <p:cNvSpPr/>
              <p:nvPr/>
            </p:nvSpPr>
            <p:spPr>
              <a:xfrm>
                <a:off x="3705225" y="4657725"/>
                <a:ext cx="333375" cy="9525"/>
              </a:xfrm>
              <a:custGeom>
                <a:avLst/>
                <a:gdLst>
                  <a:gd name="connsiteX0" fmla="*/ 0 w 333375"/>
                  <a:gd name="connsiteY0" fmla="*/ 9525 h 9525"/>
                  <a:gd name="connsiteX1" fmla="*/ 333375 w 333375"/>
                  <a:gd name="connsiteY1" fmla="*/ 0 h 9525"/>
                </a:gdLst>
                <a:ahLst/>
                <a:cxnLst>
                  <a:cxn ang="0">
                    <a:pos x="connsiteX0" y="connsiteY0"/>
                  </a:cxn>
                  <a:cxn ang="0">
                    <a:pos x="connsiteX1" y="connsiteY1"/>
                  </a:cxn>
                </a:cxnLst>
                <a:rect l="l" t="t" r="r" b="b"/>
                <a:pathLst>
                  <a:path w="333375" h="9525">
                    <a:moveTo>
                      <a:pt x="0" y="9525"/>
                    </a:moveTo>
                    <a:lnTo>
                      <a:pt x="333375" y="0"/>
                    </a:lnTo>
                  </a:path>
                </a:pathLst>
              </a:custGeom>
              <a:noFill/>
              <a:ln w="31750">
                <a:solidFill>
                  <a:srgbClr val="EE08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Freeform 51"/>
              <p:cNvSpPr/>
              <p:nvPr/>
            </p:nvSpPr>
            <p:spPr>
              <a:xfrm>
                <a:off x="4543425" y="3876675"/>
                <a:ext cx="266700" cy="161925"/>
              </a:xfrm>
              <a:custGeom>
                <a:avLst/>
                <a:gdLst>
                  <a:gd name="connsiteX0" fmla="*/ 0 w 266700"/>
                  <a:gd name="connsiteY0" fmla="*/ 0 h 161925"/>
                  <a:gd name="connsiteX1" fmla="*/ 266700 w 266700"/>
                  <a:gd name="connsiteY1" fmla="*/ 161925 h 161925"/>
                  <a:gd name="connsiteX2" fmla="*/ 266700 w 266700"/>
                  <a:gd name="connsiteY2" fmla="*/ 161925 h 161925"/>
                </a:gdLst>
                <a:ahLst/>
                <a:cxnLst>
                  <a:cxn ang="0">
                    <a:pos x="connsiteX0" y="connsiteY0"/>
                  </a:cxn>
                  <a:cxn ang="0">
                    <a:pos x="connsiteX1" y="connsiteY1"/>
                  </a:cxn>
                  <a:cxn ang="0">
                    <a:pos x="connsiteX2" y="connsiteY2"/>
                  </a:cxn>
                </a:cxnLst>
                <a:rect l="l" t="t" r="r" b="b"/>
                <a:pathLst>
                  <a:path w="266700" h="161925">
                    <a:moveTo>
                      <a:pt x="0" y="0"/>
                    </a:moveTo>
                    <a:lnTo>
                      <a:pt x="266700" y="161925"/>
                    </a:lnTo>
                    <a:lnTo>
                      <a:pt x="266700" y="161925"/>
                    </a:lnTo>
                  </a:path>
                </a:pathLst>
              </a:custGeom>
              <a:noFill/>
              <a:ln w="31750">
                <a:solidFill>
                  <a:srgbClr val="EE08C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44" name="Rectangle 121"/>
            <p:cNvSpPr>
              <a:spLocks noChangeArrowheads="1"/>
            </p:cNvSpPr>
            <p:nvPr/>
          </p:nvSpPr>
          <p:spPr bwMode="gray">
            <a:xfrm>
              <a:off x="3752775" y="3881324"/>
              <a:ext cx="112210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017"/>
              <a:r>
                <a:rPr lang="en-US" sz="900" b="1" dirty="0">
                  <a:solidFill>
                    <a:srgbClr val="000000"/>
                  </a:solidFill>
                  <a:latin typeface="Arial"/>
                  <a:cs typeface="Arial" pitchFamily="34" charset="0"/>
                </a:rPr>
                <a:t>National Waterway 5</a:t>
              </a:r>
            </a:p>
          </p:txBody>
        </p:sp>
        <p:sp>
          <p:nvSpPr>
            <p:cNvPr id="45" name="Rectangle 121"/>
            <p:cNvSpPr>
              <a:spLocks noChangeArrowheads="1"/>
            </p:cNvSpPr>
            <p:nvPr/>
          </p:nvSpPr>
          <p:spPr bwMode="gray">
            <a:xfrm>
              <a:off x="3061234" y="4404802"/>
              <a:ext cx="112210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017"/>
              <a:r>
                <a:rPr lang="en-US" sz="900" b="1" dirty="0">
                  <a:solidFill>
                    <a:srgbClr val="000000"/>
                  </a:solidFill>
                  <a:latin typeface="Arial"/>
                  <a:cs typeface="Arial" pitchFamily="34" charset="0"/>
                </a:rPr>
                <a:t>National Waterway 4</a:t>
              </a:r>
            </a:p>
          </p:txBody>
        </p:sp>
        <p:sp>
          <p:nvSpPr>
            <p:cNvPr id="46" name="Rectangle 121"/>
            <p:cNvSpPr>
              <a:spLocks noChangeArrowheads="1"/>
            </p:cNvSpPr>
            <p:nvPr/>
          </p:nvSpPr>
          <p:spPr bwMode="gray">
            <a:xfrm>
              <a:off x="6197598" y="2928737"/>
              <a:ext cx="523377" cy="259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017"/>
              <a:r>
                <a:rPr lang="en-US" sz="900" b="1" dirty="0">
                  <a:solidFill>
                    <a:srgbClr val="000000"/>
                  </a:solidFill>
                  <a:latin typeface="Arial"/>
                  <a:cs typeface="Arial" pitchFamily="34" charset="0"/>
                </a:rPr>
                <a:t>National</a:t>
              </a:r>
            </a:p>
            <a:p>
              <a:pPr defTabSz="896017"/>
              <a:r>
                <a:rPr lang="en-US" sz="900" b="1" dirty="0">
                  <a:solidFill>
                    <a:srgbClr val="000000"/>
                  </a:solidFill>
                  <a:latin typeface="Arial"/>
                  <a:cs typeface="Arial" pitchFamily="34" charset="0"/>
                </a:rPr>
                <a:t> Waterway 2</a:t>
              </a:r>
            </a:p>
          </p:txBody>
        </p:sp>
        <p:sp>
          <p:nvSpPr>
            <p:cNvPr id="47" name="Rectangle 121"/>
            <p:cNvSpPr>
              <a:spLocks noChangeArrowheads="1"/>
            </p:cNvSpPr>
            <p:nvPr/>
          </p:nvSpPr>
          <p:spPr bwMode="gray">
            <a:xfrm>
              <a:off x="4070122" y="2777439"/>
              <a:ext cx="1122102"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p>
              <a:pPr defTabSz="896017"/>
              <a:r>
                <a:rPr lang="en-US" sz="900" b="1" dirty="0">
                  <a:solidFill>
                    <a:srgbClr val="000000"/>
                  </a:solidFill>
                  <a:latin typeface="Arial"/>
                  <a:cs typeface="Arial" pitchFamily="34" charset="0"/>
                </a:rPr>
                <a:t>National Waterway 1</a:t>
              </a:r>
            </a:p>
          </p:txBody>
        </p:sp>
      </p:grpSp>
      <p:sp>
        <p:nvSpPr>
          <p:cNvPr id="87" name="Rounded Rectangle 86"/>
          <p:cNvSpPr/>
          <p:nvPr/>
        </p:nvSpPr>
        <p:spPr>
          <a:xfrm>
            <a:off x="5433552" y="1087429"/>
            <a:ext cx="3534156" cy="5384087"/>
          </a:xfrm>
          <a:prstGeom prst="roundRect">
            <a:avLst>
              <a:gd name="adj" fmla="val 3854"/>
            </a:avLst>
          </a:prstGeom>
          <a:noFill/>
          <a:ln w="19050">
            <a:solidFill>
              <a:schemeClr val="bg1"/>
            </a:solidFill>
            <a:headEnd/>
            <a:tailEnd/>
          </a:ln>
        </p:spPr>
        <p:style>
          <a:lnRef idx="1">
            <a:schemeClr val="accent4"/>
          </a:lnRef>
          <a:fillRef idx="3">
            <a:schemeClr val="accent4"/>
          </a:fillRef>
          <a:effectRef idx="2">
            <a:schemeClr val="accent4"/>
          </a:effectRef>
          <a:fontRef idx="minor">
            <a:schemeClr val="lt1"/>
          </a:fontRef>
        </p:style>
        <p:txBody>
          <a:bodyPr vert="horz" wrap="square" lIns="76200" tIns="76200" rIns="76200" bIns="76200" numCol="1" anchor="ctr" anchorCtr="0" compatLnSpc="1">
            <a:prstTxWarp prst="textNoShape">
              <a:avLst/>
            </a:prstTxWarp>
            <a:noAutofit/>
          </a:bodyPr>
          <a:lstStyle/>
          <a:p>
            <a:pPr marL="342900" indent="-342900">
              <a:spcAft>
                <a:spcPts val="1200"/>
              </a:spcAft>
              <a:buClr>
                <a:schemeClr val="tx2"/>
              </a:buClr>
              <a:buFont typeface="Wingdings" panose="05000000000000000000" pitchFamily="2" charset="2"/>
              <a:buChar char="Ø"/>
            </a:pPr>
            <a:r>
              <a:rPr lang="en-IN" sz="2000" dirty="0">
                <a:solidFill>
                  <a:schemeClr val="tx1"/>
                </a:solidFill>
              </a:rPr>
              <a:t>Reduce logistics cost of inland transport, relieve congestion on roads and railways</a:t>
            </a:r>
          </a:p>
          <a:p>
            <a:pPr marL="342900" indent="-342900">
              <a:spcAft>
                <a:spcPts val="1200"/>
              </a:spcAft>
              <a:buClr>
                <a:schemeClr val="tx2"/>
              </a:buClr>
              <a:buFont typeface="Wingdings" panose="05000000000000000000" pitchFamily="2" charset="2"/>
              <a:buChar char="Ø"/>
            </a:pPr>
            <a:r>
              <a:rPr lang="en-IN" sz="2000" dirty="0">
                <a:solidFill>
                  <a:schemeClr val="tx1"/>
                </a:solidFill>
              </a:rPr>
              <a:t>Support manufacturing activities in hinterland states</a:t>
            </a:r>
          </a:p>
          <a:p>
            <a:pPr marL="342900" indent="-342900">
              <a:spcAft>
                <a:spcPts val="1200"/>
              </a:spcAft>
              <a:buClr>
                <a:schemeClr val="tx2"/>
              </a:buClr>
              <a:buFont typeface="Wingdings" panose="05000000000000000000" pitchFamily="2" charset="2"/>
              <a:buChar char="Ø"/>
            </a:pPr>
            <a:r>
              <a:rPr lang="en-IN" sz="2000" dirty="0">
                <a:solidFill>
                  <a:schemeClr val="tx1"/>
                </a:solidFill>
              </a:rPr>
              <a:t>4 waterways currently under development: Ganga, Brahmaputra, Mahanadi, Buckingham Canal</a:t>
            </a:r>
          </a:p>
          <a:p>
            <a:pPr marL="342900" indent="-342900">
              <a:spcAft>
                <a:spcPts val="1200"/>
              </a:spcAft>
              <a:buClr>
                <a:schemeClr val="tx2"/>
              </a:buClr>
              <a:buFont typeface="Wingdings" panose="05000000000000000000" pitchFamily="2" charset="2"/>
              <a:buChar char="Ø"/>
            </a:pPr>
            <a:r>
              <a:rPr lang="en-IN" sz="2000" dirty="0">
                <a:solidFill>
                  <a:schemeClr val="tx1"/>
                </a:solidFill>
              </a:rPr>
              <a:t>NW1 already in use for coal transport from Haldia to Farakka</a:t>
            </a:r>
            <a:endParaRPr lang="en-US" sz="1500" b="1" dirty="0">
              <a:solidFill>
                <a:schemeClr val="tx1"/>
              </a:solidFill>
              <a:latin typeface="+mn-lt"/>
            </a:endParaRPr>
          </a:p>
        </p:txBody>
      </p:sp>
    </p:spTree>
    <p:extLst>
      <p:ext uri="{BB962C8B-B14F-4D97-AF65-F5344CB8AC3E}">
        <p14:creationId xmlns:p14="http://schemas.microsoft.com/office/powerpoint/2010/main" val="315019743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0" y="548680"/>
            <a:ext cx="9144000" cy="523220"/>
          </a:xfrm>
          <a:prstGeom prst="rect">
            <a:avLst/>
          </a:prstGeom>
          <a:solidFill>
            <a:schemeClr val="accent5">
              <a:lumMod val="75000"/>
              <a:alpha val="55000"/>
            </a:schemeClr>
          </a:solidFill>
        </p:spPr>
        <p:txBody>
          <a:bodyPr wrap="square" rtlCol="0">
            <a:spAutoFit/>
          </a:bodyPr>
          <a:lstStyle/>
          <a:p>
            <a:r>
              <a:rPr lang="en-US" sz="2800" b="1" dirty="0">
                <a:solidFill>
                  <a:prstClr val="white"/>
                </a:solidFill>
              </a:rPr>
              <a:t>India’s Ship Building Vision 2030</a:t>
            </a:r>
            <a:endParaRPr lang="en-IN" sz="2800" b="1" dirty="0">
              <a:solidFill>
                <a:prstClr val="white"/>
              </a:solidFill>
            </a:endParaRPr>
          </a:p>
        </p:txBody>
      </p:sp>
      <p:pic>
        <p:nvPicPr>
          <p:cNvPr id="3" name="Picture 2"/>
          <p:cNvPicPr>
            <a:picLocks noChangeAspect="1"/>
          </p:cNvPicPr>
          <p:nvPr/>
        </p:nvPicPr>
        <p:blipFill>
          <a:blip r:embed="rId2"/>
          <a:stretch>
            <a:fillRect/>
          </a:stretch>
        </p:blipFill>
        <p:spPr>
          <a:xfrm>
            <a:off x="228599" y="1081559"/>
            <a:ext cx="8819023" cy="5319241"/>
          </a:xfrm>
          <a:prstGeom prst="rect">
            <a:avLst/>
          </a:prstGeom>
        </p:spPr>
      </p:pic>
    </p:spTree>
    <p:extLst>
      <p:ext uri="{BB962C8B-B14F-4D97-AF65-F5344CB8AC3E}">
        <p14:creationId xmlns:p14="http://schemas.microsoft.com/office/powerpoint/2010/main" val="2331473340"/>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548680"/>
            <a:ext cx="9144000" cy="523220"/>
          </a:xfrm>
          <a:prstGeom prst="rect">
            <a:avLst/>
          </a:prstGeom>
          <a:solidFill>
            <a:schemeClr val="accent5">
              <a:lumMod val="75000"/>
              <a:alpha val="55000"/>
            </a:schemeClr>
          </a:solidFill>
        </p:spPr>
        <p:txBody>
          <a:bodyPr wrap="square" rtlCol="0">
            <a:spAutoFit/>
          </a:bodyPr>
          <a:lstStyle/>
          <a:p>
            <a:r>
              <a:rPr lang="en-US" sz="2800" b="1" dirty="0">
                <a:solidFill>
                  <a:srgbClr val="FFFFFF"/>
                </a:solidFill>
              </a:rPr>
              <a:t>‘Sagarmala’ – Linking Ports and Industrialization</a:t>
            </a:r>
            <a:endParaRPr lang="en-IN" sz="2800" b="1" dirty="0">
              <a:solidFill>
                <a:prstClr val="white"/>
              </a:solidFill>
            </a:endParaRPr>
          </a:p>
        </p:txBody>
      </p:sp>
      <p:sp>
        <p:nvSpPr>
          <p:cNvPr id="14" name="AutoShape 2" descr="Image result for solar power projects in port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15" name="AutoShape 4" descr="Image result for solar power projects in port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8" name="TextBox 7"/>
          <p:cNvSpPr txBox="1"/>
          <p:nvPr/>
        </p:nvSpPr>
        <p:spPr>
          <a:xfrm>
            <a:off x="8784032" y="6597352"/>
            <a:ext cx="359968" cy="276999"/>
          </a:xfrm>
          <a:prstGeom prst="rect">
            <a:avLst/>
          </a:prstGeom>
          <a:noFill/>
        </p:spPr>
        <p:txBody>
          <a:bodyPr wrap="square" rtlCol="0">
            <a:spAutoFit/>
          </a:bodyPr>
          <a:lstStyle/>
          <a:p>
            <a:pPr algn="ctr"/>
            <a:r>
              <a:rPr lang="en-US" sz="1200" dirty="0"/>
              <a:t>10</a:t>
            </a:r>
            <a:endParaRPr lang="en-IN" sz="1200" dirty="0"/>
          </a:p>
        </p:txBody>
      </p:sp>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1772816"/>
            <a:ext cx="9144000" cy="47946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Rectangle 2"/>
          <p:cNvSpPr>
            <a:spLocks noGrp="1" noChangeArrowheads="1"/>
          </p:cNvSpPr>
          <p:nvPr>
            <p:ph type="title"/>
          </p:nvPr>
        </p:nvSpPr>
        <p:spPr>
          <a:xfrm>
            <a:off x="35496" y="1124744"/>
            <a:ext cx="910850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lgn="l"/>
            <a:r>
              <a:rPr lang="en-US" sz="2000" dirty="0"/>
              <a:t>Capacity required to handle cargo to increase from ~1Bn MTPA to 2.5 Bn MTPA by 2025</a:t>
            </a:r>
          </a:p>
        </p:txBody>
      </p:sp>
    </p:spTree>
    <p:extLst>
      <p:ext uri="{BB962C8B-B14F-4D97-AF65-F5344CB8AC3E}">
        <p14:creationId xmlns:p14="http://schemas.microsoft.com/office/powerpoint/2010/main" val="8935966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0" y="548680"/>
            <a:ext cx="9144000" cy="523220"/>
          </a:xfrm>
          <a:prstGeom prst="rect">
            <a:avLst/>
          </a:prstGeom>
          <a:solidFill>
            <a:schemeClr val="accent5">
              <a:lumMod val="75000"/>
              <a:alpha val="55000"/>
            </a:schemeClr>
          </a:solidFill>
        </p:spPr>
        <p:txBody>
          <a:bodyPr wrap="square" rtlCol="0">
            <a:spAutoFit/>
          </a:bodyPr>
          <a:lstStyle/>
          <a:p>
            <a:r>
              <a:rPr lang="en-US" sz="2800" b="1" dirty="0">
                <a:solidFill>
                  <a:srgbClr val="FFFFFF"/>
                </a:solidFill>
              </a:rPr>
              <a:t>‘Sagarmala’ – Linking Ports and Industrialization</a:t>
            </a:r>
            <a:endParaRPr lang="en-IN" sz="2800" b="1" dirty="0">
              <a:solidFill>
                <a:prstClr val="white"/>
              </a:solidFill>
            </a:endParaRPr>
          </a:p>
        </p:txBody>
      </p:sp>
      <p:sp>
        <p:nvSpPr>
          <p:cNvPr id="14" name="AutoShape 2" descr="Image result for solar power projects in port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15" name="AutoShape 4" descr="Image result for solar power projects in port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8" name="TextBox 7"/>
          <p:cNvSpPr txBox="1"/>
          <p:nvPr/>
        </p:nvSpPr>
        <p:spPr>
          <a:xfrm>
            <a:off x="8784032" y="6597352"/>
            <a:ext cx="359968" cy="276999"/>
          </a:xfrm>
          <a:prstGeom prst="rect">
            <a:avLst/>
          </a:prstGeom>
          <a:noFill/>
        </p:spPr>
        <p:txBody>
          <a:bodyPr wrap="square" rtlCol="0">
            <a:spAutoFit/>
          </a:bodyPr>
          <a:lstStyle/>
          <a:p>
            <a:pPr algn="ctr"/>
            <a:r>
              <a:rPr lang="en-US" sz="1200" dirty="0"/>
              <a:t>11</a:t>
            </a:r>
            <a:endParaRPr lang="en-IN" sz="1200"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496" y="1124744"/>
            <a:ext cx="8734425" cy="5667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7555762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ct 52" hidden="1"/>
          <p:cNvGraphicFramePr>
            <a:graphicFrameLocks noChangeAspect="1"/>
          </p:cNvGraphicFramePr>
          <p:nvPr>
            <p:custDataLst>
              <p:tags r:id="rId1"/>
            </p:custDataLst>
            <p:extLst>
              <p:ext uri="{D42A27DB-BD31-4B8C-83A1-F6EECF244321}">
                <p14:modId xmlns:p14="http://schemas.microsoft.com/office/powerpoint/2010/main" val="18159731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
                  <p:embed/>
                </p:oleObj>
              </mc:Choice>
              <mc:Fallback>
                <p:oleObj name="think-cell Slide" r:id="rId4" imgW="360" imgH="360" progId="">
                  <p:embed/>
                  <p:pic>
                    <p:nvPicPr>
                      <p:cNvPr id="0"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TextBox 3"/>
          <p:cNvSpPr txBox="1"/>
          <p:nvPr/>
        </p:nvSpPr>
        <p:spPr>
          <a:xfrm>
            <a:off x="0" y="548680"/>
            <a:ext cx="9144000" cy="523220"/>
          </a:xfrm>
          <a:prstGeom prst="rect">
            <a:avLst/>
          </a:prstGeom>
          <a:solidFill>
            <a:schemeClr val="accent5">
              <a:lumMod val="75000"/>
              <a:alpha val="55000"/>
            </a:schemeClr>
          </a:solidFill>
        </p:spPr>
        <p:txBody>
          <a:bodyPr wrap="square" rtlCol="0">
            <a:spAutoFit/>
          </a:bodyPr>
          <a:lstStyle/>
          <a:p>
            <a:r>
              <a:rPr lang="en-US" sz="2800" b="1" dirty="0">
                <a:solidFill>
                  <a:prstClr val="white"/>
                </a:solidFill>
              </a:rPr>
              <a:t>Investment Opportunities under ‘Sagaramala’</a:t>
            </a:r>
            <a:endParaRPr lang="en-IN" sz="2800" b="1" dirty="0">
              <a:solidFill>
                <a:prstClr val="white"/>
              </a:solidFill>
            </a:endParaRPr>
          </a:p>
        </p:txBody>
      </p:sp>
      <p:sp>
        <p:nvSpPr>
          <p:cNvPr id="13" name="!RnmA-00537"/>
          <p:cNvSpPr>
            <a:spLocks/>
          </p:cNvSpPr>
          <p:nvPr/>
        </p:nvSpPr>
        <p:spPr>
          <a:xfrm>
            <a:off x="865313" y="1818497"/>
            <a:ext cx="4172271" cy="5040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671962"/>
            <a:r>
              <a:rPr lang="en-US" b="1" dirty="0">
                <a:solidFill>
                  <a:schemeClr val="tx1"/>
                </a:solidFill>
              </a:rPr>
              <a:t>New greenfield port</a:t>
            </a:r>
            <a:endParaRPr lang="en-US" sz="900" b="1" dirty="0">
              <a:solidFill>
                <a:schemeClr val="tx1"/>
              </a:solidFill>
            </a:endParaRPr>
          </a:p>
        </p:txBody>
      </p:sp>
      <p:sp>
        <p:nvSpPr>
          <p:cNvPr id="14" name="Rectangle 13"/>
          <p:cNvSpPr>
            <a:spLocks/>
          </p:cNvSpPr>
          <p:nvPr/>
        </p:nvSpPr>
        <p:spPr>
          <a:xfrm>
            <a:off x="865313" y="2394497"/>
            <a:ext cx="4172271" cy="5040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671962"/>
            <a:r>
              <a:rPr lang="en-US" b="1" dirty="0">
                <a:solidFill>
                  <a:schemeClr val="tx1"/>
                </a:solidFill>
              </a:rPr>
              <a:t>New berths in major ports</a:t>
            </a:r>
          </a:p>
        </p:txBody>
      </p:sp>
      <p:sp>
        <p:nvSpPr>
          <p:cNvPr id="17" name="!RnmA-00537"/>
          <p:cNvSpPr>
            <a:spLocks/>
          </p:cNvSpPr>
          <p:nvPr/>
        </p:nvSpPr>
        <p:spPr>
          <a:xfrm>
            <a:off x="5049406" y="1404548"/>
            <a:ext cx="3393975" cy="364780"/>
          </a:xfrm>
          <a:prstGeom prst="rect">
            <a:avLst/>
          </a:prstGeom>
          <a:solidFill>
            <a:schemeClr val="accent5">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r>
              <a:rPr lang="en-US" sz="2000" b="1" dirty="0">
                <a:solidFill>
                  <a:schemeClr val="bg1"/>
                </a:solidFill>
              </a:rPr>
              <a:t>Number of projects</a:t>
            </a:r>
          </a:p>
        </p:txBody>
      </p:sp>
      <p:sp>
        <p:nvSpPr>
          <p:cNvPr id="18" name="Rectangle 17"/>
          <p:cNvSpPr>
            <a:spLocks/>
          </p:cNvSpPr>
          <p:nvPr/>
        </p:nvSpPr>
        <p:spPr>
          <a:xfrm>
            <a:off x="5037584" y="1818016"/>
            <a:ext cx="3402741" cy="1080481"/>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671962"/>
            <a:endParaRPr lang="en-GB" b="1" dirty="0">
              <a:solidFill>
                <a:srgbClr val="1F497D"/>
              </a:solidFill>
              <a:latin typeface="+mn-lt"/>
            </a:endParaRPr>
          </a:p>
        </p:txBody>
      </p:sp>
      <p:sp>
        <p:nvSpPr>
          <p:cNvPr id="19" name="TextBox 18"/>
          <p:cNvSpPr txBox="1">
            <a:spLocks/>
          </p:cNvSpPr>
          <p:nvPr/>
        </p:nvSpPr>
        <p:spPr>
          <a:xfrm>
            <a:off x="5125806" y="1876688"/>
            <a:ext cx="3341023"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sz="1400"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ts val="300"/>
              </a:spcBef>
              <a:buFont typeface="Wingdings" panose="05000000000000000000" pitchFamily="2" charset="2"/>
              <a:buChar char="Ø"/>
            </a:pPr>
            <a:r>
              <a:rPr lang="en-US" sz="1800" b="1" dirty="0"/>
              <a:t>6 ports</a:t>
            </a:r>
          </a:p>
        </p:txBody>
      </p:sp>
      <p:sp>
        <p:nvSpPr>
          <p:cNvPr id="21" name="Rectangle 20"/>
          <p:cNvSpPr>
            <a:spLocks/>
          </p:cNvSpPr>
          <p:nvPr/>
        </p:nvSpPr>
        <p:spPr>
          <a:xfrm>
            <a:off x="5037584" y="4686840"/>
            <a:ext cx="3402741" cy="707886"/>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671962"/>
            <a:endParaRPr lang="en-GB" b="1" dirty="0">
              <a:solidFill>
                <a:srgbClr val="1F497D"/>
              </a:solidFill>
              <a:latin typeface="+mn-lt"/>
            </a:endParaRPr>
          </a:p>
        </p:txBody>
      </p:sp>
      <p:sp>
        <p:nvSpPr>
          <p:cNvPr id="22" name="TextBox 21"/>
          <p:cNvSpPr txBox="1">
            <a:spLocks/>
          </p:cNvSpPr>
          <p:nvPr/>
        </p:nvSpPr>
        <p:spPr>
          <a:xfrm>
            <a:off x="5125806" y="4780746"/>
            <a:ext cx="3341024" cy="59247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sz="1400"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ts val="300"/>
              </a:spcBef>
              <a:buFont typeface="Wingdings" panose="05000000000000000000" pitchFamily="2" charset="2"/>
              <a:buChar char="Ø"/>
            </a:pPr>
            <a:r>
              <a:rPr lang="en-US" sz="1800" b="1" dirty="0"/>
              <a:t>14 energy and material clusters</a:t>
            </a:r>
          </a:p>
          <a:p>
            <a:pPr lvl="1">
              <a:spcBef>
                <a:spcPts val="300"/>
              </a:spcBef>
              <a:buFont typeface="Wingdings" panose="05000000000000000000" pitchFamily="2" charset="2"/>
              <a:buChar char="Ø"/>
            </a:pPr>
            <a:r>
              <a:rPr lang="en-US" sz="1800" b="1" dirty="0"/>
              <a:t>13 discrete clusters</a:t>
            </a:r>
          </a:p>
        </p:txBody>
      </p:sp>
      <p:sp>
        <p:nvSpPr>
          <p:cNvPr id="23" name="Rectangle 22"/>
          <p:cNvSpPr>
            <a:spLocks/>
          </p:cNvSpPr>
          <p:nvPr/>
        </p:nvSpPr>
        <p:spPr>
          <a:xfrm>
            <a:off x="865313" y="5447031"/>
            <a:ext cx="4172271" cy="696207"/>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671962"/>
            <a:r>
              <a:rPr lang="en-US" b="1" dirty="0">
                <a:solidFill>
                  <a:schemeClr val="tx1"/>
                </a:solidFill>
              </a:rPr>
              <a:t>Maritime tourism</a:t>
            </a:r>
          </a:p>
        </p:txBody>
      </p:sp>
      <p:sp>
        <p:nvSpPr>
          <p:cNvPr id="24" name="Rectangle 23"/>
          <p:cNvSpPr>
            <a:spLocks/>
          </p:cNvSpPr>
          <p:nvPr/>
        </p:nvSpPr>
        <p:spPr>
          <a:xfrm>
            <a:off x="865313" y="4686839"/>
            <a:ext cx="4172271" cy="6840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671962"/>
            <a:r>
              <a:rPr lang="en-US" b="1" dirty="0">
                <a:solidFill>
                  <a:schemeClr val="tx1"/>
                </a:solidFill>
              </a:rPr>
              <a:t>Port linked clusters</a:t>
            </a:r>
          </a:p>
        </p:txBody>
      </p:sp>
      <p:cxnSp>
        <p:nvCxnSpPr>
          <p:cNvPr id="33" name="Straight Connector 32"/>
          <p:cNvCxnSpPr>
            <a:cxnSpLocks/>
          </p:cNvCxnSpPr>
          <p:nvPr/>
        </p:nvCxnSpPr>
        <p:spPr>
          <a:xfrm>
            <a:off x="861120" y="4644908"/>
            <a:ext cx="6444000" cy="0"/>
          </a:xfrm>
          <a:prstGeom prst="line">
            <a:avLst/>
          </a:prstGeom>
          <a:ln w="9525" cmpd="sng">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34" name="Rectangle 33"/>
          <p:cNvSpPr>
            <a:spLocks/>
          </p:cNvSpPr>
          <p:nvPr/>
        </p:nvSpPr>
        <p:spPr>
          <a:xfrm>
            <a:off x="865313" y="3551705"/>
            <a:ext cx="4172271" cy="5040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671962"/>
            <a:r>
              <a:rPr lang="en-US" b="1" dirty="0">
                <a:solidFill>
                  <a:schemeClr val="tx1"/>
                </a:solidFill>
              </a:rPr>
              <a:t>Multimodal logistic hubs</a:t>
            </a:r>
          </a:p>
        </p:txBody>
      </p:sp>
      <p:sp>
        <p:nvSpPr>
          <p:cNvPr id="35" name="Rectangle 34"/>
          <p:cNvSpPr>
            <a:spLocks/>
          </p:cNvSpPr>
          <p:nvPr/>
        </p:nvSpPr>
        <p:spPr>
          <a:xfrm>
            <a:off x="865313" y="2988724"/>
            <a:ext cx="4172271" cy="5040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671962"/>
            <a:r>
              <a:rPr lang="en-US" b="1" dirty="0">
                <a:solidFill>
                  <a:schemeClr val="tx1"/>
                </a:solidFill>
              </a:rPr>
              <a:t>Roads, railways, pipelines</a:t>
            </a:r>
          </a:p>
        </p:txBody>
      </p:sp>
      <p:sp>
        <p:nvSpPr>
          <p:cNvPr id="37" name="Rectangle 36"/>
          <p:cNvSpPr>
            <a:spLocks/>
          </p:cNvSpPr>
          <p:nvPr/>
        </p:nvSpPr>
        <p:spPr>
          <a:xfrm>
            <a:off x="5037584" y="2988725"/>
            <a:ext cx="3402741" cy="1607496"/>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671962"/>
            <a:endParaRPr lang="en-GB" b="1" dirty="0">
              <a:solidFill>
                <a:srgbClr val="1F497D"/>
              </a:solidFill>
              <a:latin typeface="+mn-lt"/>
            </a:endParaRPr>
          </a:p>
        </p:txBody>
      </p:sp>
      <p:sp>
        <p:nvSpPr>
          <p:cNvPr id="38" name="TextBox 37"/>
          <p:cNvSpPr txBox="1">
            <a:spLocks/>
          </p:cNvSpPr>
          <p:nvPr/>
        </p:nvSpPr>
        <p:spPr>
          <a:xfrm>
            <a:off x="5172782" y="2996952"/>
            <a:ext cx="3308108"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sz="1400"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ts val="300"/>
              </a:spcBef>
              <a:buFont typeface="Wingdings" panose="05000000000000000000" pitchFamily="2" charset="2"/>
              <a:buChar char="Ø"/>
            </a:pPr>
            <a:r>
              <a:rPr lang="en-US" sz="1800" b="1" dirty="0"/>
              <a:t>70+ roads, rail and pipeline projects</a:t>
            </a:r>
          </a:p>
        </p:txBody>
      </p:sp>
      <p:sp>
        <p:nvSpPr>
          <p:cNvPr id="39" name="Rectangle 38"/>
          <p:cNvSpPr>
            <a:spLocks/>
          </p:cNvSpPr>
          <p:nvPr/>
        </p:nvSpPr>
        <p:spPr>
          <a:xfrm>
            <a:off x="865313" y="4114687"/>
            <a:ext cx="4172271" cy="504000"/>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671962"/>
            <a:r>
              <a:rPr lang="en-US" b="1" dirty="0">
                <a:solidFill>
                  <a:schemeClr val="tx1"/>
                </a:solidFill>
              </a:rPr>
              <a:t>Inland waterways</a:t>
            </a:r>
          </a:p>
        </p:txBody>
      </p:sp>
      <p:cxnSp>
        <p:nvCxnSpPr>
          <p:cNvPr id="49" name="Straight Connector 48"/>
          <p:cNvCxnSpPr>
            <a:cxnSpLocks/>
          </p:cNvCxnSpPr>
          <p:nvPr/>
        </p:nvCxnSpPr>
        <p:spPr>
          <a:xfrm>
            <a:off x="861120" y="2945318"/>
            <a:ext cx="6444000" cy="0"/>
          </a:xfrm>
          <a:prstGeom prst="line">
            <a:avLst/>
          </a:prstGeom>
          <a:ln w="9525" cmpd="sng">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cxnSpLocks/>
          </p:cNvCxnSpPr>
          <p:nvPr/>
        </p:nvCxnSpPr>
        <p:spPr>
          <a:xfrm>
            <a:off x="892330" y="5410536"/>
            <a:ext cx="6444000" cy="0"/>
          </a:xfrm>
          <a:prstGeom prst="line">
            <a:avLst/>
          </a:prstGeom>
          <a:ln w="9525" cmpd="sng">
            <a:solidFill>
              <a:schemeClr val="bg1">
                <a:lumMod val="65000"/>
              </a:schemeClr>
            </a:solidFill>
            <a:prstDash val="solid"/>
          </a:ln>
        </p:spPr>
        <p:style>
          <a:lnRef idx="1">
            <a:schemeClr val="accent1"/>
          </a:lnRef>
          <a:fillRef idx="0">
            <a:schemeClr val="accent1"/>
          </a:fillRef>
          <a:effectRef idx="0">
            <a:schemeClr val="accent1"/>
          </a:effectRef>
          <a:fontRef idx="minor">
            <a:schemeClr val="tx1"/>
          </a:fontRef>
        </p:style>
      </p:cxnSp>
      <p:sp>
        <p:nvSpPr>
          <p:cNvPr id="51" name="Rectangle 50"/>
          <p:cNvSpPr>
            <a:spLocks/>
          </p:cNvSpPr>
          <p:nvPr/>
        </p:nvSpPr>
        <p:spPr>
          <a:xfrm>
            <a:off x="5049406" y="5459225"/>
            <a:ext cx="3402741" cy="684013"/>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671962"/>
            <a:endParaRPr lang="en-GB" b="1" dirty="0">
              <a:solidFill>
                <a:srgbClr val="1F497D"/>
              </a:solidFill>
              <a:latin typeface="+mn-lt"/>
            </a:endParaRPr>
          </a:p>
        </p:txBody>
      </p:sp>
      <p:sp>
        <p:nvSpPr>
          <p:cNvPr id="52" name="TextBox 51"/>
          <p:cNvSpPr txBox="1">
            <a:spLocks/>
          </p:cNvSpPr>
          <p:nvPr/>
        </p:nvSpPr>
        <p:spPr>
          <a:xfrm>
            <a:off x="5137628" y="5539298"/>
            <a:ext cx="3341024" cy="553998"/>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sz="1400"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ts val="300"/>
              </a:spcBef>
              <a:buFont typeface="Wingdings" panose="05000000000000000000" pitchFamily="2" charset="2"/>
              <a:buChar char="Ø"/>
            </a:pPr>
            <a:r>
              <a:rPr lang="en-US" sz="1800" b="1" dirty="0"/>
              <a:t>17 potential domestic circuits identified</a:t>
            </a:r>
          </a:p>
        </p:txBody>
      </p:sp>
      <p:sp>
        <p:nvSpPr>
          <p:cNvPr id="54" name="TextBox 53"/>
          <p:cNvSpPr txBox="1">
            <a:spLocks/>
          </p:cNvSpPr>
          <p:nvPr/>
        </p:nvSpPr>
        <p:spPr>
          <a:xfrm>
            <a:off x="5137628" y="2503929"/>
            <a:ext cx="3341023"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sz="1400"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ts val="300"/>
              </a:spcBef>
              <a:buFont typeface="Wingdings" panose="05000000000000000000" pitchFamily="2" charset="2"/>
              <a:buChar char="Ø"/>
            </a:pPr>
            <a:r>
              <a:rPr lang="en-US" sz="1800" b="1" dirty="0"/>
              <a:t>52 projects</a:t>
            </a:r>
          </a:p>
        </p:txBody>
      </p:sp>
      <p:sp>
        <p:nvSpPr>
          <p:cNvPr id="55" name="TextBox 54"/>
          <p:cNvSpPr txBox="1">
            <a:spLocks/>
          </p:cNvSpPr>
          <p:nvPr/>
        </p:nvSpPr>
        <p:spPr>
          <a:xfrm>
            <a:off x="5185860" y="3659825"/>
            <a:ext cx="3308108"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sz="1400"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ts val="300"/>
              </a:spcBef>
              <a:buFont typeface="Wingdings" panose="05000000000000000000" pitchFamily="2" charset="2"/>
              <a:buChar char="Ø"/>
            </a:pPr>
            <a:r>
              <a:rPr lang="en-US" sz="1800" b="1" dirty="0"/>
              <a:t>7 dry ports</a:t>
            </a:r>
          </a:p>
        </p:txBody>
      </p:sp>
      <p:sp>
        <p:nvSpPr>
          <p:cNvPr id="56" name="TextBox 55"/>
          <p:cNvSpPr txBox="1">
            <a:spLocks/>
          </p:cNvSpPr>
          <p:nvPr/>
        </p:nvSpPr>
        <p:spPr>
          <a:xfrm>
            <a:off x="5190699" y="4232121"/>
            <a:ext cx="3519293" cy="27699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defPPr>
              <a:defRPr lang="en-US"/>
            </a:defPPr>
            <a:lvl1pPr marL="0" lvl="0" indent="0" defTabSz="895350" eaLnBrk="1" hangingPunct="1">
              <a:buClr>
                <a:schemeClr val="tx2"/>
              </a:buClr>
              <a:defRPr baseline="0">
                <a:latin typeface="+mn-lt"/>
              </a:defRPr>
            </a:lvl1pPr>
            <a:lvl2pPr marL="193675" lvl="1" indent="-192088" defTabSz="895350" eaLnBrk="1" hangingPunct="1">
              <a:buClr>
                <a:schemeClr val="tx2"/>
              </a:buClr>
              <a:buSzPct val="125000"/>
              <a:buFont typeface="Arial" charset="0"/>
              <a:buChar char="▪"/>
              <a:defRPr sz="1400" baseline="0">
                <a:latin typeface="+mn-lt"/>
              </a:defRPr>
            </a:lvl2pPr>
            <a:lvl3pPr marL="457200" lvl="2" indent="-261938" defTabSz="895350" eaLnBrk="1" hangingPunct="1">
              <a:buClr>
                <a:schemeClr val="tx2"/>
              </a:buClr>
              <a:buSzPct val="120000"/>
              <a:buFont typeface="Arial" charset="0"/>
              <a:buChar char="–"/>
              <a:defRPr baseline="0">
                <a:latin typeface="+mn-lt"/>
              </a:defRPr>
            </a:lvl3pPr>
            <a:lvl4pPr marL="614363" lvl="3" indent="-155575" defTabSz="895350" eaLnBrk="1" hangingPunct="1">
              <a:buClr>
                <a:schemeClr val="tx2"/>
              </a:buClr>
              <a:buSzPct val="120000"/>
              <a:buFont typeface="Arial" charset="0"/>
              <a:buChar char="▫"/>
              <a:defRPr baseline="0">
                <a:latin typeface="+mn-lt"/>
              </a:defRPr>
            </a:lvl4pPr>
            <a:lvl5pPr marL="749808" lvl="4"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lvl="1">
              <a:spcBef>
                <a:spcPts val="300"/>
              </a:spcBef>
              <a:buFont typeface="Wingdings" panose="05000000000000000000" pitchFamily="2" charset="2"/>
              <a:buChar char="Ø"/>
            </a:pPr>
            <a:r>
              <a:rPr lang="en-US" sz="1800" b="1" dirty="0"/>
              <a:t>4 priority inland waterways</a:t>
            </a:r>
          </a:p>
        </p:txBody>
      </p:sp>
      <p:sp>
        <p:nvSpPr>
          <p:cNvPr id="62" name="!RnmA-00537"/>
          <p:cNvSpPr>
            <a:spLocks/>
          </p:cNvSpPr>
          <p:nvPr/>
        </p:nvSpPr>
        <p:spPr>
          <a:xfrm>
            <a:off x="865313" y="1395802"/>
            <a:ext cx="4172268" cy="364780"/>
          </a:xfrm>
          <a:prstGeom prst="rect">
            <a:avLst/>
          </a:prstGeom>
          <a:solidFill>
            <a:schemeClr val="accent5">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73152" tIns="73152" rIns="73152" bIns="73152" rtlCol="0" anchor="ctr">
            <a:noAutofit/>
          </a:bodyPr>
          <a:lstStyle/>
          <a:p>
            <a:r>
              <a:rPr lang="en-US" sz="2000" b="1" dirty="0">
                <a:solidFill>
                  <a:schemeClr val="bg1"/>
                </a:solidFill>
              </a:rPr>
              <a:t>Type of projects</a:t>
            </a:r>
          </a:p>
        </p:txBody>
      </p:sp>
    </p:spTree>
    <p:extLst>
      <p:ext uri="{BB962C8B-B14F-4D97-AF65-F5344CB8AC3E}">
        <p14:creationId xmlns:p14="http://schemas.microsoft.com/office/powerpoint/2010/main" val="379826229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3761656"/>
            <a:ext cx="9144000" cy="3096344"/>
          </a:xfrm>
          <a:prstGeom prst="rect">
            <a:avLst/>
          </a:prstGeom>
          <a:solidFill>
            <a:schemeClr val="tx2">
              <a:lumMod val="5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solidFill>
                <a:prstClr val="white"/>
              </a:solidFill>
            </a:endParaRPr>
          </a:p>
        </p:txBody>
      </p:sp>
      <p:sp>
        <p:nvSpPr>
          <p:cNvPr id="6" name="TextBox 5"/>
          <p:cNvSpPr txBox="1"/>
          <p:nvPr/>
        </p:nvSpPr>
        <p:spPr>
          <a:xfrm>
            <a:off x="6156176" y="764704"/>
            <a:ext cx="2232248" cy="2554545"/>
          </a:xfrm>
          <a:prstGeom prst="rect">
            <a:avLst/>
          </a:prstGeom>
          <a:noFill/>
        </p:spPr>
        <p:txBody>
          <a:bodyPr wrap="square" rtlCol="0">
            <a:spAutoFit/>
          </a:bodyPr>
          <a:lstStyle/>
          <a:p>
            <a:pPr algn="ctr"/>
            <a:r>
              <a:rPr lang="en-US" sz="3200" b="1" dirty="0">
                <a:solidFill>
                  <a:prstClr val="white"/>
                </a:solidFill>
              </a:rPr>
              <a:t>MARITIME INDIA SUMMIT 2016 </a:t>
            </a:r>
            <a:endParaRPr lang="en-IN" sz="3200" b="1" dirty="0">
              <a:solidFill>
                <a:prstClr val="white"/>
              </a:solidFill>
            </a:endParaRPr>
          </a:p>
          <a:p>
            <a:pPr algn="ctr"/>
            <a:endParaRPr lang="en-IN" sz="3200" b="1" dirty="0">
              <a:solidFill>
                <a:prstClr val="white"/>
              </a:solidFill>
            </a:endParaRPr>
          </a:p>
        </p:txBody>
      </p:sp>
      <p:pic>
        <p:nvPicPr>
          <p:cNvPr id="9218" name="Picture 2" descr="C:\ANUSHIRY DWIVEDI_BAS\Ministry of Shipping\Road Show\Pic\IMG_2766.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27384"/>
            <a:ext cx="9144000" cy="468052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251520" y="5445224"/>
            <a:ext cx="7560840" cy="646331"/>
          </a:xfrm>
          <a:prstGeom prst="rect">
            <a:avLst/>
          </a:prstGeom>
          <a:noFill/>
        </p:spPr>
        <p:txBody>
          <a:bodyPr wrap="square" rtlCol="0">
            <a:spAutoFit/>
          </a:bodyPr>
          <a:lstStyle/>
          <a:p>
            <a:r>
              <a:rPr lang="en-US" sz="3600" dirty="0">
                <a:solidFill>
                  <a:prstClr val="white"/>
                </a:solidFill>
              </a:rPr>
              <a:t>Thank You</a:t>
            </a:r>
            <a:endParaRPr lang="en-IN" sz="3600" dirty="0">
              <a:solidFill>
                <a:prstClr val="white"/>
              </a:solidFill>
            </a:endParaRPr>
          </a:p>
        </p:txBody>
      </p:sp>
    </p:spTree>
    <p:extLst>
      <p:ext uri="{BB962C8B-B14F-4D97-AF65-F5344CB8AC3E}">
        <p14:creationId xmlns:p14="http://schemas.microsoft.com/office/powerpoint/2010/main" val="27367711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0" y="524087"/>
            <a:ext cx="9144000" cy="523220"/>
          </a:xfrm>
          <a:prstGeom prst="rect">
            <a:avLst/>
          </a:prstGeom>
          <a:solidFill>
            <a:schemeClr val="accent5">
              <a:lumMod val="75000"/>
              <a:alpha val="55000"/>
            </a:schemeClr>
          </a:solidFill>
        </p:spPr>
        <p:txBody>
          <a:bodyPr wrap="square" rtlCol="0">
            <a:spAutoFit/>
          </a:bodyPr>
          <a:lstStyle/>
          <a:p>
            <a:r>
              <a:rPr lang="en-US" sz="2800" b="1" dirty="0">
                <a:solidFill>
                  <a:srgbClr val="FFFFFF"/>
                </a:solidFill>
              </a:rPr>
              <a:t>Shipping: Main features</a:t>
            </a:r>
            <a:endParaRPr lang="en-IN" sz="2800" b="1" dirty="0">
              <a:solidFill>
                <a:srgbClr val="FFFFFF"/>
              </a:solidFill>
            </a:endParaRPr>
          </a:p>
        </p:txBody>
      </p:sp>
      <p:sp>
        <p:nvSpPr>
          <p:cNvPr id="14" name="AutoShape 2" descr="Image result for solar power projects in port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15" name="AutoShape 4" descr="Image result for solar power projects in port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8" name="TextBox 7"/>
          <p:cNvSpPr txBox="1"/>
          <p:nvPr/>
        </p:nvSpPr>
        <p:spPr>
          <a:xfrm>
            <a:off x="8784032" y="6597352"/>
            <a:ext cx="359968" cy="276999"/>
          </a:xfrm>
          <a:prstGeom prst="rect">
            <a:avLst/>
          </a:prstGeom>
          <a:noFill/>
        </p:spPr>
        <p:txBody>
          <a:bodyPr wrap="square" rtlCol="0">
            <a:spAutoFit/>
          </a:bodyPr>
          <a:lstStyle/>
          <a:p>
            <a:pPr algn="ctr"/>
            <a:r>
              <a:rPr lang="en-US" sz="1200" dirty="0"/>
              <a:t>12</a:t>
            </a:r>
            <a:endParaRPr lang="en-IN" sz="1200" dirty="0"/>
          </a:p>
        </p:txBody>
      </p:sp>
      <p:sp>
        <p:nvSpPr>
          <p:cNvPr id="2" name="Rectangle 1"/>
          <p:cNvSpPr/>
          <p:nvPr/>
        </p:nvSpPr>
        <p:spPr>
          <a:xfrm>
            <a:off x="152400" y="1104960"/>
            <a:ext cx="8715945" cy="5424562"/>
          </a:xfrm>
          <a:prstGeom prst="rect">
            <a:avLst/>
          </a:prstGeom>
        </p:spPr>
        <p:txBody>
          <a:bodyPr wrap="square">
            <a:spAutoFit/>
          </a:bodyPr>
          <a:lstStyle/>
          <a:p>
            <a:pPr marL="285750" indent="-285750">
              <a:lnSpc>
                <a:spcPct val="150000"/>
              </a:lnSpc>
              <a:buFont typeface="Wingdings" panose="05000000000000000000" pitchFamily="2" charset="2"/>
              <a:buChar char="v"/>
            </a:pPr>
            <a:r>
              <a:rPr lang="en-US" sz="2100" dirty="0"/>
              <a:t>Benefits of trade thru shipping transport– </a:t>
            </a:r>
          </a:p>
          <a:p>
            <a:pPr marL="742950" lvl="1" indent="-285750">
              <a:lnSpc>
                <a:spcPct val="150000"/>
              </a:lnSpc>
              <a:buFont typeface="Wingdings" panose="05000000000000000000" pitchFamily="2" charset="2"/>
              <a:buChar char="§"/>
            </a:pPr>
            <a:r>
              <a:rPr lang="en-US" sz="2100" dirty="0"/>
              <a:t>Economical for Long distance (ex, over 400km) and large volumes </a:t>
            </a:r>
          </a:p>
          <a:p>
            <a:pPr marL="742950" lvl="1" indent="-285750">
              <a:lnSpc>
                <a:spcPct val="150000"/>
              </a:lnSpc>
              <a:buFont typeface="Wingdings" panose="05000000000000000000" pitchFamily="2" charset="2"/>
              <a:buChar char="§"/>
            </a:pPr>
            <a:r>
              <a:rPr lang="en-US" sz="2100" dirty="0"/>
              <a:t>Most Environmentally friendly transport mode </a:t>
            </a:r>
          </a:p>
          <a:p>
            <a:pPr marL="742950" lvl="1" indent="-285750">
              <a:lnSpc>
                <a:spcPct val="150000"/>
              </a:lnSpc>
              <a:buFont typeface="Wingdings" panose="05000000000000000000" pitchFamily="2" charset="2"/>
              <a:buChar char="§"/>
            </a:pPr>
            <a:r>
              <a:rPr lang="en-US" sz="2100" dirty="0"/>
              <a:t>✓ CO2 emissions of shipping is 1/6 compared to that of road transport</a:t>
            </a:r>
          </a:p>
          <a:p>
            <a:pPr marL="742950" lvl="1" indent="-285750">
              <a:lnSpc>
                <a:spcPct val="150000"/>
              </a:lnSpc>
              <a:buFont typeface="Wingdings" panose="05000000000000000000" pitchFamily="2" charset="2"/>
              <a:buChar char="§"/>
            </a:pPr>
            <a:r>
              <a:rPr lang="en-US" sz="2100" dirty="0"/>
              <a:t>Connect mainland and islands </a:t>
            </a:r>
          </a:p>
          <a:p>
            <a:pPr marL="285750" indent="-285750">
              <a:lnSpc>
                <a:spcPct val="150000"/>
              </a:lnSpc>
              <a:buFont typeface="Wingdings" panose="05000000000000000000" pitchFamily="2" charset="2"/>
              <a:buChar char="v"/>
            </a:pPr>
            <a:r>
              <a:rPr lang="en-US" sz="2100" dirty="0"/>
              <a:t>Shipping has big potential, but it is less utilized in India</a:t>
            </a:r>
          </a:p>
          <a:p>
            <a:pPr marL="742950" lvl="1" indent="-285750">
              <a:lnSpc>
                <a:spcPct val="150000"/>
              </a:lnSpc>
              <a:buFont typeface="Wingdings" panose="05000000000000000000" pitchFamily="2" charset="2"/>
              <a:buChar char="§"/>
            </a:pPr>
            <a:r>
              <a:rPr lang="en-US" sz="2100" dirty="0"/>
              <a:t>Insufficient port infrastructure &amp; hinterland connectivity</a:t>
            </a:r>
          </a:p>
          <a:p>
            <a:pPr marL="742950" lvl="1" indent="-285750">
              <a:lnSpc>
                <a:spcPct val="150000"/>
              </a:lnSpc>
              <a:buFont typeface="Wingdings" panose="05000000000000000000" pitchFamily="2" charset="2"/>
              <a:buChar char="§"/>
            </a:pPr>
            <a:r>
              <a:rPr lang="en-US" sz="2100" dirty="0"/>
              <a:t>Business practices based on road-oriented transport systems - Lack of policies and incentives to promote coastal shipping &amp; IWT</a:t>
            </a:r>
          </a:p>
          <a:p>
            <a:pPr marL="742950" lvl="1" indent="-285750">
              <a:lnSpc>
                <a:spcPct val="150000"/>
              </a:lnSpc>
              <a:buFont typeface="Wingdings" panose="05000000000000000000" pitchFamily="2" charset="2"/>
              <a:buChar char="§"/>
            </a:pPr>
            <a:r>
              <a:rPr lang="en-US" sz="2100" dirty="0"/>
              <a:t>Strict environmental regulations including GHGs Emission</a:t>
            </a:r>
          </a:p>
          <a:p>
            <a:pPr marL="742950" lvl="1" indent="-285750">
              <a:lnSpc>
                <a:spcPct val="150000"/>
              </a:lnSpc>
              <a:buFont typeface="Wingdings" panose="05000000000000000000" pitchFamily="2" charset="2"/>
              <a:buChar char="§"/>
            </a:pPr>
            <a:r>
              <a:rPr lang="en-US" sz="2100" dirty="0"/>
              <a:t>Highly volatile operating/management cost</a:t>
            </a:r>
            <a:endParaRPr lang="en-US" sz="2100" dirty="0">
              <a:latin typeface="Arial Black" panose="020B0A04020102020204" pitchFamily="34" charset="0"/>
              <a:cs typeface="Arial" panose="020B0604020202020204" pitchFamily="34" charset="0"/>
            </a:endParaRPr>
          </a:p>
        </p:txBody>
      </p:sp>
    </p:spTree>
    <p:extLst>
      <p:ext uri="{BB962C8B-B14F-4D97-AF65-F5344CB8AC3E}">
        <p14:creationId xmlns:p14="http://schemas.microsoft.com/office/powerpoint/2010/main" val="13408962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0" y="524087"/>
            <a:ext cx="9144000" cy="523220"/>
          </a:xfrm>
          <a:prstGeom prst="rect">
            <a:avLst/>
          </a:prstGeom>
          <a:solidFill>
            <a:schemeClr val="accent5">
              <a:lumMod val="75000"/>
              <a:alpha val="55000"/>
            </a:schemeClr>
          </a:solidFill>
        </p:spPr>
        <p:txBody>
          <a:bodyPr wrap="square" rtlCol="0">
            <a:spAutoFit/>
          </a:bodyPr>
          <a:lstStyle/>
          <a:p>
            <a:r>
              <a:rPr lang="en-US" sz="2800" b="1" dirty="0">
                <a:solidFill>
                  <a:srgbClr val="FFFFFF"/>
                </a:solidFill>
              </a:rPr>
              <a:t>Theme of National Maritime Day</a:t>
            </a:r>
            <a:endParaRPr lang="en-IN" sz="2800" b="1" dirty="0">
              <a:solidFill>
                <a:srgbClr val="FFFFFF"/>
              </a:solidFill>
            </a:endParaRPr>
          </a:p>
        </p:txBody>
      </p:sp>
      <p:sp>
        <p:nvSpPr>
          <p:cNvPr id="14" name="AutoShape 2" descr="Image result for solar power projects in port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15" name="AutoShape 4" descr="Image result for solar power projects in port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8" name="TextBox 7"/>
          <p:cNvSpPr txBox="1"/>
          <p:nvPr/>
        </p:nvSpPr>
        <p:spPr>
          <a:xfrm>
            <a:off x="8784032" y="6597352"/>
            <a:ext cx="359968" cy="276999"/>
          </a:xfrm>
          <a:prstGeom prst="rect">
            <a:avLst/>
          </a:prstGeom>
          <a:noFill/>
        </p:spPr>
        <p:txBody>
          <a:bodyPr wrap="square" rtlCol="0">
            <a:spAutoFit/>
          </a:bodyPr>
          <a:lstStyle/>
          <a:p>
            <a:pPr algn="ctr"/>
            <a:r>
              <a:rPr lang="en-US" sz="1200" dirty="0"/>
              <a:t>12</a:t>
            </a:r>
            <a:endParaRPr lang="en-IN" sz="1200" dirty="0"/>
          </a:p>
        </p:txBody>
      </p:sp>
      <p:sp>
        <p:nvSpPr>
          <p:cNvPr id="2" name="Rectangle 1"/>
          <p:cNvSpPr/>
          <p:nvPr/>
        </p:nvSpPr>
        <p:spPr>
          <a:xfrm>
            <a:off x="38100" y="2209800"/>
            <a:ext cx="8715945" cy="2231765"/>
          </a:xfrm>
          <a:prstGeom prst="rect">
            <a:avLst/>
          </a:prstGeom>
        </p:spPr>
        <p:txBody>
          <a:bodyPr wrap="square">
            <a:spAutoFit/>
          </a:bodyPr>
          <a:lstStyle/>
          <a:p>
            <a:pPr marL="285750" indent="-285750" algn="ctr">
              <a:lnSpc>
                <a:spcPct val="150000"/>
              </a:lnSpc>
              <a:buFont typeface="Wingdings" panose="05000000000000000000" pitchFamily="2" charset="2"/>
              <a:buChar char="Ø"/>
            </a:pPr>
            <a:r>
              <a:rPr lang="en-US" sz="3200" dirty="0">
                <a:latin typeface="Arial Black" panose="020B0A04020102020204" pitchFamily="34" charset="0"/>
                <a:cs typeface="Arial" panose="020B0604020202020204" pitchFamily="34" charset="0"/>
              </a:rPr>
              <a:t>Sustainable Shipping - Challenges</a:t>
            </a:r>
          </a:p>
          <a:p>
            <a:pPr algn="ctr">
              <a:lnSpc>
                <a:spcPct val="150000"/>
              </a:lnSpc>
            </a:pPr>
            <a:endParaRPr lang="en-US" sz="3200" dirty="0">
              <a:latin typeface="Arial Black" panose="020B0A04020102020204" pitchFamily="34" charset="0"/>
              <a:cs typeface="Arial" panose="020B0604020202020204" pitchFamily="34" charset="0"/>
            </a:endParaRPr>
          </a:p>
          <a:p>
            <a:pPr marL="285750" indent="-285750" algn="ctr">
              <a:lnSpc>
                <a:spcPct val="150000"/>
              </a:lnSpc>
              <a:buFont typeface="Wingdings" panose="05000000000000000000" pitchFamily="2" charset="2"/>
              <a:buChar char="Ø"/>
            </a:pPr>
            <a:r>
              <a:rPr lang="en-US" sz="3200" dirty="0">
                <a:latin typeface="Arial Black" panose="020B0A04020102020204" pitchFamily="34" charset="0"/>
                <a:cs typeface="Arial" panose="020B0604020202020204" pitchFamily="34" charset="0"/>
              </a:rPr>
              <a:t>Sustainable Shipping - Opportunities</a:t>
            </a:r>
          </a:p>
        </p:txBody>
      </p:sp>
    </p:spTree>
    <p:extLst>
      <p:ext uri="{BB962C8B-B14F-4D97-AF65-F5344CB8AC3E}">
        <p14:creationId xmlns:p14="http://schemas.microsoft.com/office/powerpoint/2010/main" val="28809042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0" y="524087"/>
            <a:ext cx="9144000" cy="523220"/>
          </a:xfrm>
          <a:prstGeom prst="rect">
            <a:avLst/>
          </a:prstGeom>
          <a:solidFill>
            <a:schemeClr val="accent5">
              <a:lumMod val="75000"/>
              <a:alpha val="55000"/>
            </a:schemeClr>
          </a:solidFill>
        </p:spPr>
        <p:txBody>
          <a:bodyPr wrap="square" rtlCol="0">
            <a:spAutoFit/>
          </a:bodyPr>
          <a:lstStyle/>
          <a:p>
            <a:r>
              <a:rPr lang="en-US" sz="2800" b="1" dirty="0">
                <a:solidFill>
                  <a:srgbClr val="FFFFFF"/>
                </a:solidFill>
              </a:rPr>
              <a:t>Sustainable Shipping - Challenges</a:t>
            </a:r>
            <a:endParaRPr lang="en-IN" sz="2800" b="1" dirty="0">
              <a:solidFill>
                <a:srgbClr val="FFFFFF"/>
              </a:solidFill>
            </a:endParaRPr>
          </a:p>
        </p:txBody>
      </p:sp>
      <p:sp>
        <p:nvSpPr>
          <p:cNvPr id="14" name="AutoShape 2" descr="Image result for solar power projects in port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15" name="AutoShape 4" descr="Image result for solar power projects in port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8" name="TextBox 7"/>
          <p:cNvSpPr txBox="1"/>
          <p:nvPr/>
        </p:nvSpPr>
        <p:spPr>
          <a:xfrm>
            <a:off x="8784032" y="6597352"/>
            <a:ext cx="359968" cy="276999"/>
          </a:xfrm>
          <a:prstGeom prst="rect">
            <a:avLst/>
          </a:prstGeom>
          <a:noFill/>
        </p:spPr>
        <p:txBody>
          <a:bodyPr wrap="square" rtlCol="0">
            <a:spAutoFit/>
          </a:bodyPr>
          <a:lstStyle/>
          <a:p>
            <a:pPr algn="ctr"/>
            <a:r>
              <a:rPr lang="en-US" sz="1200" dirty="0"/>
              <a:t>12</a:t>
            </a:r>
            <a:endParaRPr lang="en-IN" sz="1200" dirty="0"/>
          </a:p>
        </p:txBody>
      </p:sp>
      <p:sp>
        <p:nvSpPr>
          <p:cNvPr id="2" name="Rectangle 1"/>
          <p:cNvSpPr/>
          <p:nvPr/>
        </p:nvSpPr>
        <p:spPr>
          <a:xfrm>
            <a:off x="155575" y="1268181"/>
            <a:ext cx="8715945" cy="4616648"/>
          </a:xfrm>
          <a:prstGeom prst="rect">
            <a:avLst/>
          </a:prstGeom>
        </p:spPr>
        <p:txBody>
          <a:bodyPr wrap="square">
            <a:spAutoFit/>
          </a:bodyPr>
          <a:lstStyle/>
          <a:p>
            <a:pPr marL="285750" indent="-285750">
              <a:lnSpc>
                <a:spcPct val="150000"/>
              </a:lnSpc>
              <a:buFont typeface="Wingdings" panose="05000000000000000000" pitchFamily="2" charset="2"/>
              <a:buChar char="Ø"/>
            </a:pPr>
            <a:r>
              <a:rPr lang="en-US" sz="2800" dirty="0"/>
              <a:t>Reduction of its carbon footprint</a:t>
            </a:r>
          </a:p>
          <a:p>
            <a:pPr marL="285750" indent="-285750">
              <a:lnSpc>
                <a:spcPct val="150000"/>
              </a:lnSpc>
              <a:buFont typeface="Wingdings" panose="05000000000000000000" pitchFamily="2" charset="2"/>
              <a:buChar char="Ø"/>
            </a:pPr>
            <a:r>
              <a:rPr lang="en-US" sz="2800" dirty="0"/>
              <a:t>Enforcement of environmental regulations- insufficient readiness </a:t>
            </a:r>
          </a:p>
          <a:p>
            <a:pPr marL="285750" indent="-285750">
              <a:lnSpc>
                <a:spcPct val="150000"/>
              </a:lnSpc>
              <a:buFont typeface="Wingdings" panose="05000000000000000000" pitchFamily="2" charset="2"/>
              <a:buChar char="Ø"/>
            </a:pPr>
            <a:r>
              <a:rPr lang="en-US" sz="2800" dirty="0"/>
              <a:t>Maritime security</a:t>
            </a:r>
          </a:p>
          <a:p>
            <a:pPr marL="285750" indent="-285750">
              <a:lnSpc>
                <a:spcPct val="150000"/>
              </a:lnSpc>
              <a:buFont typeface="Wingdings" panose="05000000000000000000" pitchFamily="2" charset="2"/>
              <a:buChar char="Ø"/>
            </a:pPr>
            <a:r>
              <a:rPr lang="en-US" sz="2800" dirty="0"/>
              <a:t>Inadequate infrastructure, especially coastal and domestics shipping</a:t>
            </a:r>
          </a:p>
          <a:p>
            <a:pPr marL="285750" indent="-285750">
              <a:lnSpc>
                <a:spcPct val="150000"/>
              </a:lnSpc>
              <a:buFont typeface="Wingdings" panose="05000000000000000000" pitchFamily="2" charset="2"/>
              <a:buChar char="Ø"/>
            </a:pPr>
            <a:r>
              <a:rPr lang="en-US" sz="2800" dirty="0"/>
              <a:t>Intensifying competition and low profitability</a:t>
            </a:r>
            <a:endParaRPr lang="en-US" sz="2800" dirty="0">
              <a:latin typeface="Arial Black" panose="020B0A04020102020204" pitchFamily="34" charset="0"/>
              <a:cs typeface="Arial" panose="020B0604020202020204" pitchFamily="34" charset="0"/>
            </a:endParaRPr>
          </a:p>
        </p:txBody>
      </p:sp>
    </p:spTree>
    <p:extLst>
      <p:ext uri="{BB962C8B-B14F-4D97-AF65-F5344CB8AC3E}">
        <p14:creationId xmlns:p14="http://schemas.microsoft.com/office/powerpoint/2010/main" val="192036459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0" y="524087"/>
            <a:ext cx="9144000" cy="523220"/>
          </a:xfrm>
          <a:prstGeom prst="rect">
            <a:avLst/>
          </a:prstGeom>
          <a:solidFill>
            <a:schemeClr val="accent5">
              <a:lumMod val="75000"/>
              <a:alpha val="55000"/>
            </a:schemeClr>
          </a:solidFill>
        </p:spPr>
        <p:txBody>
          <a:bodyPr wrap="square" rtlCol="0">
            <a:spAutoFit/>
          </a:bodyPr>
          <a:lstStyle/>
          <a:p>
            <a:r>
              <a:rPr lang="en-US" sz="2800" b="1" dirty="0">
                <a:solidFill>
                  <a:srgbClr val="FFFFFF"/>
                </a:solidFill>
              </a:rPr>
              <a:t>Sustainable Shipping - Challenges</a:t>
            </a:r>
            <a:endParaRPr lang="en-IN" sz="2800" b="1" dirty="0">
              <a:solidFill>
                <a:srgbClr val="FFFFFF"/>
              </a:solidFill>
            </a:endParaRPr>
          </a:p>
        </p:txBody>
      </p:sp>
      <p:sp>
        <p:nvSpPr>
          <p:cNvPr id="14" name="AutoShape 2" descr="Image result for solar power projects in port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15" name="AutoShape 4" descr="Image result for solar power projects in port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8" name="TextBox 7"/>
          <p:cNvSpPr txBox="1"/>
          <p:nvPr/>
        </p:nvSpPr>
        <p:spPr>
          <a:xfrm>
            <a:off x="8784032" y="6597352"/>
            <a:ext cx="359968" cy="276999"/>
          </a:xfrm>
          <a:prstGeom prst="rect">
            <a:avLst/>
          </a:prstGeom>
          <a:noFill/>
        </p:spPr>
        <p:txBody>
          <a:bodyPr wrap="square" rtlCol="0">
            <a:spAutoFit/>
          </a:bodyPr>
          <a:lstStyle/>
          <a:p>
            <a:pPr algn="ctr"/>
            <a:r>
              <a:rPr lang="en-US" sz="1200" dirty="0"/>
              <a:t>12</a:t>
            </a:r>
            <a:endParaRPr lang="en-IN" sz="1200" dirty="0"/>
          </a:p>
        </p:txBody>
      </p:sp>
      <p:sp>
        <p:nvSpPr>
          <p:cNvPr id="2" name="Rectangle 1"/>
          <p:cNvSpPr/>
          <p:nvPr/>
        </p:nvSpPr>
        <p:spPr>
          <a:xfrm>
            <a:off x="0" y="2667000"/>
            <a:ext cx="8715945" cy="2862322"/>
          </a:xfrm>
          <a:prstGeom prst="rect">
            <a:avLst/>
          </a:prstGeom>
        </p:spPr>
        <p:txBody>
          <a:bodyPr wrap="square">
            <a:spAutoFit/>
          </a:bodyPr>
          <a:lstStyle/>
          <a:p>
            <a:pPr algn="ctr"/>
            <a:r>
              <a:rPr lang="en-US" sz="6000" b="1" dirty="0"/>
              <a:t>Why is carbon footprint reduction a major concern for the shipping industry?</a:t>
            </a:r>
          </a:p>
        </p:txBody>
      </p:sp>
    </p:spTree>
    <p:extLst>
      <p:ext uri="{BB962C8B-B14F-4D97-AF65-F5344CB8AC3E}">
        <p14:creationId xmlns:p14="http://schemas.microsoft.com/office/powerpoint/2010/main" val="38910568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0" y="524087"/>
            <a:ext cx="9144000" cy="523220"/>
          </a:xfrm>
          <a:prstGeom prst="rect">
            <a:avLst/>
          </a:prstGeom>
          <a:solidFill>
            <a:schemeClr val="accent5">
              <a:lumMod val="75000"/>
              <a:alpha val="55000"/>
            </a:schemeClr>
          </a:solidFill>
        </p:spPr>
        <p:txBody>
          <a:bodyPr wrap="square" rtlCol="0">
            <a:spAutoFit/>
          </a:bodyPr>
          <a:lstStyle/>
          <a:p>
            <a:r>
              <a:rPr lang="en-US" sz="2800" b="1" dirty="0">
                <a:solidFill>
                  <a:srgbClr val="FFFFFF"/>
                </a:solidFill>
              </a:rPr>
              <a:t>Sustainable Shipping - Challenges</a:t>
            </a:r>
            <a:endParaRPr lang="en-IN" sz="2800" b="1" dirty="0">
              <a:solidFill>
                <a:srgbClr val="FFFFFF"/>
              </a:solidFill>
            </a:endParaRPr>
          </a:p>
        </p:txBody>
      </p:sp>
      <p:sp>
        <p:nvSpPr>
          <p:cNvPr id="14" name="AutoShape 2" descr="Image result for solar power projects in port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15" name="AutoShape 4" descr="Image result for solar power projects in port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8" name="TextBox 7"/>
          <p:cNvSpPr txBox="1"/>
          <p:nvPr/>
        </p:nvSpPr>
        <p:spPr>
          <a:xfrm>
            <a:off x="8784032" y="6597352"/>
            <a:ext cx="359968" cy="276999"/>
          </a:xfrm>
          <a:prstGeom prst="rect">
            <a:avLst/>
          </a:prstGeom>
          <a:noFill/>
        </p:spPr>
        <p:txBody>
          <a:bodyPr wrap="square" rtlCol="0">
            <a:spAutoFit/>
          </a:bodyPr>
          <a:lstStyle/>
          <a:p>
            <a:pPr algn="ctr"/>
            <a:r>
              <a:rPr lang="en-US" sz="1200" dirty="0"/>
              <a:t>12</a:t>
            </a:r>
            <a:endParaRPr lang="en-IN" sz="1200" dirty="0"/>
          </a:p>
        </p:txBody>
      </p:sp>
      <p:sp>
        <p:nvSpPr>
          <p:cNvPr id="2" name="Rectangle 1"/>
          <p:cNvSpPr/>
          <p:nvPr/>
        </p:nvSpPr>
        <p:spPr>
          <a:xfrm>
            <a:off x="97116" y="1258656"/>
            <a:ext cx="8715945" cy="5262979"/>
          </a:xfrm>
          <a:prstGeom prst="rect">
            <a:avLst/>
          </a:prstGeom>
        </p:spPr>
        <p:txBody>
          <a:bodyPr wrap="square">
            <a:spAutoFit/>
          </a:bodyPr>
          <a:lstStyle/>
          <a:p>
            <a:pPr marL="571500" indent="-571500">
              <a:buFont typeface="Arial" panose="020B0604020202020204" pitchFamily="34" charset="0"/>
              <a:buChar char="•"/>
            </a:pPr>
            <a:r>
              <a:rPr lang="en-US" sz="2800" dirty="0"/>
              <a:t>Although it is a critical pillar of the global economy, moving such amount of goods around the globe requires roughly 300mn metric tons of dirty fossil fuels per year.</a:t>
            </a:r>
          </a:p>
          <a:p>
            <a:pPr marL="571500" indent="-571500">
              <a:buFont typeface="Arial" panose="020B0604020202020204" pitchFamily="34" charset="0"/>
              <a:buChar char="•"/>
            </a:pPr>
            <a:r>
              <a:rPr lang="en-US" sz="2800" dirty="0"/>
              <a:t>This process generates approximately </a:t>
            </a:r>
            <a:r>
              <a:rPr lang="en-US" sz="2800" b="1" dirty="0"/>
              <a:t>1bn metric tons</a:t>
            </a:r>
            <a:r>
              <a:rPr lang="en-US" sz="2800" dirty="0"/>
              <a:t> of carbon dioxide emissions, though the amount of carbon emission looks enormous, it is only equal to as much as some countries’ annual greenhouse gas emissions i.e. Japan.</a:t>
            </a:r>
          </a:p>
          <a:p>
            <a:pPr marL="571500" indent="-571500">
              <a:buFont typeface="Arial" panose="020B0604020202020204" pitchFamily="34" charset="0"/>
              <a:buChar char="•"/>
            </a:pPr>
            <a:r>
              <a:rPr lang="en-US" sz="2800" dirty="0"/>
              <a:t>As per International Maritime Organization (</a:t>
            </a:r>
            <a:r>
              <a:rPr lang="en-US" sz="2800" dirty="0">
                <a:hlinkClick r:id="rId5"/>
              </a:rPr>
              <a:t>IMO</a:t>
            </a:r>
            <a:r>
              <a:rPr lang="en-US" sz="2800" dirty="0"/>
              <a:t>), the emissions from merchant’s vessels is increasing which is </a:t>
            </a:r>
            <a:r>
              <a:rPr lang="en-US" sz="2800" b="1" dirty="0"/>
              <a:t>30% above</a:t>
            </a:r>
            <a:r>
              <a:rPr lang="en-US" sz="2800" dirty="0"/>
              <a:t> their 2008 level.</a:t>
            </a:r>
          </a:p>
        </p:txBody>
      </p:sp>
    </p:spTree>
    <p:extLst>
      <p:ext uri="{BB962C8B-B14F-4D97-AF65-F5344CB8AC3E}">
        <p14:creationId xmlns:p14="http://schemas.microsoft.com/office/powerpoint/2010/main" val="30445974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0" y="524087"/>
            <a:ext cx="9144000" cy="523220"/>
          </a:xfrm>
          <a:prstGeom prst="rect">
            <a:avLst/>
          </a:prstGeom>
          <a:solidFill>
            <a:schemeClr val="accent5">
              <a:lumMod val="75000"/>
              <a:alpha val="55000"/>
            </a:schemeClr>
          </a:solidFill>
        </p:spPr>
        <p:txBody>
          <a:bodyPr wrap="square" rtlCol="0">
            <a:spAutoFit/>
          </a:bodyPr>
          <a:lstStyle/>
          <a:p>
            <a:r>
              <a:rPr lang="en-US" sz="2800" b="1" dirty="0">
                <a:solidFill>
                  <a:srgbClr val="FFFFFF"/>
                </a:solidFill>
              </a:rPr>
              <a:t>Sustainable Shipping - Challenges</a:t>
            </a:r>
            <a:endParaRPr lang="en-IN" sz="2800" b="1" dirty="0">
              <a:solidFill>
                <a:srgbClr val="FFFFFF"/>
              </a:solidFill>
            </a:endParaRPr>
          </a:p>
        </p:txBody>
      </p:sp>
      <p:sp>
        <p:nvSpPr>
          <p:cNvPr id="14" name="AutoShape 2" descr="Image result for solar power projects in port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15" name="AutoShape 4" descr="Image result for solar power projects in port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8" name="TextBox 7"/>
          <p:cNvSpPr txBox="1"/>
          <p:nvPr/>
        </p:nvSpPr>
        <p:spPr>
          <a:xfrm>
            <a:off x="8784032" y="6597352"/>
            <a:ext cx="359968" cy="276999"/>
          </a:xfrm>
          <a:prstGeom prst="rect">
            <a:avLst/>
          </a:prstGeom>
          <a:noFill/>
        </p:spPr>
        <p:txBody>
          <a:bodyPr wrap="square" rtlCol="0">
            <a:spAutoFit/>
          </a:bodyPr>
          <a:lstStyle/>
          <a:p>
            <a:pPr algn="ctr"/>
            <a:r>
              <a:rPr lang="en-US" sz="1200" dirty="0"/>
              <a:t>12</a:t>
            </a:r>
            <a:endParaRPr lang="en-IN" sz="1200" dirty="0"/>
          </a:p>
        </p:txBody>
      </p:sp>
      <p:sp>
        <p:nvSpPr>
          <p:cNvPr id="2" name="Rectangle 1"/>
          <p:cNvSpPr/>
          <p:nvPr/>
        </p:nvSpPr>
        <p:spPr>
          <a:xfrm>
            <a:off x="155575" y="1103540"/>
            <a:ext cx="8715945" cy="5632311"/>
          </a:xfrm>
          <a:prstGeom prst="rect">
            <a:avLst/>
          </a:prstGeom>
        </p:spPr>
        <p:txBody>
          <a:bodyPr wrap="square">
            <a:spAutoFit/>
          </a:bodyPr>
          <a:lstStyle/>
          <a:p>
            <a:pPr marL="571500" indent="-571500">
              <a:buFont typeface="Arial" panose="020B0604020202020204" pitchFamily="34" charset="0"/>
              <a:buChar char="•"/>
            </a:pPr>
            <a:r>
              <a:rPr lang="en-US" sz="2400" dirty="0"/>
              <a:t>In 2018, the </a:t>
            </a:r>
            <a:r>
              <a:rPr lang="en-US" sz="2400" dirty="0">
                <a:hlinkClick r:id="rId5"/>
              </a:rPr>
              <a:t>IMO</a:t>
            </a:r>
            <a:r>
              <a:rPr lang="en-US" sz="2400" dirty="0"/>
              <a:t> has committed to achieve net zero GHG emissions by 2050 in order to comply with the Paris climate agreement </a:t>
            </a:r>
            <a:r>
              <a:rPr lang="en-US" sz="2400" dirty="0">
                <a:solidFill>
                  <a:srgbClr val="002060"/>
                </a:solidFill>
              </a:rPr>
              <a:t>(</a:t>
            </a:r>
            <a:r>
              <a:rPr lang="en-US" sz="2400" i="1" dirty="0">
                <a:solidFill>
                  <a:srgbClr val="002060"/>
                </a:solidFill>
              </a:rPr>
              <a:t>aims to limit global temperature rise this century to 2 degrees Celsius while making best efforts to keep it to 1.5 degrees Celsius)</a:t>
            </a:r>
          </a:p>
          <a:p>
            <a:pPr marL="571500" indent="-571500">
              <a:buFont typeface="Arial" panose="020B0604020202020204" pitchFamily="34" charset="0"/>
              <a:buChar char="•"/>
            </a:pPr>
            <a:r>
              <a:rPr lang="en-US" sz="2400" dirty="0"/>
              <a:t>For a sustainable change in a ship’s emission, regulations are being made stricter for which shipping industry is not fully ready yet.</a:t>
            </a:r>
          </a:p>
          <a:p>
            <a:pPr marL="571500" indent="-571500">
              <a:buFont typeface="Arial" panose="020B0604020202020204" pitchFamily="34" charset="0"/>
              <a:buChar char="•"/>
            </a:pPr>
            <a:r>
              <a:rPr lang="en-US" sz="2400" dirty="0"/>
              <a:t>The ultimate goal of all initiatives by IMO is to bring down emission level by 20%-30% by 2030 and 70%-80% by 2040 in carbon dioxide emissions – in comparison to 2008 levels.</a:t>
            </a:r>
          </a:p>
          <a:p>
            <a:pPr marL="571500" indent="-571500">
              <a:buFont typeface="Arial" panose="020B0604020202020204" pitchFamily="34" charset="0"/>
              <a:buChar char="•"/>
            </a:pPr>
            <a:r>
              <a:rPr lang="en-US" sz="2400" dirty="0"/>
              <a:t>Energy Efficiency Existing Ship Index (</a:t>
            </a:r>
            <a:r>
              <a:rPr lang="en-US" sz="2400" dirty="0">
                <a:hlinkClick r:id="rId6"/>
              </a:rPr>
              <a:t>EEXI</a:t>
            </a:r>
            <a:r>
              <a:rPr lang="en-US" sz="2400" dirty="0"/>
              <a:t>) is made mandatory for all larger vessels (400 GT or more).</a:t>
            </a:r>
          </a:p>
          <a:p>
            <a:pPr marL="571500" indent="-571500">
              <a:buFont typeface="Arial" panose="020B0604020202020204" pitchFamily="34" charset="0"/>
              <a:buChar char="•"/>
            </a:pPr>
            <a:r>
              <a:rPr lang="en-US" sz="2400" dirty="0"/>
              <a:t>As per EEXI standards, all vessels are being examined on an emissions scale of A to E</a:t>
            </a:r>
          </a:p>
        </p:txBody>
      </p:sp>
    </p:spTree>
    <p:extLst>
      <p:ext uri="{BB962C8B-B14F-4D97-AF65-F5344CB8AC3E}">
        <p14:creationId xmlns:p14="http://schemas.microsoft.com/office/powerpoint/2010/main" val="19698922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 name="Object 89"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90" name="Object 89"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0" y="524087"/>
            <a:ext cx="9144000" cy="523220"/>
          </a:xfrm>
          <a:prstGeom prst="rect">
            <a:avLst/>
          </a:prstGeom>
          <a:solidFill>
            <a:schemeClr val="accent5">
              <a:lumMod val="75000"/>
              <a:alpha val="55000"/>
            </a:schemeClr>
          </a:solidFill>
        </p:spPr>
        <p:txBody>
          <a:bodyPr wrap="square" rtlCol="0">
            <a:spAutoFit/>
          </a:bodyPr>
          <a:lstStyle/>
          <a:p>
            <a:r>
              <a:rPr lang="en-US" sz="2800" b="1" dirty="0">
                <a:solidFill>
                  <a:srgbClr val="FFFFFF"/>
                </a:solidFill>
              </a:rPr>
              <a:t>Sustainable Shipping - Challenges</a:t>
            </a:r>
            <a:endParaRPr lang="en-IN" sz="2800" b="1" dirty="0">
              <a:solidFill>
                <a:srgbClr val="FFFFFF"/>
              </a:solidFill>
            </a:endParaRPr>
          </a:p>
        </p:txBody>
      </p:sp>
      <p:sp>
        <p:nvSpPr>
          <p:cNvPr id="14" name="AutoShape 2" descr="Image result for solar power projects in ports"/>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15" name="AutoShape 4" descr="Image result for solar power projects in ports"/>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N" dirty="0"/>
          </a:p>
        </p:txBody>
      </p:sp>
      <p:sp>
        <p:nvSpPr>
          <p:cNvPr id="8" name="TextBox 7"/>
          <p:cNvSpPr txBox="1"/>
          <p:nvPr/>
        </p:nvSpPr>
        <p:spPr>
          <a:xfrm>
            <a:off x="8784032" y="6597352"/>
            <a:ext cx="359968" cy="276999"/>
          </a:xfrm>
          <a:prstGeom prst="rect">
            <a:avLst/>
          </a:prstGeom>
          <a:noFill/>
        </p:spPr>
        <p:txBody>
          <a:bodyPr wrap="square" rtlCol="0">
            <a:spAutoFit/>
          </a:bodyPr>
          <a:lstStyle/>
          <a:p>
            <a:pPr algn="ctr"/>
            <a:r>
              <a:rPr lang="en-US" sz="1200" dirty="0"/>
              <a:t>12</a:t>
            </a:r>
            <a:endParaRPr lang="en-IN" sz="1200" dirty="0"/>
          </a:p>
        </p:txBody>
      </p:sp>
      <p:pic>
        <p:nvPicPr>
          <p:cNvPr id="4" name="Picture 3">
            <a:extLst>
              <a:ext uri="{FF2B5EF4-FFF2-40B4-BE49-F238E27FC236}">
                <a16:creationId xmlns:a16="http://schemas.microsoft.com/office/drawing/2014/main" id="{570AE477-42D8-96D8-5E4E-4195DAF5028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07975" y="1344168"/>
            <a:ext cx="8378826" cy="5253184"/>
          </a:xfrm>
          <a:prstGeom prst="rect">
            <a:avLst/>
          </a:prstGeom>
        </p:spPr>
      </p:pic>
    </p:spTree>
    <p:extLst>
      <p:ext uri="{BB962C8B-B14F-4D97-AF65-F5344CB8AC3E}">
        <p14:creationId xmlns:p14="http://schemas.microsoft.com/office/powerpoint/2010/main" val="17692760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110</TotalTime>
  <Words>1545</Words>
  <Application>Microsoft Office PowerPoint</Application>
  <PresentationFormat>On-screen Show (4:3)</PresentationFormat>
  <Paragraphs>185</Paragraphs>
  <Slides>29</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6" baseType="lpstr">
      <vt:lpstr>Arial</vt:lpstr>
      <vt:lpstr>Arial Black</vt:lpstr>
      <vt:lpstr>Calibri</vt:lpstr>
      <vt:lpstr>Courier New</vt:lpstr>
      <vt:lpstr>Wingdings</vt:lpstr>
      <vt:lpstr>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apacity required to handle cargo to increase from ~1Bn MTPA to 2.5 Bn MTPA by 2025</vt:lpstr>
      <vt:lpstr>PowerPoint Presentation</vt:lpstr>
      <vt:lpstr>PowerPoint Presentation</vt:lpstr>
      <vt:lpstr>PowerPoint Presentation</vt:lpstr>
    </vt:vector>
  </TitlesOfParts>
  <Company>Ernst &amp; You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ushriy Dwivedi</dc:creator>
  <cp:lastModifiedBy>4B Sanhita Jain</cp:lastModifiedBy>
  <cp:revision>448</cp:revision>
  <dcterms:created xsi:type="dcterms:W3CDTF">2016-01-27T05:03:27Z</dcterms:created>
  <dcterms:modified xsi:type="dcterms:W3CDTF">2024-04-04T08:15:44Z</dcterms:modified>
</cp:coreProperties>
</file>